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4.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modernComment_109_0.xml" ContentType="application/vnd.ms-powerpoint.comments+xml"/>
  <Override PartName="/ppt/notesSlides/notesSlide6.xml" ContentType="application/vnd.openxmlformats-officedocument.presentationml.notesSlide+xml"/>
  <Override PartName="/ppt/tags/tag8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8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83.xml" ContentType="application/vnd.openxmlformats-officedocument.presentationml.tags+xml"/>
  <Override PartName="/ppt/notesSlides/notesSlide15.xml" ContentType="application/vnd.openxmlformats-officedocument.presentationml.notesSlide+xml"/>
  <Override PartName="/ppt/tags/tag84.xml" ContentType="application/vnd.openxmlformats-officedocument.presentationml.tags+xml"/>
  <Override PartName="/ppt/notesSlides/notesSlide16.xml" ContentType="application/vnd.openxmlformats-officedocument.presentationml.notesSlide+xml"/>
  <Override PartName="/ppt/tags/tag8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8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8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825" r:id="rId4"/>
    <p:sldMasterId id="2147484049" r:id="rId5"/>
    <p:sldMasterId id="2147484170" r:id="rId6"/>
    <p:sldMasterId id="2147484410" r:id="rId7"/>
    <p:sldMasterId id="2147484437" r:id="rId8"/>
    <p:sldMasterId id="2147484478" r:id="rId9"/>
  </p:sldMasterIdLst>
  <p:notesMasterIdLst>
    <p:notesMasterId r:id="rId38"/>
  </p:notesMasterIdLst>
  <p:handoutMasterIdLst>
    <p:handoutMasterId r:id="rId39"/>
  </p:handoutMasterIdLst>
  <p:sldIdLst>
    <p:sldId id="2147483299" r:id="rId10"/>
    <p:sldId id="2147481455" r:id="rId11"/>
    <p:sldId id="261" r:id="rId12"/>
    <p:sldId id="259" r:id="rId13"/>
    <p:sldId id="265" r:id="rId14"/>
    <p:sldId id="2147483431" r:id="rId15"/>
    <p:sldId id="2147481433" r:id="rId16"/>
    <p:sldId id="2147483399" r:id="rId17"/>
    <p:sldId id="2147483430" r:id="rId18"/>
    <p:sldId id="2147483269" r:id="rId19"/>
    <p:sldId id="2147483311" r:id="rId20"/>
    <p:sldId id="2147483424" r:id="rId21"/>
    <p:sldId id="2147483307" r:id="rId22"/>
    <p:sldId id="2147483379" r:id="rId23"/>
    <p:sldId id="2147481421" r:id="rId24"/>
    <p:sldId id="2147483375" r:id="rId25"/>
    <p:sldId id="2147483406" r:id="rId26"/>
    <p:sldId id="2147483428" r:id="rId27"/>
    <p:sldId id="260" r:id="rId28"/>
    <p:sldId id="2147481450" r:id="rId29"/>
    <p:sldId id="2147483368" r:id="rId30"/>
    <p:sldId id="2147483260" r:id="rId31"/>
    <p:sldId id="2147483302" r:id="rId32"/>
    <p:sldId id="2147481434" r:id="rId33"/>
    <p:sldId id="2147483429" r:id="rId34"/>
    <p:sldId id="2147483384" r:id="rId35"/>
    <p:sldId id="2147469786" r:id="rId36"/>
    <p:sldId id="2147483290" r:id="rId37"/>
  </p:sldIdLst>
  <p:sldSz cx="12192000" cy="6858000"/>
  <p:notesSz cx="6797675" cy="9926638"/>
  <p:embeddedFontLst>
    <p:embeddedFont>
      <p:font typeface="Frutiger 55 Roman" panose="020B0503030504020204" pitchFamily="34" charset="0"/>
      <p:regular r:id="rId40"/>
      <p:bold r:id="rId41"/>
      <p:italic r:id="rId42"/>
      <p:boldItalic r:id="rId43"/>
    </p:embeddedFont>
    <p:embeddedFont>
      <p:font typeface="Ogg" panose="02090504080706030203" pitchFamily="18" charset="0"/>
      <p:regular r:id="rId44"/>
    </p:embeddedFont>
    <p:embeddedFont>
      <p:font typeface="Roboto" panose="02000000000000000000" pitchFamily="2" charset="0"/>
      <p:regular r:id="rId45"/>
      <p:bold r:id="rId46"/>
      <p:italic r:id="rId47"/>
      <p:boldItalic r:id="rId48"/>
    </p:embeddedFont>
    <p:embeddedFont>
      <p:font typeface="Zurich Sans" panose="02000500000000000000" pitchFamily="2" charset="0"/>
      <p:regular r:id="rId49"/>
      <p:bold r:id="rId50"/>
      <p:italic r:id="rId51"/>
      <p:boldItalic r:id="rId52"/>
    </p:embeddedFont>
    <p:embeddedFont>
      <p:font typeface="Zurich Sans Light" panose="02000000000000000000" pitchFamily="2" charset="0"/>
      <p:regular r:id="rId53"/>
      <p:italic r:id="rId54"/>
    </p:embeddedFont>
    <p:embeddedFont>
      <p:font typeface="Zurich Sans Medium" panose="02000600000000000000" pitchFamily="2" charset="0"/>
      <p:regular r:id="rId55"/>
      <p:bold r:id="rId56"/>
      <p:italic r:id="rId57"/>
      <p:boldItalic r:id="rId58"/>
    </p:embeddedFont>
  </p:embeddedFontLst>
  <p:custDataLst>
    <p:tags r:id="rId59"/>
  </p:custDataLst>
  <p:defaultTex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70BA502-802B-B74C-B063-F1500F33C18D}" name="Deborah Pacciolla" initials="DP" userId="S::deborah.pacciolla@zurich.com::cb773be8-be2e-4109-ab3b-3cba40bc1c5b" providerId="AD"/>
  <p188:author id="{4AF80A11-4527-98EE-AA5C-9D7719A90641}" name="Tabea Müller" initials="TM" userId="S::tabea.mueller@zurich.com::df34595d-109b-4745-ac5e-92f7d096622e" providerId="AD"/>
  <p188:author id="{C5149111-856C-6AD9-151E-2CDBF58DDAD2}" name="Benjamin Wienhues" initials="BW" userId="S::benjamin.wienhues@zurich.com::eb87c320-6b8d-44d8-a82a-44625347fd2b" providerId="AD"/>
  <p188:author id="{A8712B3C-A645-3285-088A-CD36A6089ABA}" name="Jorden Fritzlar" initials="JF" userId="S::jorden.fritzlar@zurich.com::189bf848-2052-40ba-b001-41c5b9043895" providerId="AD"/>
  <p188:author id="{0C4FEA3F-6728-6644-B2E2-5F9E799294E0}" name="Amar Rahman" initials="AR" userId="S::amar.rahman@zurich.com::938f09a5-8096-4fe6-9aa2-3a3dd0d5ac61" providerId="AD"/>
  <p188:author id="{E741CC71-1B24-FF6D-6F59-D5EB0B0C4750}" name="Matthias von Harten" initials="" userId="S::matthias.vonharten@zurich.com::ef03931c-dd96-4493-a495-6544c6d78450" providerId="AD"/>
  <p188:author id="{8E997483-1A34-27B0-1AE5-00C959209C14}" name="Danny Steiner" initials="DS" userId="S::danny.steiner@zurich.com::066fa0dd-f6e2-421c-b6e9-73290c93ae79" providerId="AD"/>
  <p188:author id="{C25C21FB-8186-8938-9D08-7E9E0218E6F0}" name="Max Rosenberg" initials="MR" userId="S::max.rosenberg@uk.zurich.com::902794bf-8fb2-447d-afdc-54e98aac16cb" providerId="AD"/>
  <p188:author id="{2D671DFD-78EC-8918-D5C7-ED403918B8F9}" name="Marcel Studer" initials="MS" userId="S::marcel.studer@zurich.com::ab30a08d-65ca-4636-84ad-6f77a46e12a2" providerId="AD"/>
  <p188:author id="{A1F811FE-1B97-45DF-629A-8CB7317FB512}" name="Elena Goettsche" initials="EG" userId="S::elena.goettsche@zurich.com::91036807-6481-42c3-83c7-8aa104205cc3" providerId="AD"/>
  <p188:author id="{43A26DFF-9BDC-F171-FAE6-5DA166CD683F}" name="Marco Deters" initials="MD" userId="S::marco.deters@zurich.com::c55a560e-b92d-44cd-ad61-ee580a08d07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67AE"/>
    <a:srgbClr val="DAD2BD"/>
    <a:srgbClr val="8BA1B3"/>
    <a:srgbClr val="CCE1F5"/>
    <a:srgbClr val="537394"/>
    <a:srgbClr val="DDEAF5"/>
    <a:srgbClr val="EBF0EF"/>
    <a:srgbClr val="FFFFFF"/>
    <a:srgbClr val="EEF0F1"/>
    <a:srgbClr val="DDE4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A21BB7-8B5C-4A1F-873B-2DEB809CB6FB}" v="781" dt="2025-06-09T21:04:55.99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55" d="100"/>
          <a:sy n="55" d="100"/>
        </p:scale>
        <p:origin x="1072" y="2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handoutMaster" Target="handoutMasters/handoutMaster1.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font" Target="fonts/font11.fntdata"/><Relationship Id="rId55" Type="http://schemas.openxmlformats.org/officeDocument/2006/relationships/font" Target="fonts/font16.fntdata"/><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font" Target="fonts/font2.fntdata"/><Relationship Id="rId54" Type="http://schemas.openxmlformats.org/officeDocument/2006/relationships/font" Target="fonts/font15.fntdata"/><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font" Target="fonts/font14.fntdata"/><Relationship Id="rId58" Type="http://schemas.openxmlformats.org/officeDocument/2006/relationships/font" Target="fonts/font19.fntdata"/><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font" Target="fonts/font10.fntdata"/><Relationship Id="rId57" Type="http://schemas.openxmlformats.org/officeDocument/2006/relationships/font" Target="fonts/font18.fntdata"/><Relationship Id="rId61"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font" Target="fonts/font5.fntdata"/><Relationship Id="rId52" Type="http://schemas.openxmlformats.org/officeDocument/2006/relationships/font" Target="fonts/font13.fntdata"/><Relationship Id="rId60" Type="http://schemas.openxmlformats.org/officeDocument/2006/relationships/presProps" Target="presProps.xml"/><Relationship Id="rId6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font" Target="fonts/font4.fntdata"/><Relationship Id="rId48" Type="http://schemas.openxmlformats.org/officeDocument/2006/relationships/font" Target="fonts/font9.fntdata"/><Relationship Id="rId56" Type="http://schemas.openxmlformats.org/officeDocument/2006/relationships/font" Target="fonts/font17.fntdata"/><Relationship Id="rId64"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font" Target="fonts/font12.fntdata"/><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notesMaster" Target="notesMasters/notesMaster1.xml"/><Relationship Id="rId46" Type="http://schemas.openxmlformats.org/officeDocument/2006/relationships/font" Target="fonts/font7.fntdata"/><Relationship Id="rId59" Type="http://schemas.openxmlformats.org/officeDocument/2006/relationships/tags" Target="tags/tag1.xml"/></Relationships>
</file>

<file path=ppt/comments/modernComment_109_0.xml><?xml version="1.0" encoding="utf-8"?>
<p188:cmLst xmlns:a="http://schemas.openxmlformats.org/drawingml/2006/main" xmlns:r="http://schemas.openxmlformats.org/officeDocument/2006/relationships" xmlns:p188="http://schemas.microsoft.com/office/powerpoint/2018/8/main">
  <p188:cm id="{6E08579C-D988-4AD3-BEF9-EF3875EF048F}" authorId="{4AF80A11-4527-98EE-AA5C-9D7719A90641}" status="resolved" created="2025-06-03T15:33:14.377" complete="100000">
    <pc:sldMkLst xmlns:pc="http://schemas.microsoft.com/office/powerpoint/2013/main/command">
      <pc:docMk/>
      <pc:sldMk cId="0" sldId="265"/>
    </pc:sldMkLst>
    <p188:txBody>
      <a:bodyPr/>
      <a:lstStyle/>
      <a:p>
        <a:r>
          <a:rPr lang="en-NL"/>
          <a:t>Muss noch uebersetzt werden</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DB59A6D6-B7D3-DD7C-6F5B-8B733C674E88}"/>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80E43ACC-27B1-7C9C-6F95-C7608E382A77}"/>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CB6E6D86-FE99-4DAD-BC12-EA58309D72DA}" type="datetimeFigureOut">
              <a:rPr lang="de-DE" smtClean="0"/>
              <a:t>09.06.2025</a:t>
            </a:fld>
            <a:endParaRPr lang="de-DE"/>
          </a:p>
        </p:txBody>
      </p:sp>
      <p:sp>
        <p:nvSpPr>
          <p:cNvPr id="4" name="Fußzeilenplatzhalter 3">
            <a:extLst>
              <a:ext uri="{FF2B5EF4-FFF2-40B4-BE49-F238E27FC236}">
                <a16:creationId xmlns:a16="http://schemas.microsoft.com/office/drawing/2014/main" id="{B578560C-7CB2-0984-104A-C47697BC3A35}"/>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3F7268F6-5534-F721-82C2-17860EE973E9}"/>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432E96A2-66E8-4B53-A800-BB08B4DA7CA7}" type="slidenum">
              <a:rPr lang="de-DE" smtClean="0"/>
              <a:t>‹nr.›</a:t>
            </a:fld>
            <a:endParaRPr lang="de-DE"/>
          </a:p>
        </p:txBody>
      </p:sp>
    </p:spTree>
    <p:extLst>
      <p:ext uri="{BB962C8B-B14F-4D97-AF65-F5344CB8AC3E}">
        <p14:creationId xmlns:p14="http://schemas.microsoft.com/office/powerpoint/2010/main" val="356868603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rtl="0">
              <a:defRPr sz="1200"/>
            </a:lvl1pPr>
          </a:lstStyle>
          <a:p>
            <a:endParaRPr lang="de-DE"/>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rtl="0">
              <a:defRPr sz="1200"/>
            </a:lvl1pPr>
          </a:lstStyle>
          <a:p>
            <a:fld id="{5565BEB8-91CC-477F-81CD-BDE1761E9B64}" type="datetimeFigureOut">
              <a:rPr lang="de-DE" smtClean="0"/>
              <a:pPr/>
              <a:t>09.06.2025</a:t>
            </a:fld>
            <a:endParaRPr lang="de-DE"/>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e-DE"/>
              <a:t>Click </a:t>
            </a:r>
            <a:r>
              <a:rPr lang="de-DE" err="1"/>
              <a:t>to</a:t>
            </a:r>
            <a:r>
              <a:rPr lang="de-DE"/>
              <a:t> </a:t>
            </a:r>
            <a:r>
              <a:rPr lang="de-DE" err="1"/>
              <a:t>edit</a:t>
            </a:r>
            <a:r>
              <a:rPr lang="de-DE"/>
              <a:t> Master </a:t>
            </a:r>
            <a:r>
              <a:rPr lang="de-DE" err="1"/>
              <a:t>text</a:t>
            </a:r>
            <a:r>
              <a:rPr lang="de-DE"/>
              <a:t> </a:t>
            </a:r>
            <a:r>
              <a:rPr lang="de-DE" err="1"/>
              <a:t>styles</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rtl="0">
              <a:defRPr sz="1200"/>
            </a:lvl1pPr>
          </a:lstStyle>
          <a:p>
            <a:endParaRPr lang="de-DE"/>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rtl="0">
              <a:defRPr sz="1200"/>
            </a:lvl1pPr>
          </a:lstStyle>
          <a:p>
            <a:fld id="{7BBB2073-194C-43EF-87E1-F12784423FC6}" type="slidenum">
              <a:rPr lang="de-DE" smtClean="0"/>
              <a:pPr/>
              <a:t>‹nr.›</a:t>
            </a:fld>
            <a:endParaRPr lang="de-DE"/>
          </a:p>
        </p:txBody>
      </p:sp>
    </p:spTree>
    <p:extLst>
      <p:ext uri="{BB962C8B-B14F-4D97-AF65-F5344CB8AC3E}">
        <p14:creationId xmlns:p14="http://schemas.microsoft.com/office/powerpoint/2010/main" val="382911114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en.wikipedia.org/wiki/Sustainability"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en.wikipedia.org/wiki/Fossil_fuel"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a:p>
        </p:txBody>
      </p:sp>
      <p:sp>
        <p:nvSpPr>
          <p:cNvPr id="4" name="Slide Number Placeholder 3"/>
          <p:cNvSpPr>
            <a:spLocks noGrp="1"/>
          </p:cNvSpPr>
          <p:nvPr>
            <p:ph type="sldNum" sz="quarter" idx="5"/>
          </p:nvPr>
        </p:nvSpPr>
        <p:spPr/>
        <p:txBody>
          <a:bodyPr/>
          <a:lstStyle/>
          <a:p>
            <a:fld id="{7BBB2073-194C-43EF-87E1-F12784423FC6}" type="slidenum">
              <a:rPr lang="en-US" smtClean="0"/>
              <a:t>1</a:t>
            </a:fld>
            <a:endParaRPr lang="en-US"/>
          </a:p>
        </p:txBody>
      </p:sp>
    </p:spTree>
    <p:extLst>
      <p:ext uri="{BB962C8B-B14F-4D97-AF65-F5344CB8AC3E}">
        <p14:creationId xmlns:p14="http://schemas.microsoft.com/office/powerpoint/2010/main" val="29076110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BAE58DB-14BB-41DD-A17A-07E73768D887}" type="slidenum">
              <a:rPr lang="en-GB" smtClean="0"/>
              <a:t>11</a:t>
            </a:fld>
            <a:endParaRPr lang="en-GB"/>
          </a:p>
        </p:txBody>
      </p:sp>
    </p:spTree>
    <p:extLst>
      <p:ext uri="{BB962C8B-B14F-4D97-AF65-F5344CB8AC3E}">
        <p14:creationId xmlns:p14="http://schemas.microsoft.com/office/powerpoint/2010/main" val="2606288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None/>
            </a:pP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Info für Speaker Notes:</a:t>
            </a:r>
          </a:p>
          <a:p>
            <a:pPr>
              <a:buNone/>
            </a:pP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As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of</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end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of</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June,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we</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can</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provide</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flood</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wind, and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storm</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surge</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a:t>
            </a:r>
            <a:endParaRPr lang="de-DE" sz="1200">
              <a:effectLst/>
              <a:latin typeface="Aptos" panose="020B0004020202020204" pitchFamily="34" charset="0"/>
              <a:ea typeface="Aptos" panose="020B0004020202020204" pitchFamily="34" charset="0"/>
              <a:cs typeface="Aptos" panose="020B0004020202020204" pitchFamily="34" charset="0"/>
            </a:endParaRPr>
          </a:p>
          <a:p>
            <a:pPr>
              <a:buNone/>
            </a:pP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endParaRPr lang="de-DE" sz="1200">
              <a:effectLst/>
              <a:latin typeface="Aptos" panose="020B0004020202020204" pitchFamily="34" charset="0"/>
              <a:ea typeface="Aptos" panose="020B0004020202020204" pitchFamily="34" charset="0"/>
              <a:cs typeface="Aptos" panose="020B0004020202020204" pitchFamily="34" charset="0"/>
            </a:endParaRPr>
          </a:p>
          <a:p>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As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of</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end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of</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December</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we</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will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be</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able</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to</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add</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earthquake</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hail</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nd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tornado</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a:t>
            </a:r>
            <a:endParaRPr lang="de-DE" sz="1200">
              <a:effectLst/>
              <a:latin typeface="Aptos" panose="020B0004020202020204" pitchFamily="34" charset="0"/>
              <a:ea typeface="Aptos" panose="020B0004020202020204" pitchFamily="34" charset="0"/>
              <a:cs typeface="Aptos" panose="020B0004020202020204" pitchFamily="34" charset="0"/>
            </a:endParaRPr>
          </a:p>
          <a:p>
            <a:endParaRPr lang="de-DE"/>
          </a:p>
        </p:txBody>
      </p:sp>
      <p:sp>
        <p:nvSpPr>
          <p:cNvPr id="4" name="Foliennummernplatzhalter 3"/>
          <p:cNvSpPr>
            <a:spLocks noGrp="1"/>
          </p:cNvSpPr>
          <p:nvPr>
            <p:ph type="sldNum" sz="quarter" idx="5"/>
          </p:nvPr>
        </p:nvSpPr>
        <p:spPr/>
        <p:txBody>
          <a:bodyPr/>
          <a:lstStyle/>
          <a:p>
            <a:fld id="{7BBB2073-194C-43EF-87E1-F12784423FC6}" type="slidenum">
              <a:rPr lang="de-DE" smtClean="0"/>
              <a:pPr/>
              <a:t>12</a:t>
            </a:fld>
            <a:endParaRPr lang="de-DE"/>
          </a:p>
        </p:txBody>
      </p:sp>
    </p:spTree>
    <p:extLst>
      <p:ext uri="{BB962C8B-B14F-4D97-AF65-F5344CB8AC3E}">
        <p14:creationId xmlns:p14="http://schemas.microsoft.com/office/powerpoint/2010/main" val="38690495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Die Auswertung der Global </a:t>
            </a:r>
            <a:r>
              <a:rPr lang="de-DE" err="1"/>
              <a:t>Exposure</a:t>
            </a:r>
            <a:r>
              <a:rPr lang="de-DE"/>
              <a:t> Analyse kann in zwei Arten erfolgen:</a:t>
            </a:r>
          </a:p>
          <a:p>
            <a:endParaRPr lang="de-DE"/>
          </a:p>
          <a:p>
            <a:r>
              <a:rPr lang="de-DE"/>
              <a:t>Individuelle Auswertung der Daten im Climate Resilience Portal oder als Bericht:</a:t>
            </a:r>
          </a:p>
          <a:p>
            <a:endParaRPr lang="de-DE"/>
          </a:p>
          <a:p>
            <a:r>
              <a:rPr lang="de-DE" b="1"/>
              <a:t>ZRS Climate Resilience Portal </a:t>
            </a:r>
            <a:r>
              <a:rPr lang="de-DE"/>
              <a:t>:</a:t>
            </a:r>
          </a:p>
          <a:p>
            <a:pPr marL="171450" indent="-171450">
              <a:buFont typeface="Arial" panose="020B0604020202020204" pitchFamily="34" charset="0"/>
              <a:buChar char="•"/>
            </a:pPr>
            <a:r>
              <a:rPr lang="de-DE"/>
              <a:t>Dieses Portal ist ein </a:t>
            </a:r>
            <a:r>
              <a:rPr lang="de-DE" b="1"/>
              <a:t>Visualisierungstool </a:t>
            </a:r>
            <a:r>
              <a:rPr lang="de-DE"/>
              <a:t>zur </a:t>
            </a:r>
            <a:r>
              <a:rPr lang="de-DE" b="1"/>
              <a:t>einfachen und effektiven Darstellung </a:t>
            </a:r>
            <a:r>
              <a:rPr lang="de-DE"/>
              <a:t>der Analyseergebnisse. </a:t>
            </a:r>
          </a:p>
          <a:p>
            <a:pPr marL="171450" indent="-171450">
              <a:buFont typeface="Arial" panose="020B0604020202020204" pitchFamily="34" charset="0"/>
              <a:buChar char="•"/>
            </a:pPr>
            <a:r>
              <a:rPr lang="de-DE"/>
              <a:t>Hier kann sich jeder Stakeholder im Unternehmen des Kunden dann </a:t>
            </a:r>
            <a:r>
              <a:rPr lang="de-DE" b="1"/>
              <a:t>individuelle Ansichten </a:t>
            </a:r>
            <a:r>
              <a:rPr lang="de-DE"/>
              <a:t>erstellen.</a:t>
            </a:r>
          </a:p>
          <a:p>
            <a:pPr marL="171450" indent="-171450">
              <a:buFont typeface="Arial" panose="020B0604020202020204" pitchFamily="34" charset="0"/>
              <a:buChar char="•"/>
            </a:pPr>
            <a:r>
              <a:rPr lang="de-DE"/>
              <a:t>Mehrere Risikoansichten und eine </a:t>
            </a:r>
            <a:r>
              <a:rPr lang="de-DE" b="1"/>
              <a:t>maßgeschneiderte Risikoeinstufung </a:t>
            </a:r>
            <a:r>
              <a:rPr lang="de-DE"/>
              <a:t>des Standorts können für den Kunden dargestellt werden.</a:t>
            </a:r>
          </a:p>
          <a:p>
            <a:pPr marL="171450" indent="-171450">
              <a:buFont typeface="Arial" panose="020B0604020202020204" pitchFamily="34" charset="0"/>
              <a:buChar char="•"/>
            </a:pPr>
            <a:r>
              <a:rPr lang="de-DE" b="1"/>
              <a:t>Individualität</a:t>
            </a:r>
            <a:r>
              <a:rPr lang="de-DE"/>
              <a:t> wird hierbei in den Vordergrund gestellt: Während des Projekts wird die Struktur entsprechend aufgebaut und anhand der Bedürfnisse verfeinert</a:t>
            </a:r>
          </a:p>
          <a:p>
            <a:pPr marL="171450" indent="-171450">
              <a:buFont typeface="Arial" panose="020B0604020202020204" pitchFamily="34" charset="0"/>
              <a:buChar char="•"/>
            </a:pPr>
            <a:r>
              <a:rPr lang="de-DE"/>
              <a:t>Diese Individualität bieten wir dabei auch allen Stakeholdern unserer Kunden. Beispielsweise bieten wir für die Stakeholder </a:t>
            </a:r>
            <a:r>
              <a:rPr lang="de-DE" b="1"/>
              <a:t>Risiko Manager, Chief Financial Officer, </a:t>
            </a:r>
            <a:r>
              <a:rPr lang="de-DE" b="1" err="1"/>
              <a:t>Sustainability</a:t>
            </a:r>
            <a:r>
              <a:rPr lang="de-DE" b="1"/>
              <a:t> Manager und Standortleiter </a:t>
            </a:r>
            <a:r>
              <a:rPr lang="de-DE"/>
              <a:t>jeweils die Flexibilität eine </a:t>
            </a:r>
            <a:r>
              <a:rPr lang="de-DE" b="1"/>
              <a:t>maßgeschneiderte Ansicht </a:t>
            </a:r>
            <a:r>
              <a:rPr lang="de-DE"/>
              <a:t>darzustellen</a:t>
            </a:r>
          </a:p>
          <a:p>
            <a:pPr marL="171450" indent="-171450">
              <a:buFont typeface="Arial" panose="020B0604020202020204" pitchFamily="34" charset="0"/>
              <a:buChar char="•"/>
            </a:pPr>
            <a:endParaRPr lang="de-DE"/>
          </a:p>
          <a:p>
            <a:pPr marL="0" indent="0">
              <a:buFont typeface="Arial" panose="020B0604020202020204" pitchFamily="34" charset="0"/>
              <a:buNone/>
            </a:pPr>
            <a:r>
              <a:rPr lang="de-DE"/>
              <a:t>Zum anderen bieten wir diese Informationen auch in </a:t>
            </a:r>
            <a:r>
              <a:rPr lang="de-DE" b="1"/>
              <a:t>Form eines Berichts </a:t>
            </a:r>
            <a:r>
              <a:rPr lang="de-DE"/>
              <a:t>an, der für jedes </a:t>
            </a:r>
            <a:r>
              <a:rPr lang="de-DE" b="1"/>
              <a:t>Klimaszenario</a:t>
            </a:r>
            <a:r>
              <a:rPr lang="de-DE"/>
              <a:t> und jeden </a:t>
            </a:r>
            <a:r>
              <a:rPr lang="de-DE" b="1"/>
              <a:t>Zeithorizont</a:t>
            </a:r>
            <a:r>
              <a:rPr lang="de-DE"/>
              <a:t> dabei folgendes enthält:</a:t>
            </a:r>
          </a:p>
          <a:p>
            <a:pPr marL="171450" indent="-171450">
              <a:buFont typeface="Arial" panose="020B0604020202020204" pitchFamily="34" charset="0"/>
              <a:buChar char="•"/>
            </a:pPr>
            <a:r>
              <a:rPr lang="de-DE"/>
              <a:t>die </a:t>
            </a:r>
            <a:r>
              <a:rPr lang="de-DE" b="1"/>
              <a:t>Sachwerte</a:t>
            </a:r>
            <a:r>
              <a:rPr lang="de-DE"/>
              <a:t>, beziehungsweise die versicherten Gesamtwerte,</a:t>
            </a:r>
          </a:p>
          <a:p>
            <a:pPr marL="171450" indent="-171450">
              <a:buFont typeface="Arial" panose="020B0604020202020204" pitchFamily="34" charset="0"/>
              <a:buChar char="•"/>
            </a:pPr>
            <a:r>
              <a:rPr lang="de-DE"/>
              <a:t>ein </a:t>
            </a:r>
            <a:r>
              <a:rPr lang="de-DE" b="1"/>
              <a:t>Ranking der Standorte </a:t>
            </a:r>
            <a:r>
              <a:rPr lang="de-DE"/>
              <a:t>mit dem höchsten Risiko</a:t>
            </a:r>
          </a:p>
          <a:p>
            <a:pPr marL="171450" indent="-171450">
              <a:buFont typeface="Arial" panose="020B0604020202020204" pitchFamily="34" charset="0"/>
              <a:buChar char="•"/>
            </a:pPr>
            <a:r>
              <a:rPr lang="de-DE"/>
              <a:t>und dazu noch vorgeschlagene </a:t>
            </a:r>
            <a:r>
              <a:rPr lang="de-DE" b="1"/>
              <a:t>Anpassungsmaßnahmen pro Gefahr</a:t>
            </a:r>
            <a:r>
              <a:rPr lang="de-DE" b="0"/>
              <a:t>,</a:t>
            </a:r>
            <a:r>
              <a:rPr lang="de-DE" b="1"/>
              <a:t> </a:t>
            </a:r>
            <a:r>
              <a:rPr lang="de-DE"/>
              <a:t>die in den Nachhaltigkeitsbericht aufgenommen werden können</a:t>
            </a:r>
          </a:p>
          <a:p>
            <a:pPr marL="171450" indent="-171450">
              <a:buFont typeface="Arial" panose="020B0604020202020204" pitchFamily="34" charset="0"/>
              <a:buChar char="•"/>
            </a:pPr>
            <a:endParaRPr lang="de-DE"/>
          </a:p>
          <a:p>
            <a:pPr marL="171450" indent="-171450">
              <a:buFont typeface="Arial" panose="020B0604020202020204" pitchFamily="34" charset="0"/>
              <a:buChar char="•"/>
            </a:pPr>
            <a:endParaRPr lang="de-DE"/>
          </a:p>
          <a:p>
            <a:endParaRPr lang="de-DE"/>
          </a:p>
          <a:p>
            <a:endParaRPr lang="de-DE"/>
          </a:p>
          <a:p>
            <a:endParaRPr lang="en-E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AE58DB-14BB-41DD-A17A-07E73768D88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24788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BB2073-194C-43EF-87E1-F12784423FC6}" type="slidenum">
              <a:rPr kumimoji="0" lang="en-US" sz="1200" b="0" i="0" u="none" strike="noStrike" kern="1200" cap="none" spc="0" normalizeH="0" baseline="0" noProof="0" smtClean="0">
                <a:ln>
                  <a:noFill/>
                </a:ln>
                <a:solidFill>
                  <a:prstClr val="black"/>
                </a:solidFill>
                <a:effectLst/>
                <a:uLnTx/>
                <a:uFillTx/>
                <a:latin typeface="Zurich Sans Light" panose="02000000000000000000" pitchFamily="2" charset="0"/>
                <a:ea typeface="+mn-ea"/>
                <a:cs typeface="+mn-cs"/>
                <a:sym typeface="Zurich Sans Light"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Zurich Sans Light" panose="02000000000000000000" pitchFamily="2" charset="0"/>
              <a:ea typeface="+mn-ea"/>
              <a:cs typeface="+mn-cs"/>
              <a:sym typeface="Zurich Sans Light" panose="02000000000000000000" pitchFamily="2" charset="0"/>
            </a:endParaRPr>
          </a:p>
        </p:txBody>
      </p:sp>
    </p:spTree>
    <p:extLst>
      <p:ext uri="{BB962C8B-B14F-4D97-AF65-F5344CB8AC3E}">
        <p14:creationId xmlns:p14="http://schemas.microsoft.com/office/powerpoint/2010/main" val="24359522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ABFB68-A215-8E59-6887-B20B156FED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6EFEB2-DF9E-1A22-4190-026EC85787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0601D2-8EB5-B845-D720-F6C2C1C4306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A0FEB5A-ADE2-449A-DA08-A68B79119E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AE58DB-14BB-41DD-A17A-07E73768D88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23781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Diese </a:t>
            </a:r>
            <a:r>
              <a:rPr lang="de-DE" b="1"/>
              <a:t>Flexibilität</a:t>
            </a:r>
            <a:r>
              <a:rPr lang="de-DE"/>
              <a:t> bieten wir auch weiter bis zur </a:t>
            </a:r>
            <a:r>
              <a:rPr lang="de-DE" b="1"/>
              <a:t>Standortebene</a:t>
            </a:r>
            <a:r>
              <a:rPr lang="de-DE"/>
              <a:t> in der zweiten Phase an.</a:t>
            </a:r>
          </a:p>
          <a:p>
            <a:endParaRPr lang="de-DE"/>
          </a:p>
          <a:p>
            <a:pPr marL="171450" indent="-171450">
              <a:buFont typeface="Arial" panose="020B0604020202020204" pitchFamily="34" charset="0"/>
              <a:buChar char="•"/>
            </a:pPr>
            <a:r>
              <a:rPr lang="de-DE"/>
              <a:t>Zuerst wird das jeweilige Risiko </a:t>
            </a:r>
            <a:r>
              <a:rPr lang="de-DE" b="1"/>
              <a:t>quantifiziert</a:t>
            </a:r>
            <a:r>
              <a:rPr lang="de-DE"/>
              <a:t> mit einer </a:t>
            </a:r>
            <a:r>
              <a:rPr lang="de-DE" b="1"/>
              <a:t>detaillierten Analyse auf Standortebene</a:t>
            </a:r>
            <a:r>
              <a:rPr lang="de-DE"/>
              <a:t>.</a:t>
            </a:r>
          </a:p>
          <a:p>
            <a:pPr marL="171450" indent="-171450">
              <a:buFont typeface="Arial" panose="020B0604020202020204" pitchFamily="34" charset="0"/>
              <a:buChar char="•"/>
            </a:pPr>
            <a:r>
              <a:rPr lang="de-DE"/>
              <a:t>Dazu werden verschiedene </a:t>
            </a:r>
            <a:r>
              <a:rPr lang="de-DE" b="1"/>
              <a:t>Schadensszenarien</a:t>
            </a:r>
            <a:r>
              <a:rPr lang="de-DE"/>
              <a:t> dargestellt und zusätzlich </a:t>
            </a:r>
            <a:r>
              <a:rPr lang="de-DE" b="1"/>
              <a:t>individuelle Empfehlungen </a:t>
            </a:r>
            <a:r>
              <a:rPr lang="de-DE"/>
              <a:t>zur </a:t>
            </a:r>
            <a:r>
              <a:rPr lang="de-DE" b="1"/>
              <a:t>Risikoverbesserung</a:t>
            </a:r>
            <a:r>
              <a:rPr lang="de-DE"/>
              <a:t> vorgeschlagen.</a:t>
            </a:r>
          </a:p>
          <a:p>
            <a:pPr marL="171450" indent="-171450">
              <a:buFont typeface="Arial" panose="020B0604020202020204" pitchFamily="34" charset="0"/>
              <a:buChar char="•"/>
            </a:pPr>
            <a:r>
              <a:rPr lang="de-DE"/>
              <a:t>Wir ergänzen dies noch mit einer sogenannten </a:t>
            </a:r>
            <a:r>
              <a:rPr lang="de-DE" b="1"/>
              <a:t>Hazard-</a:t>
            </a:r>
            <a:r>
              <a:rPr lang="de-DE" b="1" err="1"/>
              <a:t>Vulnerability</a:t>
            </a:r>
            <a:r>
              <a:rPr lang="de-DE" b="1"/>
              <a:t> Matrix</a:t>
            </a:r>
            <a:r>
              <a:rPr lang="de-DE"/>
              <a:t>, bei der die Gefahren mit den jeweiligen Schwachstellen aufgezeigt werden.</a:t>
            </a:r>
          </a:p>
          <a:p>
            <a:pPr marL="171450" indent="-171450">
              <a:buFont typeface="Arial" panose="020B0604020202020204" pitchFamily="34" charset="0"/>
              <a:buChar char="•"/>
            </a:pPr>
            <a:endParaRPr lang="de-DE"/>
          </a:p>
          <a:p>
            <a:pPr marL="171450" indent="-171450">
              <a:buFont typeface="Arial" panose="020B0604020202020204" pitchFamily="34" charset="0"/>
              <a:buChar char="•"/>
            </a:pPr>
            <a:r>
              <a:rPr lang="de-DE"/>
              <a:t>Zuletzt bieten wir dabei noch die Möglichkeit die Ergebnisse </a:t>
            </a:r>
            <a:r>
              <a:rPr lang="de-DE" b="1"/>
              <a:t>gemeinsam am Standort zu vertiefen</a:t>
            </a:r>
            <a:r>
              <a:rPr lang="de-DE"/>
              <a:t>. </a:t>
            </a:r>
          </a:p>
          <a:p>
            <a:pPr marL="171450" indent="-171450">
              <a:buFont typeface="Arial" panose="020B0604020202020204" pitchFamily="34" charset="0"/>
              <a:buChar char="•"/>
            </a:pPr>
            <a:r>
              <a:rPr lang="de-DE"/>
              <a:t>Das heißt, dass eine detaillierte Bewertung durch einen </a:t>
            </a:r>
            <a:r>
              <a:rPr lang="de-DE" b="1"/>
              <a:t>ZRS </a:t>
            </a:r>
            <a:r>
              <a:rPr lang="de-DE" b="1" err="1"/>
              <a:t>Klimaresilienz</a:t>
            </a:r>
            <a:r>
              <a:rPr lang="de-DE" b="1"/>
              <a:t>-Experten </a:t>
            </a:r>
            <a:r>
              <a:rPr lang="de-DE"/>
              <a:t>vorgenommen wird. Dieser bewertet die einzelne </a:t>
            </a:r>
            <a:r>
              <a:rPr lang="de-DE" b="1" err="1"/>
              <a:t>Exposures</a:t>
            </a:r>
            <a:r>
              <a:rPr lang="de-DE"/>
              <a:t> und die dadurch potenziell auftretenden </a:t>
            </a:r>
            <a:r>
              <a:rPr lang="de-DE" b="1"/>
              <a:t>Gefahren </a:t>
            </a:r>
          </a:p>
          <a:p>
            <a:pPr marL="171450" indent="-171450">
              <a:buFont typeface="Arial" panose="020B0604020202020204" pitchFamily="34" charset="0"/>
              <a:buChar char="•"/>
            </a:pPr>
            <a:r>
              <a:rPr lang="de-DE"/>
              <a:t>Wir schauen uns deshalb </a:t>
            </a:r>
            <a:r>
              <a:rPr lang="de-DE" b="1"/>
              <a:t>exponierte Standorte vor Ort </a:t>
            </a:r>
            <a:r>
              <a:rPr lang="de-DE"/>
              <a:t>an, um eine realistische Einschätzung treffen zu könn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noProof="0"/>
              <a:t>Es wird z.B. analysiert, wo sich </a:t>
            </a:r>
            <a:r>
              <a:rPr lang="de-DE" b="1" noProof="0"/>
              <a:t>kritische Infrastruktur </a:t>
            </a:r>
            <a:r>
              <a:rPr lang="de-DE" noProof="0"/>
              <a:t>befindet und welche </a:t>
            </a:r>
            <a:r>
              <a:rPr lang="de-DE" b="1" noProof="0"/>
              <a:t>Zulieferwege von essenzieller Bedeutung sind </a:t>
            </a:r>
            <a:r>
              <a:rPr lang="de-DE" noProof="0"/>
              <a:t>(keine Lieferung=Stillstand der Produk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noProof="0"/>
              <a:t>Darauf basierend bieten wir </a:t>
            </a:r>
            <a:r>
              <a:rPr lang="de-DE" b="1" noProof="0"/>
              <a:t>individuelle Anpassungsmaßnahmen auf Standortebene </a:t>
            </a:r>
            <a:r>
              <a:rPr lang="de-DE" noProof="0"/>
              <a:t>an</a:t>
            </a:r>
          </a:p>
          <a:p>
            <a:pPr marL="171450" indent="-171450">
              <a:buFont typeface="Arial" panose="020B0604020202020204" pitchFamily="34" charset="0"/>
              <a:buChar char="•"/>
            </a:pPr>
            <a:endParaRPr lang="en-E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AE58DB-14BB-41DD-A17A-07E73768D88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0053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5ED96D-2F9B-9B6B-5475-D653E87618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BA01C9-F229-A7A1-0643-166252FE0A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D6D6D1-D299-DBEF-C7C5-B0F40B438DBB}"/>
              </a:ext>
            </a:extLst>
          </p:cNvPr>
          <p:cNvSpPr>
            <a:spLocks noGrp="1"/>
          </p:cNvSpPr>
          <p:nvPr>
            <p:ph type="body" idx="1"/>
          </p:nvPr>
        </p:nvSpPr>
        <p:spPr/>
        <p:txBody>
          <a:bodyPr/>
          <a:lstStyle/>
          <a:p>
            <a:pPr marL="171450" indent="-171450">
              <a:buFont typeface="Arial" panose="020B0604020202020204" pitchFamily="34" charset="0"/>
              <a:buChar char="•"/>
            </a:pPr>
            <a:r>
              <a:rPr lang="de-DE" noProof="0"/>
              <a:t>Unser Angebot dazu ist darauf zugeschnitten, unsere Kunden bei der </a:t>
            </a:r>
            <a:r>
              <a:rPr lang="de-DE" b="1" noProof="0"/>
              <a:t>Bewertung und Bewältigung </a:t>
            </a:r>
            <a:r>
              <a:rPr lang="de-DE" noProof="0"/>
              <a:t>von ihren </a:t>
            </a:r>
            <a:r>
              <a:rPr lang="de-DE" b="1" noProof="0"/>
              <a:t>physischen und operative Risiken </a:t>
            </a:r>
            <a:r>
              <a:rPr lang="de-DE" noProof="0"/>
              <a:t>zu unterstützen. Wir nähern uns dazu von der globalen Portfolio-Ebene auf die Standort-Ebene an.</a:t>
            </a:r>
          </a:p>
          <a:p>
            <a:pPr marL="171450" indent="-171450">
              <a:buFont typeface="Arial" panose="020B0604020202020204" pitchFamily="34" charset="0"/>
              <a:buChar char="•"/>
            </a:pPr>
            <a:endParaRPr lang="de-DE" noProof="0"/>
          </a:p>
          <a:p>
            <a:pPr marL="171450" indent="-171450">
              <a:buFont typeface="Arial" panose="020B0604020202020204" pitchFamily="34" charset="0"/>
              <a:buChar char="•"/>
            </a:pPr>
            <a:r>
              <a:rPr lang="de-DE" noProof="0"/>
              <a:t>Dies geschieht in </a:t>
            </a:r>
            <a:r>
              <a:rPr lang="de-DE" b="1" noProof="0"/>
              <a:t>2 Phasen</a:t>
            </a:r>
            <a:r>
              <a:rPr lang="de-DE" b="0" noProof="0"/>
              <a:t>:</a:t>
            </a:r>
            <a:r>
              <a:rPr lang="de-DE" b="1" noProof="0"/>
              <a:t> </a:t>
            </a:r>
            <a:r>
              <a:rPr lang="de-DE" b="0" noProof="0"/>
              <a:t>In</a:t>
            </a:r>
            <a:r>
              <a:rPr lang="de-DE" b="1" noProof="0"/>
              <a:t> </a:t>
            </a:r>
            <a:r>
              <a:rPr lang="de-DE" noProof="0"/>
              <a:t>Phase 1 erfolgt die </a:t>
            </a:r>
            <a:r>
              <a:rPr lang="de-DE" b="1" noProof="0"/>
              <a:t>Identifizierung &amp; Priorisierung </a:t>
            </a:r>
            <a:r>
              <a:rPr lang="de-DE" noProof="0"/>
              <a:t>der Risiken. In Phase 2 die </a:t>
            </a:r>
            <a:r>
              <a:rPr lang="de-DE" b="1" noProof="0"/>
              <a:t>Quantifizierung und Adaption.</a:t>
            </a:r>
          </a:p>
          <a:p>
            <a:pPr marL="171450" indent="-171450">
              <a:buFont typeface="Arial" panose="020B0604020202020204" pitchFamily="34" charset="0"/>
              <a:buChar char="•"/>
            </a:pPr>
            <a:endParaRPr lang="de-DE" noProof="0"/>
          </a:p>
          <a:p>
            <a:pPr marL="171450" indent="-171450">
              <a:buFont typeface="Arial" panose="020B0604020202020204" pitchFamily="34" charset="0"/>
              <a:buChar char="•"/>
            </a:pPr>
            <a:r>
              <a:rPr lang="de-DE" noProof="0"/>
              <a:t>Die erste Phase, die sogenannte </a:t>
            </a:r>
            <a:r>
              <a:rPr lang="de-DE" b="1" noProof="0"/>
              <a:t>Globale </a:t>
            </a:r>
            <a:r>
              <a:rPr lang="de-DE" b="1" noProof="0" err="1"/>
              <a:t>Exposure</a:t>
            </a:r>
            <a:r>
              <a:rPr lang="de-DE" b="1" noProof="0"/>
              <a:t>-Analyse, </a:t>
            </a:r>
            <a:r>
              <a:rPr lang="de-DE" noProof="0"/>
              <a:t>beschäftigt sich mit dem Thema der </a:t>
            </a:r>
            <a:r>
              <a:rPr lang="de-DE" b="1" noProof="0"/>
              <a:t>Bewertung der Risiken auf Portfolioebene</a:t>
            </a:r>
            <a:r>
              <a:rPr lang="de-DE" noProof="0"/>
              <a:t>:</a:t>
            </a:r>
          </a:p>
          <a:p>
            <a:pPr marL="628650" lvl="1" indent="-171450">
              <a:buFont typeface="Arial" panose="020B0604020202020204" pitchFamily="34" charset="0"/>
              <a:buChar char="•"/>
            </a:pPr>
            <a:r>
              <a:rPr lang="de-DE" noProof="0"/>
              <a:t>Hier ermitteln wir für unsere Kunden die einzelnen Risiken, denen der Kunde ausgesetzt sind. Dies machen wir unterteilt nach verschiedenen </a:t>
            </a:r>
            <a:r>
              <a:rPr lang="de-DE" b="1" noProof="0"/>
              <a:t>Gefahren (z.B. Wind, Niederschlag, Hitze, Hagel), unterschiedlichen Zeithorizonten und in der Regel zu drei Klimaszenarien des IPCC</a:t>
            </a:r>
            <a:r>
              <a:rPr lang="de-DE" noProof="0"/>
              <a:t>.</a:t>
            </a:r>
          </a:p>
          <a:p>
            <a:pPr marL="628650" lvl="1" indent="-171450">
              <a:buFont typeface="Arial" panose="020B0604020202020204" pitchFamily="34" charset="0"/>
              <a:buChar char="•"/>
            </a:pPr>
            <a:r>
              <a:rPr lang="de-DE" noProof="0"/>
              <a:t>Diese Sammlung von Risiken wird dann von uns entsprechend </a:t>
            </a:r>
            <a:r>
              <a:rPr lang="de-DE" b="1" noProof="0"/>
              <a:t>priorisiert</a:t>
            </a:r>
            <a:r>
              <a:rPr lang="de-DE" noProof="0"/>
              <a:t>. Das heißt jedes Risiko wird einer </a:t>
            </a:r>
            <a:r>
              <a:rPr lang="de-DE" b="1" noProof="0"/>
              <a:t>Kritikalität zugeordnet </a:t>
            </a:r>
            <a:r>
              <a:rPr lang="de-DE" noProof="0"/>
              <a:t>und </a:t>
            </a:r>
            <a:r>
              <a:rPr lang="de-DE" b="1" noProof="0"/>
              <a:t>Schwachstellen aufgezeigt</a:t>
            </a:r>
            <a:r>
              <a:rPr lang="de-DE" noProof="0"/>
              <a:t>. Dabei wird auch ein </a:t>
            </a:r>
            <a:r>
              <a:rPr lang="de-DE" b="1" noProof="0"/>
              <a:t>Standort-Ranking </a:t>
            </a:r>
            <a:r>
              <a:rPr lang="de-DE" noProof="0"/>
              <a:t>für die einzelnen Risikos erstellt.</a:t>
            </a:r>
          </a:p>
          <a:p>
            <a:pPr marL="628650" lvl="1" indent="-171450">
              <a:buFont typeface="Arial" panose="020B0604020202020204" pitchFamily="34" charset="0"/>
              <a:buChar char="•"/>
            </a:pPr>
            <a:r>
              <a:rPr lang="de-DE" noProof="0"/>
              <a:t>Im Anschluss wird diese Sammlung von Daten noch </a:t>
            </a:r>
            <a:r>
              <a:rPr lang="de-DE" b="1" noProof="0"/>
              <a:t>visualisiert</a:t>
            </a:r>
            <a:r>
              <a:rPr lang="de-DE" noProof="0"/>
              <a:t>. Was das genau das heißt und wie das ungefähr aussehen kann zeige ich Ihnen auf den folgenden Folien.</a:t>
            </a:r>
          </a:p>
          <a:p>
            <a:pPr marL="628650" lvl="1" indent="-171450">
              <a:buFont typeface="Arial" panose="020B0604020202020204" pitchFamily="34" charset="0"/>
              <a:buChar char="•"/>
            </a:pPr>
            <a:endParaRPr lang="de-DE" noProof="0"/>
          </a:p>
          <a:p>
            <a:pPr marL="171450" lvl="0" indent="-171450">
              <a:buFont typeface="Arial" panose="020B0604020202020204" pitchFamily="34" charset="0"/>
              <a:buChar char="•"/>
            </a:pPr>
            <a:r>
              <a:rPr lang="de-DE" noProof="0"/>
              <a:t>In der zweiten Phase werden diese Risiken </a:t>
            </a:r>
            <a:r>
              <a:rPr lang="de-DE" b="1" noProof="0"/>
              <a:t>quantifiziert und die Adaption begonnen</a:t>
            </a:r>
            <a:r>
              <a:rPr lang="de-DE" noProof="0"/>
              <a:t>:</a:t>
            </a:r>
          </a:p>
          <a:p>
            <a:pPr marL="628650" lvl="1" indent="-171450">
              <a:buFont typeface="Arial" panose="020B0604020202020204" pitchFamily="34" charset="0"/>
              <a:buChar char="•"/>
            </a:pPr>
            <a:r>
              <a:rPr lang="de-DE" noProof="0"/>
              <a:t>Pro Standort stellen wir unseren Kunden eine </a:t>
            </a:r>
            <a:r>
              <a:rPr lang="de-DE" b="1" noProof="0"/>
              <a:t>Bewertung mit Vorschlägen </a:t>
            </a:r>
            <a:r>
              <a:rPr lang="de-DE" noProof="0"/>
              <a:t>und </a:t>
            </a:r>
            <a:r>
              <a:rPr lang="de-DE" b="1" noProof="0"/>
              <a:t>Anpassungsmaßnahmen</a:t>
            </a:r>
            <a:r>
              <a:rPr lang="de-DE" noProof="0"/>
              <a:t> zur Verfügung.</a:t>
            </a:r>
          </a:p>
          <a:p>
            <a:pPr marL="628650" lvl="1" indent="-171450">
              <a:buFont typeface="Arial" panose="020B0604020202020204" pitchFamily="34" charset="0"/>
              <a:buChar char="•"/>
            </a:pPr>
            <a:r>
              <a:rPr lang="de-DE" noProof="0"/>
              <a:t>Dabei bieten wir </a:t>
            </a:r>
            <a:r>
              <a:rPr lang="de-DE" b="1" noProof="0"/>
              <a:t>maßgeschneiderte Standortbewertungen individuell</a:t>
            </a:r>
            <a:r>
              <a:rPr lang="de-DE" noProof="0"/>
              <a:t> auf die </a:t>
            </a:r>
            <a:r>
              <a:rPr lang="de-DE" b="1" noProof="0"/>
              <a:t>Bedürfnisse der Kunden </a:t>
            </a:r>
            <a:r>
              <a:rPr lang="de-DE" noProof="0"/>
              <a:t>zugeschnitten. </a:t>
            </a:r>
          </a:p>
          <a:p>
            <a:pPr marL="628650" lvl="1" indent="-171450">
              <a:buFont typeface="Arial" panose="020B0604020202020204" pitchFamily="34" charset="0"/>
              <a:buChar char="•"/>
            </a:pPr>
            <a:r>
              <a:rPr lang="de-DE" noProof="0"/>
              <a:t>Unsere spezialisierten </a:t>
            </a:r>
            <a:r>
              <a:rPr lang="de-DE" b="1" noProof="0"/>
              <a:t>Klimarisiko-Ingenieure</a:t>
            </a:r>
            <a:r>
              <a:rPr lang="de-DE" noProof="0"/>
              <a:t> individualisieren dies mithilfe von Desktop-Reviews und Vor-Ort-Besichtigungen. </a:t>
            </a:r>
          </a:p>
        </p:txBody>
      </p:sp>
      <p:sp>
        <p:nvSpPr>
          <p:cNvPr id="4" name="Slide Number Placeholder 3">
            <a:extLst>
              <a:ext uri="{FF2B5EF4-FFF2-40B4-BE49-F238E27FC236}">
                <a16:creationId xmlns:a16="http://schemas.microsoft.com/office/drawing/2014/main" id="{7A35B066-2036-0148-4156-EACF6ADE543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D8BDA-1633-4B0E-B901-E4440418E9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0930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BB2073-194C-43EF-87E1-F12784423FC6}" type="slidenum">
              <a:rPr kumimoji="0" lang="en-US" sz="1200" b="0" i="0" u="none" strike="noStrike" kern="1200" cap="none" spc="0" normalizeH="0" baseline="0" noProof="0" smtClean="0">
                <a:ln>
                  <a:noFill/>
                </a:ln>
                <a:solidFill>
                  <a:prstClr val="black"/>
                </a:solidFill>
                <a:effectLst/>
                <a:uLnTx/>
                <a:uFillTx/>
                <a:latin typeface="Zurich Sans Light" panose="02000000000000000000" pitchFamily="2" charset="0"/>
                <a:ea typeface="+mn-ea"/>
                <a:cs typeface="+mn-cs"/>
                <a:sym typeface="Zurich Sans Light"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Zurich Sans Light" panose="02000000000000000000" pitchFamily="2" charset="0"/>
              <a:ea typeface="+mn-ea"/>
              <a:cs typeface="+mn-cs"/>
              <a:sym typeface="Zurich Sans Light" panose="02000000000000000000" pitchFamily="2" charset="0"/>
            </a:endParaRPr>
          </a:p>
        </p:txBody>
      </p:sp>
    </p:spTree>
    <p:extLst>
      <p:ext uri="{BB962C8B-B14F-4D97-AF65-F5344CB8AC3E}">
        <p14:creationId xmlns:p14="http://schemas.microsoft.com/office/powerpoint/2010/main" val="5194379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AE58DB-14BB-41DD-A17A-07E73768D88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60740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AE58DB-14BB-41DD-A17A-07E73768D88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37527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685709" rtl="0" eaLnBrk="1" fontAlgn="auto" latinLnBrk="0" hangingPunct="1">
              <a:lnSpc>
                <a:spcPct val="100000"/>
              </a:lnSpc>
              <a:spcBef>
                <a:spcPts val="0"/>
              </a:spcBef>
              <a:spcAft>
                <a:spcPts val="0"/>
              </a:spcAft>
              <a:buClrTx/>
              <a:buSzTx/>
              <a:buFontTx/>
              <a:buNone/>
              <a:tabLst/>
              <a:defRPr/>
            </a:pPr>
            <a:fld id="{4CA67613-D43A-4074-B74B-76232035B61C}" type="slidenum">
              <a:rPr kumimoji="0" lang="de-CH" sz="1200" b="0" i="0" u="none" strike="noStrike" kern="1200" cap="none" spc="0" normalizeH="0" baseline="0" noProof="0" smtClean="0">
                <a:ln>
                  <a:noFill/>
                </a:ln>
                <a:solidFill>
                  <a:prstClr val="black"/>
                </a:solidFill>
                <a:effectLst/>
                <a:uLnTx/>
                <a:uFillTx/>
                <a:latin typeface="Zurich Sans" panose="02000000000000000000" pitchFamily="2" charset="0"/>
                <a:ea typeface="+mn-ea"/>
                <a:cs typeface="+mn-cs"/>
              </a:rPr>
              <a:pPr marL="0" marR="0" lvl="0" indent="0" algn="r" defTabSz="685709" rtl="0" eaLnBrk="1" fontAlgn="auto" latinLnBrk="0" hangingPunct="1">
                <a:lnSpc>
                  <a:spcPct val="100000"/>
                </a:lnSpc>
                <a:spcBef>
                  <a:spcPts val="0"/>
                </a:spcBef>
                <a:spcAft>
                  <a:spcPts val="0"/>
                </a:spcAft>
                <a:buClrTx/>
                <a:buSzTx/>
                <a:buFontTx/>
                <a:buNone/>
                <a:tabLst/>
                <a:defRPr/>
              </a:pPr>
              <a:t>2</a:t>
            </a:fld>
            <a:endParaRPr kumimoji="0" lang="de-CH" sz="1200" b="0" i="0" u="none" strike="noStrike" kern="1200" cap="none" spc="0" normalizeH="0" baseline="0" noProof="0">
              <a:ln>
                <a:noFill/>
              </a:ln>
              <a:solidFill>
                <a:prstClr val="black"/>
              </a:solidFill>
              <a:effectLst/>
              <a:uLnTx/>
              <a:uFillTx/>
              <a:latin typeface="Zurich Sans" panose="02000000000000000000" pitchFamily="2" charset="0"/>
              <a:ea typeface="+mn-ea"/>
              <a:cs typeface="+mn-cs"/>
            </a:endParaRPr>
          </a:p>
        </p:txBody>
      </p:sp>
    </p:spTree>
    <p:extLst>
      <p:ext uri="{BB962C8B-B14F-4D97-AF65-F5344CB8AC3E}">
        <p14:creationId xmlns:p14="http://schemas.microsoft.com/office/powerpoint/2010/main" val="6629610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BBB2073-194C-43EF-87E1-F12784423FC6}" type="slidenum">
              <a:rPr lang="en-US" smtClean="0"/>
              <a:pPr/>
              <a:t>24</a:t>
            </a:fld>
            <a:endParaRPr lang="en-US"/>
          </a:p>
        </p:txBody>
      </p:sp>
    </p:spTree>
    <p:extLst>
      <p:ext uri="{BB962C8B-B14F-4D97-AF65-F5344CB8AC3E}">
        <p14:creationId xmlns:p14="http://schemas.microsoft.com/office/powerpoint/2010/main" val="3558798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BBB2073-194C-43EF-87E1-F12784423FC6}" type="slidenum">
              <a:rPr lang="en-US" smtClean="0"/>
              <a:t>26</a:t>
            </a:fld>
            <a:endParaRPr lang="en-US"/>
          </a:p>
        </p:txBody>
      </p:sp>
    </p:spTree>
    <p:extLst>
      <p:ext uri="{BB962C8B-B14F-4D97-AF65-F5344CB8AC3E}">
        <p14:creationId xmlns:p14="http://schemas.microsoft.com/office/powerpoint/2010/main" val="31395711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BBB2073-194C-43EF-87E1-F12784423FC6}" type="slidenum">
              <a:rPr lang="de-DE" smtClean="0"/>
              <a:pPr/>
              <a:t>27</a:t>
            </a:fld>
            <a:endParaRPr lang="de-DE"/>
          </a:p>
        </p:txBody>
      </p:sp>
    </p:spTree>
    <p:extLst>
      <p:ext uri="{BB962C8B-B14F-4D97-AF65-F5344CB8AC3E}">
        <p14:creationId xmlns:p14="http://schemas.microsoft.com/office/powerpoint/2010/main" val="19049354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5EBE2E-5AFE-4F1E-A5FC-E051A1BE0E05}" type="slidenum">
              <a:rPr kumimoji="0" lang="en-NL"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NL"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92280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Calibri"/>
              <a:buNone/>
            </a:pPr>
            <a:r>
              <a:rPr lang="en-US"/>
              <a:t>In this process there is no singular future and in fact even the IPCC, has tried to </a:t>
            </a:r>
            <a:r>
              <a:rPr lang="en-US" err="1"/>
              <a:t>summarise</a:t>
            </a:r>
            <a:r>
              <a:rPr lang="en-US"/>
              <a:t> a few scenarios of what may happen. These are the SSP scenarios (shared socioeconomic pathways), which describe the temperature rise at 2100 compared to pre-industrial times. The worst plausible scenario is the one at the top (with temperatures rising to 4.4 degrees compared to pre industrial times). The best is at the bottom where we achieve net zero and limit the effects of human activity on climate.</a:t>
            </a:r>
          </a:p>
          <a:p>
            <a:pPr marL="0" indent="0">
              <a:buFont typeface="Calibri"/>
              <a:buNone/>
            </a:pPr>
            <a:endParaRPr lang="en-US"/>
          </a:p>
          <a:p>
            <a:pPr marL="0" indent="0">
              <a:buFont typeface="Calibri"/>
              <a:buNone/>
            </a:pPr>
            <a:r>
              <a:rPr lang="en-US"/>
              <a:t>The more the temperature rises, the worse the devastation will be. We will refer to these as “climate scenarios”.</a:t>
            </a:r>
          </a:p>
          <a:p>
            <a:pPr marL="0" indent="0">
              <a:buFont typeface="Calibri"/>
              <a:buNone/>
            </a:pPr>
            <a:endParaRPr lang="en-US"/>
          </a:p>
          <a:p>
            <a:pPr marL="0" indent="0">
              <a:buFont typeface="Calibri"/>
              <a:buNone/>
            </a:pPr>
            <a:endParaRPr lang="en-US"/>
          </a:p>
          <a:p>
            <a:pPr marL="0" indent="0">
              <a:buFont typeface="Calibri"/>
              <a:buNone/>
            </a:pPr>
            <a:r>
              <a:rPr lang="en-US"/>
              <a:t>If more detail is needed:</a:t>
            </a:r>
          </a:p>
          <a:p>
            <a:pPr marL="0" indent="0">
              <a:buFont typeface="Calibri"/>
              <a:buNone/>
            </a:pPr>
            <a:r>
              <a:rPr lang="en-US"/>
              <a:t>This slide shows the different scenarios assessed by the IPCC, the intragovernmental panel on climate change, in its sixth assessment report in 2021</a:t>
            </a:r>
          </a:p>
          <a:p>
            <a:pPr marL="171450" indent="-171450">
              <a:buFont typeface="Calibri"/>
              <a:buChar char="-"/>
            </a:pPr>
            <a:r>
              <a:rPr lang="en-US">
                <a:ea typeface="Calibri"/>
                <a:cs typeface="Calibri"/>
              </a:rPr>
              <a:t>At the bottom, you can see the lowest-emission scenario that would pan out at around 1.4 degrees of warming by 2100. This would indeed require net zero by 2050</a:t>
            </a:r>
          </a:p>
          <a:p>
            <a:pPr marL="171450" indent="-171450">
              <a:buFont typeface="Calibri"/>
              <a:buChar char="-"/>
            </a:pPr>
            <a:r>
              <a:rPr lang="en-US">
                <a:ea typeface="Calibri"/>
                <a:cs typeface="Calibri"/>
              </a:rPr>
              <a:t>At the top, you can see the highest-emission scenario that would result in warming of around 4.4 degrees (a scenario to avoid at all costs)</a:t>
            </a:r>
          </a:p>
          <a:p>
            <a:pPr marL="171450" indent="-171450">
              <a:buFont typeface="Calibri"/>
              <a:buChar char="-"/>
            </a:pPr>
            <a:r>
              <a:rPr lang="en-US">
                <a:ea typeface="Calibri"/>
                <a:cs typeface="Calibri"/>
              </a:rPr>
              <a:t>Now, what does this mean, besides the fact that we have a problem?</a:t>
            </a:r>
          </a:p>
          <a:p>
            <a:pPr lvl="1" indent="-171450">
              <a:buFont typeface="Calibri"/>
              <a:buChar char="-"/>
            </a:pPr>
            <a:r>
              <a:rPr lang="en-US">
                <a:ea typeface="Calibri"/>
                <a:cs typeface="Calibri"/>
              </a:rPr>
              <a:t>Well, it means there is high uncertainty around how much climate change we'll see</a:t>
            </a:r>
          </a:p>
          <a:p>
            <a:pPr lvl="1" indent="-171450">
              <a:buFont typeface="Calibri"/>
              <a:buChar char="-"/>
            </a:pPr>
            <a:r>
              <a:rPr lang="en-US" b="1">
                <a:ea typeface="Calibri"/>
                <a:cs typeface="Calibri"/>
              </a:rPr>
              <a:t>That uncertainty gets higher as we go further out into the future</a:t>
            </a:r>
          </a:p>
          <a:p>
            <a:pPr lvl="1" indent="-171450">
              <a:buFont typeface="Calibri"/>
              <a:buChar char="-"/>
            </a:pPr>
            <a:r>
              <a:rPr lang="en-US">
                <a:ea typeface="Calibri"/>
                <a:cs typeface="Calibri"/>
              </a:rPr>
              <a:t>Also, these are global averages. What might seem relatively benign – e.g. 1.5 degrees globally – could be very impactful at local level (with certain locations experiencing +3C or more)</a:t>
            </a:r>
          </a:p>
          <a:p>
            <a:pPr marL="171450" indent="-171450">
              <a:buFont typeface="Calibri,Sans-Serif"/>
              <a:buChar char="-"/>
            </a:pPr>
            <a:r>
              <a:rPr lang="en-US"/>
              <a:t>For businesses, it means that we're looking at a number of emerging risks that need to be managed. These can be broadly classified into so-called "transition risks" and "physical risks" - so let's look at these</a:t>
            </a:r>
          </a:p>
          <a:p>
            <a:pPr marL="171450" indent="-171450">
              <a:buFont typeface="Calibri,Sans-Serif"/>
              <a:buChar char="-"/>
            </a:pPr>
            <a:endParaRPr lang="en-US">
              <a:ea typeface="Calibri"/>
              <a:cs typeface="Calibri"/>
            </a:endParaRPr>
          </a:p>
          <a:p>
            <a:pPr marL="171450" indent="-171450">
              <a:buFont typeface="Calibri,Sans-Serif"/>
              <a:buChar char="-"/>
            </a:pPr>
            <a:r>
              <a:rPr lang="en-US">
                <a:ea typeface="Calibri"/>
                <a:cs typeface="Calibri"/>
              </a:rPr>
              <a:t>Practically speaking; many organizations look at the near term (e.g. to 2030) for loss prevention investment strategy (budgeting for adaptation and mitigation measures), medium term (say to 2050 or 2075) for market, technological, etc. development, while long-term for reporting. </a:t>
            </a:r>
          </a:p>
          <a:p>
            <a:pPr marL="171450" indent="-171450">
              <a:buFont typeface="Calibri,Sans-Serif"/>
              <a:buChar char="-"/>
            </a:pPr>
            <a:endParaRPr lang="en-US">
              <a:ea typeface="Calibri"/>
              <a:cs typeface="Calibri"/>
            </a:endParaRPr>
          </a:p>
          <a:p>
            <a:pPr marL="0" indent="0">
              <a:buFont typeface="Calibri,Sans-Serif"/>
              <a:buNone/>
            </a:pPr>
            <a:r>
              <a:rPr lang="en-US">
                <a:ea typeface="Calibri"/>
                <a:cs typeface="Calibri"/>
              </a:rPr>
              <a:t>Background notes:</a:t>
            </a:r>
          </a:p>
          <a:p>
            <a:pPr algn="l">
              <a:buFont typeface="Arial" panose="020B0604020202020204" pitchFamily="34" charset="0"/>
              <a:buChar char="•"/>
            </a:pPr>
            <a:r>
              <a:rPr lang="en-US" b="0" i="0">
                <a:solidFill>
                  <a:srgbClr val="202122"/>
                </a:solidFill>
                <a:effectLst/>
                <a:latin typeface="Arial" panose="020B0604020202020204" pitchFamily="34" charset="0"/>
              </a:rPr>
              <a:t>SSP1: </a:t>
            </a:r>
            <a:r>
              <a:rPr lang="en-US" b="0" i="0" u="none" strike="noStrike">
                <a:solidFill>
                  <a:srgbClr val="3366CC"/>
                </a:solidFill>
                <a:effectLst/>
                <a:latin typeface="Arial" panose="020B0604020202020204" pitchFamily="34" charset="0"/>
                <a:hlinkClick r:id="rId3" tooltip="Sustainability"/>
              </a:rPr>
              <a:t>Sustainability</a:t>
            </a:r>
            <a:r>
              <a:rPr lang="en-US" b="0" i="0">
                <a:solidFill>
                  <a:srgbClr val="202122"/>
                </a:solidFill>
                <a:effectLst/>
                <a:latin typeface="Arial" panose="020B0604020202020204" pitchFamily="34" charset="0"/>
              </a:rPr>
              <a:t> ("Taking the Green Road") - this would be desirable</a:t>
            </a:r>
          </a:p>
          <a:p>
            <a:pPr algn="l">
              <a:buFont typeface="Arial" panose="020B0604020202020204" pitchFamily="34" charset="0"/>
              <a:buChar char="•"/>
            </a:pPr>
            <a:r>
              <a:rPr lang="en-US" b="0" i="0">
                <a:solidFill>
                  <a:srgbClr val="202122"/>
                </a:solidFill>
                <a:effectLst/>
                <a:latin typeface="Arial" panose="020B0604020202020204" pitchFamily="34" charset="0"/>
              </a:rPr>
              <a:t>SSP2: "Middle of the Road"</a:t>
            </a:r>
          </a:p>
          <a:p>
            <a:pPr algn="l">
              <a:buFont typeface="Arial" panose="020B0604020202020204" pitchFamily="34" charset="0"/>
              <a:buChar char="•"/>
            </a:pPr>
            <a:r>
              <a:rPr lang="en-US" b="0" i="0">
                <a:solidFill>
                  <a:srgbClr val="202122"/>
                </a:solidFill>
                <a:effectLst/>
                <a:latin typeface="Arial" panose="020B0604020202020204" pitchFamily="34" charset="0"/>
              </a:rPr>
              <a:t>SSP3: Regional Rivalry ("A Rocky Road")</a:t>
            </a:r>
          </a:p>
          <a:p>
            <a:pPr algn="l">
              <a:buFont typeface="Arial" panose="020B0604020202020204" pitchFamily="34" charset="0"/>
              <a:buChar char="•"/>
            </a:pPr>
            <a:r>
              <a:rPr lang="en-US" b="0" i="0">
                <a:solidFill>
                  <a:srgbClr val="202122"/>
                </a:solidFill>
                <a:effectLst/>
                <a:latin typeface="Arial" panose="020B0604020202020204" pitchFamily="34" charset="0"/>
              </a:rPr>
              <a:t>SSP4: Inequality ("A Road divided")</a:t>
            </a:r>
          </a:p>
          <a:p>
            <a:pPr algn="l">
              <a:buFont typeface="Arial" panose="020B0604020202020204" pitchFamily="34" charset="0"/>
              <a:buChar char="•"/>
            </a:pPr>
            <a:r>
              <a:rPr lang="en-US" b="0" i="0">
                <a:solidFill>
                  <a:srgbClr val="202122"/>
                </a:solidFill>
                <a:effectLst/>
                <a:latin typeface="Arial" panose="020B0604020202020204" pitchFamily="34" charset="0"/>
              </a:rPr>
              <a:t>SSP5: </a:t>
            </a:r>
            <a:r>
              <a:rPr lang="en-US" b="0" i="0" u="none" strike="noStrike">
                <a:solidFill>
                  <a:srgbClr val="3366CC"/>
                </a:solidFill>
                <a:effectLst/>
                <a:latin typeface="Arial" panose="020B0604020202020204" pitchFamily="34" charset="0"/>
                <a:hlinkClick r:id="rId4" tooltip="Fossil fuel"/>
              </a:rPr>
              <a:t>Fossil-fueled</a:t>
            </a:r>
            <a:r>
              <a:rPr lang="en-US" b="0" i="0">
                <a:solidFill>
                  <a:srgbClr val="202122"/>
                </a:solidFill>
                <a:effectLst/>
                <a:latin typeface="Arial" panose="020B0604020202020204" pitchFamily="34" charset="0"/>
              </a:rPr>
              <a:t> Development ("Taking the Highway")</a:t>
            </a:r>
          </a:p>
          <a:p>
            <a:pPr marL="0" indent="0">
              <a:buFont typeface="Calibri"/>
              <a:buNone/>
            </a:pPr>
            <a:endParaRPr lang="en-US"/>
          </a:p>
          <a:p>
            <a:endParaRPr lang="en-NL"/>
          </a:p>
        </p:txBody>
      </p:sp>
      <p:sp>
        <p:nvSpPr>
          <p:cNvPr id="4" name="Slide Number Placeholder 3"/>
          <p:cNvSpPr>
            <a:spLocks noGrp="1"/>
          </p:cNvSpPr>
          <p:nvPr>
            <p:ph type="sldNum" sz="quarter" idx="5"/>
          </p:nvPr>
        </p:nvSpPr>
        <p:spPr/>
        <p:txBody>
          <a:bodyPr/>
          <a:lstStyle/>
          <a:p>
            <a:fld id="{485EBE2E-5AFE-4F1E-A5FC-E051A1BE0E05}" type="slidenum">
              <a:rPr lang="en-NL" smtClean="0"/>
              <a:t>4</a:t>
            </a:fld>
            <a:endParaRPr lang="en-NL"/>
          </a:p>
        </p:txBody>
      </p:sp>
    </p:spTree>
    <p:extLst>
      <p:ext uri="{BB962C8B-B14F-4D97-AF65-F5344CB8AC3E}">
        <p14:creationId xmlns:p14="http://schemas.microsoft.com/office/powerpoint/2010/main" val="1798993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t>So we have regulation – as a driver, but what else is out there to force your clients to take climate action?</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a:p>
          <a:p>
            <a:pPr marL="0" marR="0" lvl="0" indent="0" algn="l" defTabSz="685800" rtl="0" eaLnBrk="1" fontAlgn="auto" latinLnBrk="0" hangingPunct="1">
              <a:lnSpc>
                <a:spcPct val="100000"/>
              </a:lnSpc>
              <a:spcBef>
                <a:spcPts val="0"/>
              </a:spcBef>
              <a:spcAft>
                <a:spcPts val="0"/>
              </a:spcAft>
              <a:buClrTx/>
              <a:buSzTx/>
              <a:buFontTx/>
              <a:buNone/>
              <a:tabLst/>
              <a:defRPr/>
            </a:pPr>
            <a:r>
              <a:rPr lang="en-US"/>
              <a:t>Well, there’s a great variety of factors – from their reputation (if they do not do enough), to loss of employee engagement and potential </a:t>
            </a:r>
            <a:r>
              <a:rPr lang="en-US" err="1"/>
              <a:t>uninsurability</a:t>
            </a:r>
            <a:r>
              <a:rPr lang="en-US"/>
              <a:t>. </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a:p>
          <a:p>
            <a:pPr marL="0" marR="0" lvl="0" indent="0" algn="l" defTabSz="685800" rtl="0" eaLnBrk="1" fontAlgn="auto" latinLnBrk="0" hangingPunct="1">
              <a:lnSpc>
                <a:spcPct val="100000"/>
              </a:lnSpc>
              <a:spcBef>
                <a:spcPts val="0"/>
              </a:spcBef>
              <a:spcAft>
                <a:spcPts val="0"/>
              </a:spcAft>
              <a:buClrTx/>
              <a:buSzTx/>
              <a:buFontTx/>
              <a:buNone/>
              <a:tabLst/>
              <a:defRPr/>
            </a:pPr>
            <a:r>
              <a:rPr lang="en-US"/>
              <a:t>The two that we at ZRS see most frequently are:</a:t>
            </a:r>
          </a:p>
          <a:p>
            <a:pPr marL="0" marR="0" lvl="0" indent="0" algn="l" defTabSz="685800" rtl="0" eaLnBrk="1" fontAlgn="auto" latinLnBrk="0" hangingPunct="1">
              <a:lnSpc>
                <a:spcPct val="100000"/>
              </a:lnSpc>
              <a:spcBef>
                <a:spcPts val="0"/>
              </a:spcBef>
              <a:spcAft>
                <a:spcPts val="0"/>
              </a:spcAft>
              <a:buClrTx/>
              <a:buSzTx/>
              <a:buFontTx/>
              <a:buNone/>
              <a:tabLst/>
              <a:defRPr/>
            </a:pPr>
            <a:r>
              <a:rPr lang="en-US" b="1"/>
              <a:t>Climate related losses (corresponding to risk management as a motivation) and</a:t>
            </a:r>
          </a:p>
          <a:p>
            <a:pPr marL="0" marR="0" lvl="0" indent="0" algn="l" defTabSz="685800" rtl="0" eaLnBrk="1" fontAlgn="auto" latinLnBrk="0" hangingPunct="1">
              <a:lnSpc>
                <a:spcPct val="100000"/>
              </a:lnSpc>
              <a:spcBef>
                <a:spcPts val="0"/>
              </a:spcBef>
              <a:spcAft>
                <a:spcPts val="0"/>
              </a:spcAft>
              <a:buClrTx/>
              <a:buSzTx/>
              <a:buFontTx/>
              <a:buNone/>
              <a:tabLst/>
              <a:defRPr/>
            </a:pPr>
            <a:r>
              <a:rPr lang="en-US" b="1"/>
              <a:t>Investor and regulatory demands, which corresponds usually to climate disclosures</a:t>
            </a:r>
          </a:p>
          <a:p>
            <a:endParaRPr lang="en-NL"/>
          </a:p>
        </p:txBody>
      </p:sp>
      <p:sp>
        <p:nvSpPr>
          <p:cNvPr id="4" name="Slide Number Placeholder 3"/>
          <p:cNvSpPr>
            <a:spLocks noGrp="1"/>
          </p:cNvSpPr>
          <p:nvPr>
            <p:ph type="sldNum" sz="quarter" idx="5"/>
          </p:nvPr>
        </p:nvSpPr>
        <p:spPr/>
        <p:txBody>
          <a:bodyPr/>
          <a:lstStyle/>
          <a:p>
            <a:fld id="{485EBE2E-5AFE-4F1E-A5FC-E051A1BE0E05}" type="slidenum">
              <a:rPr lang="en-NL" smtClean="0"/>
              <a:t>5</a:t>
            </a:fld>
            <a:endParaRPr lang="en-NL"/>
          </a:p>
        </p:txBody>
      </p:sp>
    </p:spTree>
    <p:extLst>
      <p:ext uri="{BB962C8B-B14F-4D97-AF65-F5344CB8AC3E}">
        <p14:creationId xmlns:p14="http://schemas.microsoft.com/office/powerpoint/2010/main" val="20289890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Zusätzlich zur Begleitung unserer Kunden im Underwriting, möchten wir aber auch unsere Kunden </a:t>
            </a:r>
            <a:r>
              <a:rPr lang="de-DE" b="1"/>
              <a:t>über den Versicherungsschutz hinaus unterstützen</a:t>
            </a:r>
            <a:r>
              <a:rPr lang="de-DE"/>
              <a:t>. </a:t>
            </a:r>
          </a:p>
          <a:p>
            <a:r>
              <a:rPr lang="de-DE"/>
              <a:t>Hierzu haben wir vor einiger Zeit Zurich Resilience Solutions ins Leben gerufen und helfen unseren Kunden ihre Klimarisiken besser zu verstehen und ihre </a:t>
            </a:r>
            <a:r>
              <a:rPr lang="de-DE" b="1"/>
              <a:t>Klimaresilienz zu erhöhen</a:t>
            </a:r>
            <a:r>
              <a:rPr lang="de-DE"/>
              <a:t>. </a:t>
            </a:r>
          </a:p>
          <a:p>
            <a:endParaRPr lang="de-DE"/>
          </a:p>
          <a:p>
            <a:r>
              <a:rPr lang="de-DE"/>
              <a:t>Klimaresilienz gewinnt aufgrund mehrerer Entwicklungen zunehmend an Wichtigkeit für viele Unternehmen: </a:t>
            </a:r>
          </a:p>
          <a:p>
            <a:endParaRPr lang="de-DE"/>
          </a:p>
          <a:p>
            <a:pPr marL="228600" indent="-228600">
              <a:buFont typeface="+mj-lt"/>
              <a:buAutoNum type="arabicPeriod"/>
            </a:pPr>
            <a:r>
              <a:rPr lang="de-DE"/>
              <a:t>Zum einen sehen wir </a:t>
            </a:r>
            <a:r>
              <a:rPr lang="de-DE" b="1"/>
              <a:t>steigende</a:t>
            </a:r>
            <a:r>
              <a:rPr lang="de-DE"/>
              <a:t> </a:t>
            </a:r>
            <a:r>
              <a:rPr lang="de-DE" b="1"/>
              <a:t>physischen Risiken</a:t>
            </a:r>
            <a:r>
              <a:rPr lang="de-DE"/>
              <a:t>. </a:t>
            </a:r>
            <a:r>
              <a:rPr lang="de-DE" b="1"/>
              <a:t>Extremwetterereignisse</a:t>
            </a:r>
            <a:r>
              <a:rPr lang="de-DE"/>
              <a:t> werden, wie eingangs erwähnt, immer häufiger und größer in ihrem Ausmaß. Die </a:t>
            </a:r>
            <a:r>
              <a:rPr lang="de-DE" b="1"/>
              <a:t>wirtschaftlichen Schäden </a:t>
            </a:r>
            <a:r>
              <a:rPr lang="de-DE"/>
              <a:t>durch diese steigen weiter an. </a:t>
            </a:r>
            <a:r>
              <a:rPr lang="de-DE" b="1"/>
              <a:t>Klimabedingte Verluste </a:t>
            </a:r>
            <a:r>
              <a:rPr lang="de-DE"/>
              <a:t>haben sich in der letzten Dekade jährlich um </a:t>
            </a:r>
            <a:r>
              <a:rPr lang="de-DE" b="1"/>
              <a:t>fast 2% erhöht</a:t>
            </a:r>
            <a:r>
              <a:rPr lang="de-DE"/>
              <a:t>.</a:t>
            </a:r>
          </a:p>
          <a:p>
            <a:pPr marL="228600" indent="-228600">
              <a:buFont typeface="+mj-lt"/>
              <a:buAutoNum type="arabicPeriod"/>
            </a:pPr>
            <a:endParaRPr lang="de-DE"/>
          </a:p>
          <a:p>
            <a:pPr marL="228600" indent="-228600">
              <a:buFont typeface="+mj-lt"/>
              <a:buAutoNum type="arabicPeriod"/>
            </a:pPr>
            <a:r>
              <a:rPr lang="de-DE"/>
              <a:t>Dazu kommen </a:t>
            </a:r>
            <a:r>
              <a:rPr lang="de-DE" b="1"/>
              <a:t>zunehmende regulatorische Anforderungen</a:t>
            </a:r>
            <a:r>
              <a:rPr lang="de-DE"/>
              <a:t>: Die </a:t>
            </a:r>
            <a:r>
              <a:rPr lang="de-DE" b="1"/>
              <a:t>CSRD - Corporate </a:t>
            </a:r>
            <a:r>
              <a:rPr lang="de-DE" b="1" err="1"/>
              <a:t>Sustainability</a:t>
            </a:r>
            <a:r>
              <a:rPr lang="de-DE" b="1"/>
              <a:t> Reporting </a:t>
            </a:r>
            <a:r>
              <a:rPr lang="de-DE" b="1" err="1"/>
              <a:t>Directive</a:t>
            </a:r>
            <a:r>
              <a:rPr lang="de-DE"/>
              <a:t>, wie sie wahrscheinlich wissen, erhöht die Anforderungen für Unternehmen stark. Allein </a:t>
            </a:r>
            <a:r>
              <a:rPr lang="de-DE" b="1"/>
              <a:t>in Deutschland </a:t>
            </a:r>
            <a:r>
              <a:rPr lang="de-DE"/>
              <a:t>wird die Anzahl berichtspflichtiger Unternehmen von derzeit </a:t>
            </a:r>
            <a:r>
              <a:rPr lang="de-DE" b="1"/>
              <a:t>500 auf rund 15.000 ab dem Geschäftsjahr 2025 steigen</a:t>
            </a:r>
            <a:r>
              <a:rPr lang="de-DE"/>
              <a:t>.</a:t>
            </a:r>
          </a:p>
          <a:p>
            <a:pPr marL="228600" indent="-228600">
              <a:buFont typeface="+mj-lt"/>
              <a:buAutoNum type="arabicPeriod"/>
            </a:pPr>
            <a:endParaRPr lang="de-DE"/>
          </a:p>
          <a:p>
            <a:pPr marL="228600" indent="-228600">
              <a:buFont typeface="+mj-lt"/>
              <a:buAutoNum type="arabicPeriod"/>
            </a:pPr>
            <a:r>
              <a:rPr lang="de-DE"/>
              <a:t>Dies wird ergänzt mit den </a:t>
            </a:r>
            <a:r>
              <a:rPr lang="de-DE" b="1"/>
              <a:t>steigenden Erwartungen von Stakeholdern</a:t>
            </a:r>
            <a:r>
              <a:rPr lang="de-DE"/>
              <a:t>: Kunden, Lieferanten, Mitarbeitende und Investoren haben </a:t>
            </a:r>
            <a:r>
              <a:rPr lang="de-DE" b="1"/>
              <a:t>erhöhte Erwartungen an die Nachhaltigkeit von Unternehmen</a:t>
            </a:r>
            <a:r>
              <a:rPr lang="de-DE"/>
              <a:t>. Diese Stakeholder erwarten klare </a:t>
            </a:r>
            <a:r>
              <a:rPr lang="de-DE" err="1"/>
              <a:t>Transitionspläne</a:t>
            </a:r>
            <a:r>
              <a:rPr lang="de-DE"/>
              <a:t> hin zu </a:t>
            </a:r>
            <a:r>
              <a:rPr lang="de-DE" b="1"/>
              <a:t>nachhaltigen Geschäftsmodellen. </a:t>
            </a:r>
            <a:r>
              <a:rPr lang="de-DE" b="0"/>
              <a:t>Hierin stecken </a:t>
            </a:r>
            <a:r>
              <a:rPr lang="de-DE"/>
              <a:t>für Unternehmen durchaus </a:t>
            </a:r>
            <a:r>
              <a:rPr lang="de-DE" b="1"/>
              <a:t>Chancen.</a:t>
            </a:r>
            <a:r>
              <a:rPr lang="de-DE"/>
              <a:t> Unternehmen können dadurch ihr </a:t>
            </a:r>
            <a:r>
              <a:rPr lang="de-DE" b="1"/>
              <a:t>Geschäftsmodell neu aufstellen und neue Chancen auf dem Markt</a:t>
            </a:r>
            <a:r>
              <a:rPr lang="de-DE"/>
              <a:t> zum Wachstum nutzen. Gemäß des Carbon Disclosure Project (CDP) zufolge ist der finanzielle Nutzen von Maßnahmen zur Klimaadaption und -mitigation um ein </a:t>
            </a:r>
            <a:r>
              <a:rPr lang="de-DE" b="1"/>
              <a:t>vielfaches höher, als der Aufwand. </a:t>
            </a:r>
          </a:p>
          <a:p>
            <a:pPr marL="228600" indent="-228600">
              <a:buFont typeface="+mj-lt"/>
              <a:buAutoNum type="arabicPeriod"/>
            </a:pPr>
            <a:endParaRPr lang="de-DE"/>
          </a:p>
          <a:p>
            <a:pPr marL="228600" indent="-228600">
              <a:buFont typeface="+mj-lt"/>
              <a:buAutoNum type="arabicPeriod"/>
            </a:pPr>
            <a:r>
              <a:rPr lang="de-DE"/>
              <a:t>Zuletzt sehen wir eine </a:t>
            </a:r>
            <a:r>
              <a:rPr lang="de-DE" b="1"/>
              <a:t>steigende Nachfrage an Versicherungsschutz </a:t>
            </a:r>
            <a:r>
              <a:rPr lang="de-DE"/>
              <a:t>für Klimarisiken. Aufgrund des Klimawandels wird es immer schwieriger zukünftige Wettermuster auf der Basis von historischen Daten zu modellieren. Auch deshalb erfordert es einen </a:t>
            </a:r>
            <a:r>
              <a:rPr lang="de-DE" b="1"/>
              <a:t>proaktiven Ansatz </a:t>
            </a:r>
            <a:r>
              <a:rPr lang="de-DE"/>
              <a:t>zur </a:t>
            </a:r>
            <a:r>
              <a:rPr lang="de-DE" b="1"/>
              <a:t>Stärkung der Resilienz </a:t>
            </a:r>
            <a:r>
              <a:rPr lang="de-DE"/>
              <a:t>gegenüber Klimarisiken…</a:t>
            </a:r>
          </a:p>
          <a:p>
            <a:pPr marL="228600" indent="-228600">
              <a:buFont typeface="+mj-lt"/>
              <a:buAutoNum type="arabicPeriod"/>
            </a:pPr>
            <a:endParaRPr lang="de-DE"/>
          </a:p>
          <a:p>
            <a:pPr marL="0" indent="0">
              <a:buFont typeface="+mj-lt"/>
              <a:buNone/>
            </a:pPr>
            <a:endParaRPr lang="de-DE"/>
          </a:p>
          <a:p>
            <a:pPr marL="228600" indent="-228600">
              <a:buFont typeface="+mj-lt"/>
              <a:buAutoNum type="arabicPeriod"/>
            </a:pPr>
            <a:endParaRPr lang="de-DE"/>
          </a:p>
          <a:p>
            <a:pPr marL="228600" indent="-228600">
              <a:buFont typeface="+mj-lt"/>
              <a:buAutoNum type="arabicPeriod"/>
            </a:pPr>
            <a:endParaRPr lang="de-DE"/>
          </a:p>
          <a:p>
            <a:endParaRPr lang="de-DE"/>
          </a:p>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BB2073-194C-43EF-87E1-F12784423F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92388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C29360-B27C-6454-A725-DF194C11EB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74D879-AA2D-BADC-7DBC-55460551CD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B4DD40-881F-4531-6956-2606450A269F}"/>
              </a:ext>
            </a:extLst>
          </p:cNvPr>
          <p:cNvSpPr>
            <a:spLocks noGrp="1"/>
          </p:cNvSpPr>
          <p:nvPr>
            <p:ph type="body" idx="1"/>
          </p:nvPr>
        </p:nvSpPr>
        <p:spPr/>
        <p:txBody>
          <a:bodyPr/>
          <a:lstStyle/>
          <a:p>
            <a:r>
              <a:rPr lang="en-US"/>
              <a:t>Optional, if we need to go into detail</a:t>
            </a:r>
            <a:endParaRPr lang="en-ES"/>
          </a:p>
        </p:txBody>
      </p:sp>
      <p:sp>
        <p:nvSpPr>
          <p:cNvPr id="4" name="Slide Number Placeholder 3">
            <a:extLst>
              <a:ext uri="{FF2B5EF4-FFF2-40B4-BE49-F238E27FC236}">
                <a16:creationId xmlns:a16="http://schemas.microsoft.com/office/drawing/2014/main" id="{89E48B66-A6DE-869D-9335-F499AE788F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AE58DB-14BB-41DD-A17A-07E73768D887}" type="slidenum">
              <a:rPr kumimoji="0" lang="en-GB" sz="1200" b="0" i="0" u="none" strike="noStrike" kern="1200" cap="none" spc="0" normalizeH="0" baseline="0" noProof="0" smtClean="0">
                <a:ln>
                  <a:noFill/>
                </a:ln>
                <a:solidFill>
                  <a:prstClr val="black"/>
                </a:solidFill>
                <a:effectLst/>
                <a:uLnTx/>
                <a:uFillTx/>
                <a:latin typeface="Zurich Sans Light" panose="02000000000000000000" pitchFamily="2" charset="0"/>
                <a:ea typeface="+mn-ea"/>
                <a:cs typeface="+mn-cs"/>
                <a:sym typeface="Zurich Sans Light"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Zurich Sans Light" panose="02000000000000000000" pitchFamily="2" charset="0"/>
              <a:ea typeface="+mn-ea"/>
              <a:cs typeface="+mn-cs"/>
              <a:sym typeface="Zurich Sans Light" panose="02000000000000000000" pitchFamily="2" charset="0"/>
            </a:endParaRPr>
          </a:p>
        </p:txBody>
      </p:sp>
    </p:spTree>
    <p:extLst>
      <p:ext uri="{BB962C8B-B14F-4D97-AF65-F5344CB8AC3E}">
        <p14:creationId xmlns:p14="http://schemas.microsoft.com/office/powerpoint/2010/main" val="1181178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F8F654-5CFB-F7F3-DE96-63AB1E7992A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7AB993D-964F-2B2A-3C86-9B9953E1A6F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7C9D4E5-6BD0-69F8-8096-CA081D887B5E}"/>
              </a:ext>
            </a:extLst>
          </p:cNvPr>
          <p:cNvSpPr>
            <a:spLocks noGrp="1"/>
          </p:cNvSpPr>
          <p:nvPr>
            <p:ph type="body" idx="1"/>
          </p:nvPr>
        </p:nvSpPr>
        <p:spPr/>
        <p:txBody>
          <a:bodyPr/>
          <a:lstStyle/>
          <a:p>
            <a:pPr>
              <a:buNone/>
            </a:pP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Info für Speaker Notes:</a:t>
            </a:r>
          </a:p>
          <a:p>
            <a:pPr>
              <a:buNone/>
            </a:pP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As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of</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end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of</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June,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we</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can</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provide</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flood</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wind, and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storm</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surge</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a:t>
            </a:r>
            <a:endParaRPr lang="de-DE" sz="1200">
              <a:effectLst/>
              <a:latin typeface="Aptos" panose="020B0004020202020204" pitchFamily="34" charset="0"/>
              <a:ea typeface="Aptos" panose="020B0004020202020204" pitchFamily="34" charset="0"/>
              <a:cs typeface="Aptos" panose="020B0004020202020204" pitchFamily="34" charset="0"/>
            </a:endParaRPr>
          </a:p>
          <a:p>
            <a:pPr>
              <a:buNone/>
            </a:pP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endParaRPr lang="de-DE" sz="1200">
              <a:effectLst/>
              <a:latin typeface="Aptos" panose="020B0004020202020204" pitchFamily="34" charset="0"/>
              <a:ea typeface="Aptos" panose="020B0004020202020204" pitchFamily="34" charset="0"/>
              <a:cs typeface="Aptos" panose="020B0004020202020204" pitchFamily="34" charset="0"/>
            </a:endParaRPr>
          </a:p>
          <a:p>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As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of</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end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of</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December</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we</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will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be</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able</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to</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add</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earthquake</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hail</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 and </a:t>
            </a:r>
            <a:r>
              <a:rPr lang="de-DE" sz="1200" err="1">
                <a:solidFill>
                  <a:srgbClr val="000000"/>
                </a:solidFill>
                <a:effectLst/>
                <a:latin typeface="Aptos" panose="020B0004020202020204" pitchFamily="34" charset="0"/>
                <a:ea typeface="Times New Roman" panose="02020603050405020304" pitchFamily="18" charset="0"/>
                <a:cs typeface="Aptos" panose="020B0004020202020204" pitchFamily="34" charset="0"/>
              </a:rPr>
              <a:t>tornado</a:t>
            </a:r>
            <a:r>
              <a:rPr lang="de-DE" sz="1200">
                <a:solidFill>
                  <a:srgbClr val="000000"/>
                </a:solidFill>
                <a:effectLst/>
                <a:latin typeface="Aptos" panose="020B0004020202020204" pitchFamily="34" charset="0"/>
                <a:ea typeface="Times New Roman" panose="02020603050405020304" pitchFamily="18" charset="0"/>
                <a:cs typeface="Aptos" panose="020B0004020202020204" pitchFamily="34" charset="0"/>
              </a:rPr>
              <a:t>.</a:t>
            </a:r>
            <a:endParaRPr lang="de-DE" sz="1200">
              <a:effectLst/>
              <a:latin typeface="Aptos" panose="020B0004020202020204" pitchFamily="34" charset="0"/>
              <a:ea typeface="Aptos" panose="020B0004020202020204" pitchFamily="34" charset="0"/>
              <a:cs typeface="Aptos" panose="020B0004020202020204" pitchFamily="34" charset="0"/>
            </a:endParaRPr>
          </a:p>
          <a:p>
            <a:endParaRPr lang="de-DE"/>
          </a:p>
        </p:txBody>
      </p:sp>
      <p:sp>
        <p:nvSpPr>
          <p:cNvPr id="4" name="Foliennummernplatzhalter 3">
            <a:extLst>
              <a:ext uri="{FF2B5EF4-FFF2-40B4-BE49-F238E27FC236}">
                <a16:creationId xmlns:a16="http://schemas.microsoft.com/office/drawing/2014/main" id="{BF542268-D19C-FAEB-E5C4-8142CCAC6B81}"/>
              </a:ext>
            </a:extLst>
          </p:cNvPr>
          <p:cNvSpPr>
            <a:spLocks noGrp="1"/>
          </p:cNvSpPr>
          <p:nvPr>
            <p:ph type="sldNum" sz="quarter" idx="5"/>
          </p:nvPr>
        </p:nvSpPr>
        <p:spPr/>
        <p:txBody>
          <a:bodyPr/>
          <a:lstStyle/>
          <a:p>
            <a:fld id="{7BBB2073-194C-43EF-87E1-F12784423FC6}" type="slidenum">
              <a:rPr lang="de-DE" smtClean="0"/>
              <a:pPr/>
              <a:t>9</a:t>
            </a:fld>
            <a:endParaRPr lang="de-DE"/>
          </a:p>
        </p:txBody>
      </p:sp>
    </p:spTree>
    <p:extLst>
      <p:ext uri="{BB962C8B-B14F-4D97-AF65-F5344CB8AC3E}">
        <p14:creationId xmlns:p14="http://schemas.microsoft.com/office/powerpoint/2010/main" val="33377433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AE58DB-14BB-41DD-A17A-07E73768D887}" type="slidenum">
              <a:rPr lang="en-GB" smtClean="0"/>
              <a:t>10</a:t>
            </a:fld>
            <a:endParaRPr lang="en-GB"/>
          </a:p>
        </p:txBody>
      </p:sp>
    </p:spTree>
    <p:extLst>
      <p:ext uri="{BB962C8B-B14F-4D97-AF65-F5344CB8AC3E}">
        <p14:creationId xmlns:p14="http://schemas.microsoft.com/office/powerpoint/2010/main" val="5059942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4.emf"/></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5.xml"/><Relationship Id="rId4" Type="http://schemas.openxmlformats.org/officeDocument/2006/relationships/image" Target="../media/image29.emf"/></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57.xml"/><Relationship Id="rId4" Type="http://schemas.openxmlformats.org/officeDocument/2006/relationships/image" Target="../media/image16.emf"/></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3.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60.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4.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65.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66.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67.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6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69.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5.xml"/><Relationship Id="rId1" Type="http://schemas.openxmlformats.org/officeDocument/2006/relationships/tags" Target="../tags/tag70.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7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7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74.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tags" Target="../tags/tag75.xml"/><Relationship Id="rId6" Type="http://schemas.openxmlformats.org/officeDocument/2006/relationships/image" Target="../media/image32.svg"/><Relationship Id="rId5" Type="http://schemas.openxmlformats.org/officeDocument/2006/relationships/image" Target="../media/image11.png"/><Relationship Id="rId4" Type="http://schemas.openxmlformats.org/officeDocument/2006/relationships/image" Target="../media/image10.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76.xml"/><Relationship Id="rId6" Type="http://schemas.openxmlformats.org/officeDocument/2006/relationships/image" Target="../media/image3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5.xml"/><Relationship Id="rId1" Type="http://schemas.openxmlformats.org/officeDocument/2006/relationships/tags" Target="../tags/tag7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0.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78.xml"/><Relationship Id="rId6" Type="http://schemas.openxmlformats.org/officeDocument/2006/relationships/image" Target="../media/image35.svg"/><Relationship Id="rId5" Type="http://schemas.openxmlformats.org/officeDocument/2006/relationships/image" Target="../media/image7.png"/><Relationship Id="rId4" Type="http://schemas.openxmlformats.org/officeDocument/2006/relationships/image" Target="../media/image34.emf"/></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9.xml"/><Relationship Id="rId4" Type="http://schemas.openxmlformats.org/officeDocument/2006/relationships/image" Target="../media/image3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80.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7.emf"/></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4.emf"/></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4.emf"/></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9.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9.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0.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6.emf"/></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31.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32.xml"/><Relationship Id="rId6" Type="http://schemas.openxmlformats.org/officeDocument/2006/relationships/image" Target="../media/image17.svg"/><Relationship Id="rId5" Type="http://schemas.openxmlformats.org/officeDocument/2006/relationships/image" Target="../media/image7.png"/><Relationship Id="rId4" Type="http://schemas.openxmlformats.org/officeDocument/2006/relationships/image" Target="../media/image16.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3.xml"/><Relationship Id="rId6" Type="http://schemas.openxmlformats.org/officeDocument/2006/relationships/image" Target="../media/image17.svg"/><Relationship Id="rId5" Type="http://schemas.openxmlformats.org/officeDocument/2006/relationships/image" Target="../media/image7.png"/><Relationship Id="rId4" Type="http://schemas.openxmlformats.org/officeDocument/2006/relationships/image" Target="../media/image20.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4.xml"/><Relationship Id="rId6" Type="http://schemas.openxmlformats.org/officeDocument/2006/relationships/image" Target="../media/image17.svg"/><Relationship Id="rId5" Type="http://schemas.openxmlformats.org/officeDocument/2006/relationships/image" Target="../media/image7.png"/><Relationship Id="rId4" Type="http://schemas.openxmlformats.org/officeDocument/2006/relationships/image" Target="../media/image2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5.xml"/><Relationship Id="rId6" Type="http://schemas.openxmlformats.org/officeDocument/2006/relationships/image" Target="../media/image17.svg"/><Relationship Id="rId5" Type="http://schemas.openxmlformats.org/officeDocument/2006/relationships/image" Target="../media/image7.png"/><Relationship Id="rId4" Type="http://schemas.openxmlformats.org/officeDocument/2006/relationships/image" Target="../media/image2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6.xml"/><Relationship Id="rId6" Type="http://schemas.openxmlformats.org/officeDocument/2006/relationships/image" Target="../media/image17.svg"/><Relationship Id="rId5" Type="http://schemas.openxmlformats.org/officeDocument/2006/relationships/image" Target="../media/image7.png"/><Relationship Id="rId4" Type="http://schemas.openxmlformats.org/officeDocument/2006/relationships/image" Target="../media/image2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7.xml"/><Relationship Id="rId6" Type="http://schemas.openxmlformats.org/officeDocument/2006/relationships/image" Target="../media/image17.svg"/><Relationship Id="rId5" Type="http://schemas.openxmlformats.org/officeDocument/2006/relationships/image" Target="../media/image7.png"/><Relationship Id="rId4" Type="http://schemas.openxmlformats.org/officeDocument/2006/relationships/image" Target="../media/image23.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8.xml"/><Relationship Id="rId6" Type="http://schemas.openxmlformats.org/officeDocument/2006/relationships/image" Target="../media/image17.svg"/><Relationship Id="rId5" Type="http://schemas.openxmlformats.org/officeDocument/2006/relationships/image" Target="../media/image7.png"/><Relationship Id="rId4" Type="http://schemas.openxmlformats.org/officeDocument/2006/relationships/image" Target="../media/image2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32.bin"/><Relationship Id="rId7" Type="http://schemas.openxmlformats.org/officeDocument/2006/relationships/image" Target="../media/image24.png"/><Relationship Id="rId2" Type="http://schemas.openxmlformats.org/officeDocument/2006/relationships/slideMaster" Target="../slideMasters/slideMaster3.xml"/><Relationship Id="rId1" Type="http://schemas.openxmlformats.org/officeDocument/2006/relationships/tags" Target="../tags/tag39.xml"/><Relationship Id="rId6" Type="http://schemas.openxmlformats.org/officeDocument/2006/relationships/image" Target="../media/image17.svg"/><Relationship Id="rId5" Type="http://schemas.openxmlformats.org/officeDocument/2006/relationships/image" Target="../media/image7.png"/><Relationship Id="rId4" Type="http://schemas.openxmlformats.org/officeDocument/2006/relationships/image" Target="../media/image2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4.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2.bin"/><Relationship Id="rId7" Type="http://schemas.openxmlformats.org/officeDocument/2006/relationships/image" Target="../media/image24.png"/><Relationship Id="rId2" Type="http://schemas.openxmlformats.org/officeDocument/2006/relationships/slideMaster" Target="../slideMasters/slideMaster3.xml"/><Relationship Id="rId1" Type="http://schemas.openxmlformats.org/officeDocument/2006/relationships/tags" Target="../tags/tag40.xml"/><Relationship Id="rId6" Type="http://schemas.openxmlformats.org/officeDocument/2006/relationships/image" Target="../media/image17.svg"/><Relationship Id="rId5" Type="http://schemas.openxmlformats.org/officeDocument/2006/relationships/image" Target="../media/image7.png"/><Relationship Id="rId4" Type="http://schemas.openxmlformats.org/officeDocument/2006/relationships/image" Target="../media/image2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41.xml"/><Relationship Id="rId6" Type="http://schemas.openxmlformats.org/officeDocument/2006/relationships/image" Target="../media/image17.svg"/><Relationship Id="rId5" Type="http://schemas.openxmlformats.org/officeDocument/2006/relationships/image" Target="../media/image7.png"/><Relationship Id="rId4" Type="http://schemas.openxmlformats.org/officeDocument/2006/relationships/image" Target="../media/image2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42.xml"/><Relationship Id="rId6" Type="http://schemas.openxmlformats.org/officeDocument/2006/relationships/image" Target="../media/image17.svg"/><Relationship Id="rId5" Type="http://schemas.openxmlformats.org/officeDocument/2006/relationships/image" Target="../media/image7.png"/><Relationship Id="rId4" Type="http://schemas.openxmlformats.org/officeDocument/2006/relationships/image" Target="../media/image23.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oleObject" Target="../embeddings/oleObject29.bin"/><Relationship Id="rId7" Type="http://schemas.openxmlformats.org/officeDocument/2006/relationships/image" Target="../media/image25.png"/><Relationship Id="rId2" Type="http://schemas.openxmlformats.org/officeDocument/2006/relationships/slideMaster" Target="../slideMasters/slideMaster3.xml"/><Relationship Id="rId1" Type="http://schemas.openxmlformats.org/officeDocument/2006/relationships/tags" Target="../tags/tag43.xml"/><Relationship Id="rId6" Type="http://schemas.openxmlformats.org/officeDocument/2006/relationships/image" Target="../media/image17.svg"/><Relationship Id="rId5" Type="http://schemas.openxmlformats.org/officeDocument/2006/relationships/image" Target="../media/image7.png"/><Relationship Id="rId4" Type="http://schemas.openxmlformats.org/officeDocument/2006/relationships/image" Target="../media/image20.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oleObject" Target="../embeddings/oleObject29.bin"/><Relationship Id="rId7" Type="http://schemas.openxmlformats.org/officeDocument/2006/relationships/image" Target="../media/image25.png"/><Relationship Id="rId2" Type="http://schemas.openxmlformats.org/officeDocument/2006/relationships/slideMaster" Target="../slideMasters/slideMaster3.xml"/><Relationship Id="rId1" Type="http://schemas.openxmlformats.org/officeDocument/2006/relationships/tags" Target="../tags/tag44.xml"/><Relationship Id="rId6" Type="http://schemas.openxmlformats.org/officeDocument/2006/relationships/image" Target="../media/image17.svg"/><Relationship Id="rId5" Type="http://schemas.openxmlformats.org/officeDocument/2006/relationships/image" Target="../media/image7.png"/><Relationship Id="rId10" Type="http://schemas.openxmlformats.org/officeDocument/2006/relationships/image" Target="../media/image28.svg"/><Relationship Id="rId4" Type="http://schemas.openxmlformats.org/officeDocument/2006/relationships/image" Target="../media/image20.emf"/><Relationship Id="rId9" Type="http://schemas.openxmlformats.org/officeDocument/2006/relationships/image" Target="../media/image27.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oleObject" Target="../embeddings/oleObject29.bin"/><Relationship Id="rId7" Type="http://schemas.openxmlformats.org/officeDocument/2006/relationships/image" Target="../media/image25.png"/><Relationship Id="rId2" Type="http://schemas.openxmlformats.org/officeDocument/2006/relationships/slideMaster" Target="../slideMasters/slideMaster3.xml"/><Relationship Id="rId1" Type="http://schemas.openxmlformats.org/officeDocument/2006/relationships/tags" Target="../tags/tag45.xml"/><Relationship Id="rId6" Type="http://schemas.openxmlformats.org/officeDocument/2006/relationships/image" Target="../media/image17.svg"/><Relationship Id="rId5" Type="http://schemas.openxmlformats.org/officeDocument/2006/relationships/image" Target="../media/image7.png"/><Relationship Id="rId10" Type="http://schemas.openxmlformats.org/officeDocument/2006/relationships/image" Target="../media/image28.svg"/><Relationship Id="rId4" Type="http://schemas.openxmlformats.org/officeDocument/2006/relationships/image" Target="../media/image20.emf"/><Relationship Id="rId9" Type="http://schemas.openxmlformats.org/officeDocument/2006/relationships/image" Target="../media/image27.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oleObject" Target="../embeddings/oleObject29.bin"/><Relationship Id="rId7" Type="http://schemas.openxmlformats.org/officeDocument/2006/relationships/image" Target="../media/image25.png"/><Relationship Id="rId2" Type="http://schemas.openxmlformats.org/officeDocument/2006/relationships/slideMaster" Target="../slideMasters/slideMaster3.xml"/><Relationship Id="rId1" Type="http://schemas.openxmlformats.org/officeDocument/2006/relationships/tags" Target="../tags/tag46.xml"/><Relationship Id="rId6" Type="http://schemas.openxmlformats.org/officeDocument/2006/relationships/image" Target="../media/image17.svg"/><Relationship Id="rId5" Type="http://schemas.openxmlformats.org/officeDocument/2006/relationships/image" Target="../media/image7.png"/><Relationship Id="rId10" Type="http://schemas.openxmlformats.org/officeDocument/2006/relationships/image" Target="../media/image28.svg"/><Relationship Id="rId4" Type="http://schemas.openxmlformats.org/officeDocument/2006/relationships/image" Target="../media/image20.emf"/><Relationship Id="rId9" Type="http://schemas.openxmlformats.org/officeDocument/2006/relationships/image" Target="../media/image27.png"/></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47.xml"/><Relationship Id="rId6" Type="http://schemas.openxmlformats.org/officeDocument/2006/relationships/image" Target="../media/image17.svg"/><Relationship Id="rId5" Type="http://schemas.openxmlformats.org/officeDocument/2006/relationships/image" Target="../media/image7.png"/><Relationship Id="rId4" Type="http://schemas.openxmlformats.org/officeDocument/2006/relationships/image" Target="../media/image29.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48.xml"/><Relationship Id="rId6" Type="http://schemas.openxmlformats.org/officeDocument/2006/relationships/image" Target="../media/image17.svg"/><Relationship Id="rId5" Type="http://schemas.openxmlformats.org/officeDocument/2006/relationships/image" Target="../media/image7.png"/><Relationship Id="rId4" Type="http://schemas.openxmlformats.org/officeDocument/2006/relationships/image" Target="../media/image29.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49.xml"/><Relationship Id="rId6" Type="http://schemas.openxmlformats.org/officeDocument/2006/relationships/image" Target="../media/image31.svg"/><Relationship Id="rId5" Type="http://schemas.openxmlformats.org/officeDocument/2006/relationships/image" Target="../media/image5.png"/><Relationship Id="rId4" Type="http://schemas.openxmlformats.org/officeDocument/2006/relationships/image" Target="../media/image30.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5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51.xml"/><Relationship Id="rId6" Type="http://schemas.openxmlformats.org/officeDocument/2006/relationships/image" Target="../media/image33.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5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53.xml"/><Relationship Id="rId4" Type="http://schemas.openxmlformats.org/officeDocument/2006/relationships/image" Target="../media/image16.emf"/></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4.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4.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Dark">
    <p:bg>
      <p:bgPr>
        <a:solidFill>
          <a:schemeClr val="accent6">
            <a:lumMod val="75000"/>
          </a:schemeClr>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73D20CA-4E1E-EE32-BAE1-D09DB2517A63}"/>
              </a:ext>
            </a:extLst>
          </p:cNvPr>
          <p:cNvGraphicFramePr>
            <a:graphicFrameLocks noChangeAspect="1"/>
          </p:cNvGraphicFramePr>
          <p:nvPr userDrawn="1">
            <p:custDataLst>
              <p:tags r:id="rId1"/>
            </p:custDataLst>
            <p:extLst>
              <p:ext uri="{D42A27DB-BD31-4B8C-83A1-F6EECF244321}">
                <p14:modId xmlns:p14="http://schemas.microsoft.com/office/powerpoint/2010/main" val="1166575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E73D20CA-4E1E-EE32-BAE1-D09DB2517A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334962" y="1103215"/>
            <a:ext cx="6652611" cy="2242079"/>
          </a:xfrm>
        </p:spPr>
        <p:txBody>
          <a:bodyPr vert="horz" anchor="b">
            <a:normAutofit/>
          </a:bodyPr>
          <a:lstStyle>
            <a:lvl1pPr algn="l" rtl="0">
              <a:defRPr sz="3600">
                <a:solidFill>
                  <a:schemeClr val="accent6"/>
                </a:solidFill>
                <a:latin typeface="+mj-lt"/>
                <a:cs typeface="Arial" panose="020B0604020202020204" pitchFamily="34" charset="0"/>
              </a:defRPr>
            </a:lvl1pPr>
          </a:lstStyle>
          <a:p>
            <a:r>
              <a:rPr lang="de-DE"/>
              <a:t>Click to edit Master title style</a:t>
            </a:r>
          </a:p>
        </p:txBody>
      </p:sp>
      <p:sp>
        <p:nvSpPr>
          <p:cNvPr id="3" name="Subtitle 2"/>
          <p:cNvSpPr>
            <a:spLocks noGrp="1"/>
          </p:cNvSpPr>
          <p:nvPr>
            <p:ph type="subTitle" idx="1" hasCustomPrompt="1"/>
          </p:nvPr>
        </p:nvSpPr>
        <p:spPr>
          <a:xfrm>
            <a:off x="334963" y="3437369"/>
            <a:ext cx="5692030" cy="1283999"/>
          </a:xfrm>
        </p:spPr>
        <p:txBody>
          <a:bodyPr>
            <a:normAutofit/>
          </a:bodyPr>
          <a:lstStyle>
            <a:lvl1pPr marL="0" indent="0" algn="l" rtl="0">
              <a:buNone/>
              <a:defRPr sz="2800">
                <a:solidFill>
                  <a:schemeClr val="accent6"/>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Click to edit Master subtitle style</a:t>
            </a:r>
          </a:p>
        </p:txBody>
      </p:sp>
      <p:sp>
        <p:nvSpPr>
          <p:cNvPr id="10" name="Oval 9" hidden="1">
            <a:extLst>
              <a:ext uri="{FF2B5EF4-FFF2-40B4-BE49-F238E27FC236}">
                <a16:creationId xmlns:a16="http://schemas.microsoft.com/office/drawing/2014/main" id="{DCD6D046-9E8A-417B-B758-A6E20A0FE31C}"/>
              </a:ext>
            </a:extLst>
          </p:cNvPr>
          <p:cNvSpPr/>
          <p:nvPr userDrawn="1"/>
        </p:nvSpPr>
        <p:spPr bwMode="auto">
          <a:xfrm>
            <a:off x="6787133" y="5399389"/>
            <a:ext cx="547941" cy="547483"/>
          </a:xfrm>
          <a:prstGeom prst="ellipse">
            <a:avLst/>
          </a:pr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de-DE" sz="2000" b="0" i="0" u="none" strike="noStrike" cap="none" normalizeH="0" baseline="0">
              <a:ln>
                <a:noFill/>
              </a:ln>
              <a:solidFill>
                <a:schemeClr val="accent6"/>
              </a:solidFill>
              <a:effectLst/>
              <a:latin typeface="+mn-lt"/>
              <a:cs typeface="Arial" panose="020B0604020202020204" pitchFamily="34" charset="0"/>
            </a:endParaRPr>
          </a:p>
        </p:txBody>
      </p:sp>
      <p:sp>
        <p:nvSpPr>
          <p:cNvPr id="11" name="Freeform 8" hidden="1">
            <a:extLst>
              <a:ext uri="{FF2B5EF4-FFF2-40B4-BE49-F238E27FC236}">
                <a16:creationId xmlns:a16="http://schemas.microsoft.com/office/drawing/2014/main" id="{977530C5-2DE6-44CA-8A8F-019E4D7C204F}"/>
              </a:ext>
            </a:extLst>
          </p:cNvPr>
          <p:cNvSpPr/>
          <p:nvPr userDrawn="1"/>
        </p:nvSpPr>
        <p:spPr bwMode="auto">
          <a:xfrm>
            <a:off x="5929176" y="5949896"/>
            <a:ext cx="1802643" cy="908104"/>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de-DE" sz="2000" b="0" i="0" u="none" strike="noStrike" cap="none" normalizeH="0" baseline="0">
              <a:ln>
                <a:noFill/>
              </a:ln>
              <a:solidFill>
                <a:schemeClr val="accent6"/>
              </a:solidFill>
              <a:effectLst/>
              <a:latin typeface="+mn-lt"/>
              <a:cs typeface="Arial" panose="020B0604020202020204" pitchFamily="34" charset="0"/>
            </a:endParaRPr>
          </a:p>
        </p:txBody>
      </p:sp>
      <p:sp>
        <p:nvSpPr>
          <p:cNvPr id="12" name="Freeform 10" hidden="1">
            <a:extLst>
              <a:ext uri="{FF2B5EF4-FFF2-40B4-BE49-F238E27FC236}">
                <a16:creationId xmlns:a16="http://schemas.microsoft.com/office/drawing/2014/main" id="{CBDF7E11-8F3D-4306-A7C9-3CBBFA98620F}"/>
              </a:ext>
            </a:extLst>
          </p:cNvPr>
          <p:cNvSpPr/>
          <p:nvPr userDrawn="1"/>
        </p:nvSpPr>
        <p:spPr bwMode="auto">
          <a:xfrm rot="7933215">
            <a:off x="6018217" y="4998607"/>
            <a:ext cx="1201179" cy="604951"/>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de-DE" sz="2000" b="0" i="0" u="none" strike="noStrike" cap="none" normalizeH="0" baseline="0">
              <a:ln>
                <a:noFill/>
              </a:ln>
              <a:solidFill>
                <a:schemeClr val="accent6"/>
              </a:solidFill>
              <a:effectLst/>
              <a:latin typeface="+mn-lt"/>
              <a:cs typeface="Arial" panose="020B0604020202020204" pitchFamily="34" charset="0"/>
            </a:endParaRPr>
          </a:p>
        </p:txBody>
      </p:sp>
      <p:sp>
        <p:nvSpPr>
          <p:cNvPr id="20" name="Date Name Organization">
            <a:extLst>
              <a:ext uri="{FF2B5EF4-FFF2-40B4-BE49-F238E27FC236}">
                <a16:creationId xmlns:a16="http://schemas.microsoft.com/office/drawing/2014/main" id="{B679C166-F3F4-4469-BDA4-0521529C846E}"/>
              </a:ext>
            </a:extLst>
          </p:cNvPr>
          <p:cNvSpPr>
            <a:spLocks noGrp="1"/>
          </p:cNvSpPr>
          <p:nvPr>
            <p:ph type="body" sz="quarter" idx="14" hasCustomPrompt="1"/>
          </p:nvPr>
        </p:nvSpPr>
        <p:spPr>
          <a:xfrm>
            <a:off x="334963" y="4913252"/>
            <a:ext cx="5182446" cy="1056000"/>
          </a:xfrm>
        </p:spPr>
        <p:txBody>
          <a:bodyPr anchor="b"/>
          <a:lstStyle>
            <a:lvl1pPr marL="0" indent="0" rtl="0">
              <a:spcAft>
                <a:spcPts val="133"/>
              </a:spcAft>
              <a:buNone/>
              <a:defRPr sz="1200">
                <a:solidFill>
                  <a:schemeClr val="accent6"/>
                </a:solidFill>
                <a:latin typeface="+mn-lt"/>
                <a:cs typeface="Arial" panose="020B0604020202020204" pitchFamily="34" charset="0"/>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de-DE"/>
              <a:t>[Date]</a:t>
            </a:r>
            <a:br>
              <a:rPr lang="de-DE"/>
            </a:br>
            <a:r>
              <a:rPr lang="de-DE"/>
              <a:t>[Name of moderator]</a:t>
            </a:r>
            <a:br>
              <a:rPr lang="de-DE"/>
            </a:br>
            <a:r>
              <a:rPr lang="de-DE"/>
              <a:t>[Organizational Unit]</a:t>
            </a:r>
          </a:p>
        </p:txBody>
      </p:sp>
      <p:sp>
        <p:nvSpPr>
          <p:cNvPr id="23" name="TextBox 22">
            <a:extLst>
              <a:ext uri="{FF2B5EF4-FFF2-40B4-BE49-F238E27FC236}">
                <a16:creationId xmlns:a16="http://schemas.microsoft.com/office/drawing/2014/main" id="{F693D7AA-4B02-44F3-849A-D51D7F7A9CD0}"/>
              </a:ext>
            </a:extLst>
          </p:cNvPr>
          <p:cNvSpPr txBox="1"/>
          <p:nvPr userDrawn="1"/>
        </p:nvSpPr>
        <p:spPr>
          <a:xfrm>
            <a:off x="11158230" y="6531715"/>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rtl="0"/>
            <a:r>
              <a:rPr lang="de-DE" sz="900">
                <a:solidFill>
                  <a:schemeClr val="accent6"/>
                </a:solidFill>
                <a:latin typeface="+mn-lt"/>
                <a:cs typeface="Arial" panose="020B0604020202020204" pitchFamily="34" charset="0"/>
              </a:rPr>
              <a:t>© Zurich</a:t>
            </a:r>
          </a:p>
        </p:txBody>
      </p:sp>
      <p:pic>
        <p:nvPicPr>
          <p:cNvPr id="15" name="Graphic 14">
            <a:extLst>
              <a:ext uri="{FF2B5EF4-FFF2-40B4-BE49-F238E27FC236}">
                <a16:creationId xmlns:a16="http://schemas.microsoft.com/office/drawing/2014/main" id="{04A0B271-EFAF-457E-BE67-D473B359A56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74662" y="306000"/>
            <a:ext cx="1500250" cy="498141"/>
          </a:xfrm>
          <a:prstGeom prst="rect">
            <a:avLst/>
          </a:prstGeom>
        </p:spPr>
      </p:pic>
      <p:sp>
        <p:nvSpPr>
          <p:cNvPr id="16" name="Picture Placeholder 23">
            <a:extLst>
              <a:ext uri="{FF2B5EF4-FFF2-40B4-BE49-F238E27FC236}">
                <a16:creationId xmlns:a16="http://schemas.microsoft.com/office/drawing/2014/main" id="{959F76B3-4BF9-47BD-8C9F-FE31FE12871A}"/>
              </a:ext>
            </a:extLst>
          </p:cNvPr>
          <p:cNvSpPr>
            <a:spLocks noGrp="1" noChangeAspect="1"/>
          </p:cNvSpPr>
          <p:nvPr>
            <p:ph type="pic" sz="quarter" idx="19" hasCustomPrompt="1"/>
          </p:nvPr>
        </p:nvSpPr>
        <p:spPr>
          <a:xfrm>
            <a:off x="6674592" y="-6759"/>
            <a:ext cx="5495425" cy="5496007"/>
          </a:xfrm>
          <a:custGeom>
            <a:avLst/>
            <a:gdLst>
              <a:gd name="connsiteX0" fmla="*/ 991609 w 1983218"/>
              <a:gd name="connsiteY0" fmla="*/ 0 h 1983428"/>
              <a:gd name="connsiteX1" fmla="*/ 1983218 w 1983218"/>
              <a:gd name="connsiteY1" fmla="*/ 991609 h 1983428"/>
              <a:gd name="connsiteX2" fmla="*/ 991399 w 1983218"/>
              <a:gd name="connsiteY2" fmla="*/ 1983428 h 1983428"/>
              <a:gd name="connsiteX3" fmla="*/ 237390 w 1983218"/>
              <a:gd name="connsiteY3" fmla="*/ 1635494 h 1983428"/>
              <a:gd name="connsiteX4" fmla="*/ 287345 w 1983218"/>
              <a:gd name="connsiteY4" fmla="*/ 1620941 h 1983428"/>
              <a:gd name="connsiteX5" fmla="*/ 339399 w 1983218"/>
              <a:gd name="connsiteY5" fmla="*/ 1616744 h 1983428"/>
              <a:gd name="connsiteX6" fmla="*/ 446934 w 1983218"/>
              <a:gd name="connsiteY6" fmla="*/ 1627798 h 1983428"/>
              <a:gd name="connsiteX7" fmla="*/ 538448 w 1983218"/>
              <a:gd name="connsiteY7" fmla="*/ 1637663 h 1983428"/>
              <a:gd name="connsiteX8" fmla="*/ 542996 w 1983218"/>
              <a:gd name="connsiteY8" fmla="*/ 1637593 h 1983428"/>
              <a:gd name="connsiteX9" fmla="*/ 620377 w 1983218"/>
              <a:gd name="connsiteY9" fmla="*/ 1612126 h 1983428"/>
              <a:gd name="connsiteX10" fmla="*/ 672640 w 1983218"/>
              <a:gd name="connsiteY10" fmla="*/ 1542861 h 1983428"/>
              <a:gd name="connsiteX11" fmla="*/ 686703 w 1983218"/>
              <a:gd name="connsiteY11" fmla="*/ 1502981 h 1983428"/>
              <a:gd name="connsiteX12" fmla="*/ 672570 w 1983218"/>
              <a:gd name="connsiteY12" fmla="*/ 1499413 h 1983428"/>
              <a:gd name="connsiteX13" fmla="*/ 667883 w 1983218"/>
              <a:gd name="connsiteY13" fmla="*/ 1508928 h 1983428"/>
              <a:gd name="connsiteX14" fmla="*/ 620517 w 1983218"/>
              <a:gd name="connsiteY14" fmla="*/ 1562941 h 1983428"/>
              <a:gd name="connsiteX15" fmla="*/ 586304 w 1983218"/>
              <a:gd name="connsiteY15" fmla="*/ 1579382 h 1983428"/>
              <a:gd name="connsiteX16" fmla="*/ 530752 w 1983218"/>
              <a:gd name="connsiteY16" fmla="*/ 1586029 h 1983428"/>
              <a:gd name="connsiteX17" fmla="*/ 488703 w 1983218"/>
              <a:gd name="connsiteY17" fmla="*/ 1584560 h 1983428"/>
              <a:gd name="connsiteX18" fmla="*/ 441757 w 1983218"/>
              <a:gd name="connsiteY18" fmla="*/ 1581621 h 1983428"/>
              <a:gd name="connsiteX19" fmla="*/ 392992 w 1983218"/>
              <a:gd name="connsiteY19" fmla="*/ 1579662 h 1983428"/>
              <a:gd name="connsiteX20" fmla="*/ 355001 w 1983218"/>
              <a:gd name="connsiteY20" fmla="*/ 1581551 h 1983428"/>
              <a:gd name="connsiteX21" fmla="*/ 619327 w 1983218"/>
              <a:gd name="connsiteY21" fmla="*/ 1228160 h 1983428"/>
              <a:gd name="connsiteX22" fmla="*/ 286715 w 1983218"/>
              <a:gd name="connsiteY22" fmla="*/ 1228160 h 1983428"/>
              <a:gd name="connsiteX23" fmla="*/ 260688 w 1983218"/>
              <a:gd name="connsiteY23" fmla="*/ 1328349 h 1983428"/>
              <a:gd name="connsiteX24" fmla="*/ 276221 w 1983218"/>
              <a:gd name="connsiteY24" fmla="*/ 1331847 h 1983428"/>
              <a:gd name="connsiteX25" fmla="*/ 280558 w 1983218"/>
              <a:gd name="connsiteY25" fmla="*/ 1323592 h 1983428"/>
              <a:gd name="connsiteX26" fmla="*/ 313092 w 1983218"/>
              <a:gd name="connsiteY26" fmla="*/ 1284901 h 1983428"/>
              <a:gd name="connsiteX27" fmla="*/ 345625 w 1983218"/>
              <a:gd name="connsiteY27" fmla="*/ 1271608 h 1983428"/>
              <a:gd name="connsiteX28" fmla="*/ 424825 w 1983218"/>
              <a:gd name="connsiteY28" fmla="*/ 1265451 h 1983428"/>
              <a:gd name="connsiteX29" fmla="*/ 453161 w 1983218"/>
              <a:gd name="connsiteY29" fmla="*/ 1265521 h 1983428"/>
              <a:gd name="connsiteX30" fmla="*/ 481777 w 1983218"/>
              <a:gd name="connsiteY30" fmla="*/ 1265451 h 1983428"/>
              <a:gd name="connsiteX31" fmla="*/ 218150 w 1983218"/>
              <a:gd name="connsiteY31" fmla="*/ 1611846 h 1983428"/>
              <a:gd name="connsiteX32" fmla="*/ 0 w 1983218"/>
              <a:gd name="connsiteY32" fmla="*/ 991609 h 1983428"/>
              <a:gd name="connsiteX33" fmla="*/ 991609 w 1983218"/>
              <a:gd name="connsiteY33" fmla="*/ 0 h 198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83218" h="1983428">
                <a:moveTo>
                  <a:pt x="991609" y="0"/>
                </a:moveTo>
                <a:cubicBezTo>
                  <a:pt x="1539293" y="0"/>
                  <a:pt x="1983218" y="443996"/>
                  <a:pt x="1983218" y="991609"/>
                </a:cubicBezTo>
                <a:cubicBezTo>
                  <a:pt x="1983218" y="1539293"/>
                  <a:pt x="1539293" y="1983218"/>
                  <a:pt x="991399" y="1983428"/>
                </a:cubicBezTo>
                <a:cubicBezTo>
                  <a:pt x="689502" y="1983428"/>
                  <a:pt x="419298" y="1848327"/>
                  <a:pt x="237390" y="1635494"/>
                </a:cubicBezTo>
                <a:cubicBezTo>
                  <a:pt x="256211" y="1627098"/>
                  <a:pt x="265516" y="1624370"/>
                  <a:pt x="287345" y="1620941"/>
                </a:cubicBezTo>
                <a:cubicBezTo>
                  <a:pt x="304696" y="1618073"/>
                  <a:pt x="321418" y="1616744"/>
                  <a:pt x="339399" y="1616744"/>
                </a:cubicBezTo>
                <a:cubicBezTo>
                  <a:pt x="366265" y="1616744"/>
                  <a:pt x="393481" y="1619542"/>
                  <a:pt x="446934" y="1627798"/>
                </a:cubicBezTo>
                <a:cubicBezTo>
                  <a:pt x="499548" y="1635844"/>
                  <a:pt x="516479" y="1637663"/>
                  <a:pt x="538448" y="1637663"/>
                </a:cubicBezTo>
                <a:lnTo>
                  <a:pt x="542996" y="1637593"/>
                </a:lnTo>
                <a:cubicBezTo>
                  <a:pt x="572661" y="1637103"/>
                  <a:pt x="597708" y="1628917"/>
                  <a:pt x="620377" y="1612126"/>
                </a:cubicBezTo>
                <a:cubicBezTo>
                  <a:pt x="642416" y="1595824"/>
                  <a:pt x="658437" y="1574555"/>
                  <a:pt x="672640" y="1542861"/>
                </a:cubicBezTo>
                <a:cubicBezTo>
                  <a:pt x="679707" y="1527189"/>
                  <a:pt x="682086" y="1520472"/>
                  <a:pt x="686703" y="1502981"/>
                </a:cubicBezTo>
                <a:lnTo>
                  <a:pt x="672570" y="1499413"/>
                </a:lnTo>
                <a:cubicBezTo>
                  <a:pt x="670681" y="1503681"/>
                  <a:pt x="668932" y="1506829"/>
                  <a:pt x="667883" y="1508928"/>
                </a:cubicBezTo>
                <a:cubicBezTo>
                  <a:pt x="657108" y="1529568"/>
                  <a:pt x="639057" y="1550067"/>
                  <a:pt x="620517" y="1562941"/>
                </a:cubicBezTo>
                <a:cubicBezTo>
                  <a:pt x="609882" y="1570077"/>
                  <a:pt x="598408" y="1575674"/>
                  <a:pt x="586304" y="1579382"/>
                </a:cubicBezTo>
                <a:cubicBezTo>
                  <a:pt x="570702" y="1584140"/>
                  <a:pt x="554960" y="1586029"/>
                  <a:pt x="530752" y="1586029"/>
                </a:cubicBezTo>
                <a:cubicBezTo>
                  <a:pt x="519907" y="1586029"/>
                  <a:pt x="505565" y="1585539"/>
                  <a:pt x="488703" y="1584560"/>
                </a:cubicBezTo>
                <a:lnTo>
                  <a:pt x="441757" y="1581621"/>
                </a:lnTo>
                <a:cubicBezTo>
                  <a:pt x="419998" y="1580362"/>
                  <a:pt x="403696" y="1579662"/>
                  <a:pt x="392992" y="1579662"/>
                </a:cubicBezTo>
                <a:cubicBezTo>
                  <a:pt x="379069" y="1579662"/>
                  <a:pt x="372142" y="1580012"/>
                  <a:pt x="355001" y="1581551"/>
                </a:cubicBezTo>
                <a:lnTo>
                  <a:pt x="619327" y="1228160"/>
                </a:lnTo>
                <a:lnTo>
                  <a:pt x="286715" y="1228160"/>
                </a:lnTo>
                <a:lnTo>
                  <a:pt x="260688" y="1328349"/>
                </a:lnTo>
                <a:lnTo>
                  <a:pt x="276221" y="1331847"/>
                </a:lnTo>
                <a:cubicBezTo>
                  <a:pt x="278110" y="1327999"/>
                  <a:pt x="279579" y="1325411"/>
                  <a:pt x="280558" y="1323592"/>
                </a:cubicBezTo>
                <a:cubicBezTo>
                  <a:pt x="289234" y="1308059"/>
                  <a:pt x="302527" y="1292317"/>
                  <a:pt x="313092" y="1284901"/>
                </a:cubicBezTo>
                <a:cubicBezTo>
                  <a:pt x="322117" y="1278534"/>
                  <a:pt x="333172" y="1274057"/>
                  <a:pt x="345625" y="1271608"/>
                </a:cubicBezTo>
                <a:cubicBezTo>
                  <a:pt x="366125" y="1267620"/>
                  <a:pt x="394531" y="1265451"/>
                  <a:pt x="424825" y="1265451"/>
                </a:cubicBezTo>
                <a:lnTo>
                  <a:pt x="453161" y="1265521"/>
                </a:lnTo>
                <a:lnTo>
                  <a:pt x="481777" y="1265451"/>
                </a:lnTo>
                <a:lnTo>
                  <a:pt x="218150" y="1611846"/>
                </a:lnTo>
                <a:cubicBezTo>
                  <a:pt x="81789" y="1441972"/>
                  <a:pt x="0" y="1226411"/>
                  <a:pt x="0" y="991609"/>
                </a:cubicBezTo>
                <a:cubicBezTo>
                  <a:pt x="0" y="443996"/>
                  <a:pt x="443996" y="0"/>
                  <a:pt x="991609" y="0"/>
                </a:cubicBezTo>
                <a:close/>
              </a:path>
            </a:pathLst>
          </a:custGeom>
        </p:spPr>
        <p:txBody>
          <a:bodyPr wrap="square">
            <a:noAutofit/>
          </a:bodyPr>
          <a:lstStyle>
            <a:lvl1pPr marL="0" indent="0" algn="ctr" rtl="0">
              <a:buNone/>
              <a:defRPr>
                <a:latin typeface="+mn-lt"/>
                <a:cs typeface="Arial" panose="020B0604020202020204" pitchFamily="34" charset="0"/>
              </a:defRPr>
            </a:lvl1pPr>
          </a:lstStyle>
          <a:p>
            <a:r>
              <a:rPr lang="de-DE"/>
              <a:t>Click icon to add picture</a:t>
            </a:r>
          </a:p>
        </p:txBody>
      </p:sp>
      <p:sp>
        <p:nvSpPr>
          <p:cNvPr id="24" name="Freeform 8">
            <a:extLst>
              <a:ext uri="{FF2B5EF4-FFF2-40B4-BE49-F238E27FC236}">
                <a16:creationId xmlns:a16="http://schemas.microsoft.com/office/drawing/2014/main" id="{7082D5D3-9C07-402D-83A1-8EC90ABED543}"/>
              </a:ext>
            </a:extLst>
          </p:cNvPr>
          <p:cNvSpPr/>
          <p:nvPr userDrawn="1"/>
        </p:nvSpPr>
        <p:spPr bwMode="auto">
          <a:xfrm>
            <a:off x="8515904" y="6230171"/>
            <a:ext cx="1246282" cy="627830"/>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6"/>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de-DE" sz="2000" b="0" i="0" u="none" strike="noStrike" cap="none" normalizeH="0" baseline="0">
              <a:ln>
                <a:noFill/>
              </a:ln>
              <a:solidFill>
                <a:schemeClr val="accent6"/>
              </a:solidFill>
              <a:effectLst/>
              <a:latin typeface="+mn-lt"/>
              <a:cs typeface="Arial" panose="020B0604020202020204" pitchFamily="34" charset="0"/>
            </a:endParaRPr>
          </a:p>
        </p:txBody>
      </p:sp>
      <p:sp>
        <p:nvSpPr>
          <p:cNvPr id="25" name="Oval 24">
            <a:extLst>
              <a:ext uri="{FF2B5EF4-FFF2-40B4-BE49-F238E27FC236}">
                <a16:creationId xmlns:a16="http://schemas.microsoft.com/office/drawing/2014/main" id="{2CA5E853-12D8-4B7E-A764-72119EAC6774}"/>
              </a:ext>
            </a:extLst>
          </p:cNvPr>
          <p:cNvSpPr/>
          <p:nvPr userDrawn="1"/>
        </p:nvSpPr>
        <p:spPr>
          <a:xfrm>
            <a:off x="9028923" y="5489248"/>
            <a:ext cx="742367" cy="74236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a:endParaRPr lang="de-DE" sz="1000"/>
          </a:p>
        </p:txBody>
      </p:sp>
      <p:sp>
        <p:nvSpPr>
          <p:cNvPr id="26" name="Freeform 8">
            <a:extLst>
              <a:ext uri="{FF2B5EF4-FFF2-40B4-BE49-F238E27FC236}">
                <a16:creationId xmlns:a16="http://schemas.microsoft.com/office/drawing/2014/main" id="{5F5B068D-2F6D-4C5E-BB64-DF4F4F274030}"/>
              </a:ext>
            </a:extLst>
          </p:cNvPr>
          <p:cNvSpPr/>
          <p:nvPr userDrawn="1"/>
        </p:nvSpPr>
        <p:spPr bwMode="auto">
          <a:xfrm rot="7200000">
            <a:off x="7432298" y="5567487"/>
            <a:ext cx="1570518" cy="79116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de-DE" sz="2000" b="0" i="0" u="none" strike="noStrike" cap="none" normalizeH="0" baseline="0">
              <a:ln>
                <a:noFill/>
              </a:ln>
              <a:solidFill>
                <a:schemeClr val="accent6"/>
              </a:solidFill>
              <a:effectLst/>
              <a:latin typeface="+mn-lt"/>
              <a:cs typeface="Arial" panose="020B0604020202020204" pitchFamily="34" charset="0"/>
            </a:endParaRPr>
          </a:p>
        </p:txBody>
      </p:sp>
    </p:spTree>
    <p:extLst>
      <p:ext uri="{BB962C8B-B14F-4D97-AF65-F5344CB8AC3E}">
        <p14:creationId xmlns:p14="http://schemas.microsoft.com/office/powerpoint/2010/main" val="23640642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text box and 3 images ">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29EA704-3AA7-0422-EC1B-1DDD710FF500}"/>
              </a:ext>
            </a:extLst>
          </p:cNvPr>
          <p:cNvGraphicFramePr>
            <a:graphicFrameLocks noChangeAspect="1"/>
          </p:cNvGraphicFramePr>
          <p:nvPr userDrawn="1">
            <p:custDataLst>
              <p:tags r:id="rId1"/>
            </p:custDataLst>
            <p:extLst>
              <p:ext uri="{D42A27DB-BD31-4B8C-83A1-F6EECF244321}">
                <p14:modId xmlns:p14="http://schemas.microsoft.com/office/powerpoint/2010/main" val="2377285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A29EA704-3AA7-0422-EC1B-1DDD710FF5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itle 1">
            <a:extLst>
              <a:ext uri="{FF2B5EF4-FFF2-40B4-BE49-F238E27FC236}">
                <a16:creationId xmlns:a16="http://schemas.microsoft.com/office/drawing/2014/main" id="{6E310D89-47FE-194B-8632-078ED6BD782F}"/>
              </a:ext>
            </a:extLst>
          </p:cNvPr>
          <p:cNvSpPr>
            <a:spLocks noGrp="1"/>
          </p:cNvSpPr>
          <p:nvPr>
            <p:ph type="title" hasCustomPrompt="1"/>
          </p:nvPr>
        </p:nvSpPr>
        <p:spPr>
          <a:xfrm>
            <a:off x="334963" y="260268"/>
            <a:ext cx="9504111" cy="332399"/>
          </a:xfrm>
        </p:spPr>
        <p:txBody>
          <a:bodyPr vert="horz" wrap="square">
            <a:spAutoFit/>
          </a:bodyPr>
          <a:lstStyle>
            <a:lvl1pPr rtl="0">
              <a:defRPr>
                <a:latin typeface="+mj-lt"/>
                <a:cs typeface="Arial" panose="020B0604020202020204" pitchFamily="34" charset="0"/>
              </a:defRPr>
            </a:lvl1pPr>
          </a:lstStyle>
          <a:p>
            <a:r>
              <a:rPr lang="de-DE"/>
              <a:t>Click to edit Master title style</a:t>
            </a:r>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hasCustomPrompt="1"/>
          </p:nvPr>
        </p:nvSpPr>
        <p:spPr>
          <a:xfrm>
            <a:off x="334962" y="610597"/>
            <a:ext cx="9504111" cy="332399"/>
          </a:xfrm>
          <a:prstGeom prst="rect">
            <a:avLst/>
          </a:prstGeom>
        </p:spPr>
        <p:txBody>
          <a:bodyPr anchor="t">
            <a:normAutofit/>
          </a:bodyPr>
          <a:lstStyle>
            <a:lvl1pPr marL="0" indent="0" algn="l" rtl="0">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Click to edit Master subtitle style</a:t>
            </a:r>
            <a:endParaRPr lang="de-DE" noProof="0"/>
          </a:p>
        </p:txBody>
      </p:sp>
      <p:sp>
        <p:nvSpPr>
          <p:cNvPr id="33" name="Slide Number Placeholder 5">
            <a:extLst>
              <a:ext uri="{FF2B5EF4-FFF2-40B4-BE49-F238E27FC236}">
                <a16:creationId xmlns:a16="http://schemas.microsoft.com/office/drawing/2014/main" id="{714EC8C7-A133-478F-BF8B-66FEF67BC793}"/>
              </a:ext>
            </a:extLst>
          </p:cNvPr>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35" name="Footer Placeholder 3">
            <a:extLst>
              <a:ext uri="{FF2B5EF4-FFF2-40B4-BE49-F238E27FC236}">
                <a16:creationId xmlns:a16="http://schemas.microsoft.com/office/drawing/2014/main" id="{E5C41A63-DFB8-45B3-BA91-86A5B9928FC9}"/>
              </a:ext>
            </a:extLst>
          </p:cNvPr>
          <p:cNvSpPr>
            <a:spLocks noGrp="1"/>
          </p:cNvSpPr>
          <p:nvPr>
            <p:ph type="ftr" sz="quarter" idx="3"/>
          </p:nvPr>
        </p:nvSpPr>
        <p:spPr>
          <a:xfrm>
            <a:off x="2261053" y="6531715"/>
            <a:ext cx="8112000" cy="181960"/>
          </a:xfrm>
          <a:prstGeom prst="rect">
            <a:avLst/>
          </a:prstGeom>
        </p:spPr>
        <p:txBody>
          <a:bodyPr lIns="0" tIns="0" rIns="0" bIns="0"/>
          <a:lstStyle>
            <a:lvl1pPr algn="r" rtl="0">
              <a:defRPr sz="900">
                <a:solidFill>
                  <a:schemeClr val="accent1"/>
                </a:solidFill>
                <a:latin typeface="+mn-lt"/>
                <a:cs typeface="Arial" panose="020B0604020202020204" pitchFamily="34" charset="0"/>
              </a:defRPr>
            </a:lvl1pPr>
          </a:lstStyle>
          <a:p>
            <a:endParaRPr lang="de-DE"/>
          </a:p>
        </p:txBody>
      </p:sp>
      <p:sp>
        <p:nvSpPr>
          <p:cNvPr id="4" name="Content Placeholder 3">
            <a:extLst>
              <a:ext uri="{FF2B5EF4-FFF2-40B4-BE49-F238E27FC236}">
                <a16:creationId xmlns:a16="http://schemas.microsoft.com/office/drawing/2014/main" id="{D036BE57-A36B-461B-83F6-7B1E7C32BE80}"/>
              </a:ext>
            </a:extLst>
          </p:cNvPr>
          <p:cNvSpPr>
            <a:spLocks noGrp="1" noChangeAspect="1"/>
          </p:cNvSpPr>
          <p:nvPr>
            <p:ph sz="quarter" idx="31" hasCustomPrompt="1"/>
          </p:nvPr>
        </p:nvSpPr>
        <p:spPr>
          <a:xfrm>
            <a:off x="713562" y="2102189"/>
            <a:ext cx="3240000" cy="3240000"/>
          </a:xfrm>
          <a:prstGeom prst="ellipse">
            <a:avLst/>
          </a:prstGeom>
        </p:spPr>
        <p:txBody>
          <a:bodyPr/>
          <a:lstStyle>
            <a:lvl1pPr rtl="0">
              <a:defRPr/>
            </a:lvl1pPr>
            <a:lvl2pPr rtl="0">
              <a:defRPr/>
            </a:lvl2pPr>
            <a:lvl3pPr rtl="0">
              <a:defRPr/>
            </a:lvl3pPr>
            <a:lvl4pPr rtl="0">
              <a:defRPr/>
            </a:lvl4pPr>
            <a:lvl5pPr rtl="0">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29" name="Content Placeholder 3">
            <a:extLst>
              <a:ext uri="{FF2B5EF4-FFF2-40B4-BE49-F238E27FC236}">
                <a16:creationId xmlns:a16="http://schemas.microsoft.com/office/drawing/2014/main" id="{4E229CE5-7614-4112-B96F-E47D214B8688}"/>
              </a:ext>
            </a:extLst>
          </p:cNvPr>
          <p:cNvSpPr>
            <a:spLocks noGrp="1" noChangeAspect="1"/>
          </p:cNvSpPr>
          <p:nvPr>
            <p:ph sz="quarter" idx="32" hasCustomPrompt="1"/>
          </p:nvPr>
        </p:nvSpPr>
        <p:spPr>
          <a:xfrm>
            <a:off x="4486829" y="2102189"/>
            <a:ext cx="3240000" cy="3240000"/>
          </a:xfrm>
          <a:prstGeom prst="ellipse">
            <a:avLst/>
          </a:prstGeom>
        </p:spPr>
        <p:txBody>
          <a:bodyPr/>
          <a:lstStyle>
            <a:lvl1pPr rtl="0">
              <a:defRPr/>
            </a:lvl1pPr>
            <a:lvl2pPr rtl="0">
              <a:defRPr/>
            </a:lvl2pPr>
            <a:lvl3pPr rtl="0">
              <a:defRPr/>
            </a:lvl3pPr>
            <a:lvl4pPr rtl="0">
              <a:defRPr/>
            </a:lvl4pPr>
            <a:lvl5pPr rtl="0">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30" name="Content Placeholder 3">
            <a:extLst>
              <a:ext uri="{FF2B5EF4-FFF2-40B4-BE49-F238E27FC236}">
                <a16:creationId xmlns:a16="http://schemas.microsoft.com/office/drawing/2014/main" id="{51D97892-B5B6-42E9-92EA-74343AE34CBB}"/>
              </a:ext>
            </a:extLst>
          </p:cNvPr>
          <p:cNvSpPr>
            <a:spLocks noGrp="1" noChangeAspect="1"/>
          </p:cNvSpPr>
          <p:nvPr>
            <p:ph sz="quarter" idx="33" hasCustomPrompt="1"/>
          </p:nvPr>
        </p:nvSpPr>
        <p:spPr>
          <a:xfrm>
            <a:off x="8260096" y="2102189"/>
            <a:ext cx="3240000" cy="3240000"/>
          </a:xfrm>
          <a:prstGeom prst="ellipse">
            <a:avLst/>
          </a:prstGeom>
        </p:spPr>
        <p:txBody>
          <a:bodyPr/>
          <a:lstStyle>
            <a:lvl1pPr rtl="0">
              <a:defRPr/>
            </a:lvl1pPr>
            <a:lvl2pPr rtl="0">
              <a:defRPr/>
            </a:lvl2pPr>
            <a:lvl3pPr rtl="0">
              <a:defRPr/>
            </a:lvl3pPr>
            <a:lvl4pPr rtl="0">
              <a:defRPr/>
            </a:lvl4pPr>
            <a:lvl5pPr rtl="0">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Tree>
    <p:extLst>
      <p:ext uri="{BB962C8B-B14F-4D97-AF65-F5344CB8AC3E}">
        <p14:creationId xmlns:p14="http://schemas.microsoft.com/office/powerpoint/2010/main" val="40567514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solidFill>
          <a:schemeClr val="accent6"/>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334800" y="2490261"/>
            <a:ext cx="6638011" cy="2242079"/>
          </a:xfrm>
        </p:spPr>
        <p:txBody>
          <a:bodyPr anchor="b">
            <a:noAutofit/>
          </a:bodyPr>
          <a:lstStyle>
            <a:lvl1pPr algn="l">
              <a:defRPr sz="3600">
                <a:solidFill>
                  <a:schemeClr val="accent1"/>
                </a:solidFill>
                <a:latin typeface="+mj-lt"/>
                <a:cs typeface="Arial" panose="020B0604020202020204" pitchFamily="34" charset="0"/>
              </a:defRPr>
            </a:lvl1pPr>
          </a:lstStyle>
          <a:p>
            <a:r>
              <a:rPr lang="en-US"/>
              <a:t>Click to edit section title</a:t>
            </a:r>
          </a:p>
        </p:txBody>
      </p:sp>
      <p:sp>
        <p:nvSpPr>
          <p:cNvPr id="9" name="Subtitle 2">
            <a:extLst>
              <a:ext uri="{FF2B5EF4-FFF2-40B4-BE49-F238E27FC236}">
                <a16:creationId xmlns:a16="http://schemas.microsoft.com/office/drawing/2014/main" id="{5D52D574-4430-4847-B932-BA1C1DC56322}"/>
              </a:ext>
            </a:extLst>
          </p:cNvPr>
          <p:cNvSpPr>
            <a:spLocks noGrp="1"/>
          </p:cNvSpPr>
          <p:nvPr>
            <p:ph type="subTitle" idx="13" hasCustomPrompt="1"/>
          </p:nvPr>
        </p:nvSpPr>
        <p:spPr>
          <a:xfrm>
            <a:off x="334800" y="4911726"/>
            <a:ext cx="6638011" cy="1283999"/>
          </a:xfrm>
        </p:spPr>
        <p:txBody>
          <a:bodyPr>
            <a:normAutofit/>
          </a:bodyPr>
          <a:lstStyle>
            <a:lvl1pPr marL="0" indent="0" algn="l">
              <a:buNone/>
              <a:defRPr sz="2000">
                <a:solidFill>
                  <a:schemeClr val="accent1"/>
                </a:solidFill>
                <a:latin typeface="+mn-lt"/>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section subtitle </a:t>
            </a:r>
          </a:p>
        </p:txBody>
      </p:sp>
      <p:sp>
        <p:nvSpPr>
          <p:cNvPr id="18" name="Slide Number Placeholder 5">
            <a:extLst>
              <a:ext uri="{FF2B5EF4-FFF2-40B4-BE49-F238E27FC236}">
                <a16:creationId xmlns:a16="http://schemas.microsoft.com/office/drawing/2014/main" id="{6C2690B3-34BA-4DEA-AD15-F9112DF4223E}"/>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16" name="TextBox 15">
            <a:extLst>
              <a:ext uri="{FF2B5EF4-FFF2-40B4-BE49-F238E27FC236}">
                <a16:creationId xmlns:a16="http://schemas.microsoft.com/office/drawing/2014/main" id="{6E3C58F8-1677-425E-8830-573D0F0A3E4E}"/>
              </a:ext>
            </a:extLst>
          </p:cNvPr>
          <p:cNvSpPr txBox="1"/>
          <p:nvPr userDrawn="1"/>
        </p:nvSpPr>
        <p:spPr>
          <a:xfrm>
            <a:off x="11158232" y="6531717"/>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pic>
        <p:nvPicPr>
          <p:cNvPr id="19" name="Graphic 18">
            <a:extLst>
              <a:ext uri="{FF2B5EF4-FFF2-40B4-BE49-F238E27FC236}">
                <a16:creationId xmlns:a16="http://schemas.microsoft.com/office/drawing/2014/main" id="{DC90F13D-0871-4FAF-A83E-76075ADEC0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4661" y="306000"/>
            <a:ext cx="1500251" cy="498141"/>
          </a:xfrm>
          <a:prstGeom prst="rect">
            <a:avLst/>
          </a:prstGeom>
        </p:spPr>
      </p:pic>
    </p:spTree>
    <p:extLst>
      <p:ext uri="{BB962C8B-B14F-4D97-AF65-F5344CB8AC3E}">
        <p14:creationId xmlns:p14="http://schemas.microsoft.com/office/powerpoint/2010/main" val="17273359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334963" y="2490261"/>
            <a:ext cx="6638011" cy="2242079"/>
          </a:xfrm>
        </p:spPr>
        <p:txBody>
          <a:bodyPr anchor="b">
            <a:noAutofit/>
          </a:bodyPr>
          <a:lstStyle>
            <a:lvl1pPr algn="l">
              <a:defRPr sz="3600">
                <a:solidFill>
                  <a:schemeClr val="accent6"/>
                </a:solidFill>
                <a:latin typeface="+mj-lt"/>
                <a:cs typeface="Arial" panose="020B0604020202020204" pitchFamily="34" charset="0"/>
              </a:defRPr>
            </a:lvl1pPr>
          </a:lstStyle>
          <a:p>
            <a:r>
              <a:rPr lang="en-US"/>
              <a:t>Click to edit title</a:t>
            </a:r>
          </a:p>
        </p:txBody>
      </p:sp>
      <p:sp>
        <p:nvSpPr>
          <p:cNvPr id="9" name="Subtitle 2">
            <a:extLst>
              <a:ext uri="{FF2B5EF4-FFF2-40B4-BE49-F238E27FC236}">
                <a16:creationId xmlns:a16="http://schemas.microsoft.com/office/drawing/2014/main" id="{5D52D574-4430-4847-B932-BA1C1DC56322}"/>
              </a:ext>
            </a:extLst>
          </p:cNvPr>
          <p:cNvSpPr>
            <a:spLocks noGrp="1"/>
          </p:cNvSpPr>
          <p:nvPr>
            <p:ph type="subTitle" idx="13" hasCustomPrompt="1"/>
          </p:nvPr>
        </p:nvSpPr>
        <p:spPr>
          <a:xfrm>
            <a:off x="334964" y="4911726"/>
            <a:ext cx="6634925" cy="1283999"/>
          </a:xfrm>
        </p:spPr>
        <p:txBody>
          <a:bodyPr>
            <a:normAutofit/>
          </a:bodyPr>
          <a:lstStyle>
            <a:lvl1pPr marL="0" indent="0" algn="l">
              <a:buNone/>
              <a:defRPr sz="2000">
                <a:solidFill>
                  <a:schemeClr val="accent6"/>
                </a:solidFill>
                <a:latin typeface="+mn-lt"/>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subtitle</a:t>
            </a:r>
          </a:p>
        </p:txBody>
      </p:sp>
      <p:sp>
        <p:nvSpPr>
          <p:cNvPr id="15" name="Picture Placeholder 2">
            <a:extLst>
              <a:ext uri="{FF2B5EF4-FFF2-40B4-BE49-F238E27FC236}">
                <a16:creationId xmlns:a16="http://schemas.microsoft.com/office/drawing/2014/main" id="{207E0EDD-CE7D-485D-90AA-EB92659F4C2E}"/>
              </a:ext>
            </a:extLst>
          </p:cNvPr>
          <p:cNvSpPr>
            <a:spLocks noGrp="1" noChangeAspect="1"/>
          </p:cNvSpPr>
          <p:nvPr>
            <p:ph type="pic" sz="quarter" idx="14" hasCustomPrompt="1"/>
          </p:nvPr>
        </p:nvSpPr>
        <p:spPr>
          <a:xfrm>
            <a:off x="9061251" y="1902437"/>
            <a:ext cx="3120000" cy="3120000"/>
          </a:xfrm>
          <a:prstGeom prst="ellipse">
            <a:avLst/>
          </a:prstGeom>
        </p:spPr>
        <p:txBody>
          <a:bodyPr/>
          <a:lstStyle>
            <a:lvl1pPr algn="ctr">
              <a:buNone/>
              <a:defRPr b="0" i="0">
                <a:solidFill>
                  <a:schemeClr val="accent6"/>
                </a:solidFill>
                <a:latin typeface="+mn-lt"/>
                <a:cs typeface="Arial" panose="020B0604020202020204" pitchFamily="34" charset="0"/>
              </a:defRPr>
            </a:lvl1pPr>
          </a:lstStyle>
          <a:p>
            <a:r>
              <a:rPr lang="en-GB"/>
              <a:t>Add a picture here</a:t>
            </a:r>
          </a:p>
        </p:txBody>
      </p:sp>
      <p:sp>
        <p:nvSpPr>
          <p:cNvPr id="26" name="TextBox 25">
            <a:extLst>
              <a:ext uri="{FF2B5EF4-FFF2-40B4-BE49-F238E27FC236}">
                <a16:creationId xmlns:a16="http://schemas.microsoft.com/office/drawing/2014/main" id="{964649C4-0FE0-4E4D-B386-F39D40C28AE9}"/>
              </a:ext>
            </a:extLst>
          </p:cNvPr>
          <p:cNvSpPr txBox="1"/>
          <p:nvPr userDrawn="1"/>
        </p:nvSpPr>
        <p:spPr>
          <a:xfrm>
            <a:off x="11158232" y="6531717"/>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mn-lt"/>
                <a:cs typeface="Arial" panose="020B0604020202020204" pitchFamily="34" charset="0"/>
              </a:rPr>
              <a:t>© Zurich</a:t>
            </a:r>
          </a:p>
        </p:txBody>
      </p:sp>
      <p:pic>
        <p:nvPicPr>
          <p:cNvPr id="8" name="Graphic 7">
            <a:extLst>
              <a:ext uri="{FF2B5EF4-FFF2-40B4-BE49-F238E27FC236}">
                <a16:creationId xmlns:a16="http://schemas.microsoft.com/office/drawing/2014/main" id="{83A4ED00-F6DB-4E11-A5EA-784EB04F526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4661" y="306000"/>
            <a:ext cx="1500251" cy="498141"/>
          </a:xfrm>
          <a:prstGeom prst="rect">
            <a:avLst/>
          </a:prstGeom>
        </p:spPr>
      </p:pic>
    </p:spTree>
    <p:extLst>
      <p:ext uri="{BB962C8B-B14F-4D97-AF65-F5344CB8AC3E}">
        <p14:creationId xmlns:p14="http://schemas.microsoft.com/office/powerpoint/2010/main" val="38317482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Disclaimer dark">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274892" y="6401515"/>
            <a:ext cx="6028129" cy="123111"/>
          </a:xfrm>
        </p:spPr>
        <p:txBody>
          <a:bodyPr vert="horz" wrap="square" lIns="0" tIns="0" rIns="0" bIns="0" rtlCol="0" anchor="b" anchorCtr="0">
            <a:spAutoFit/>
          </a:bodyPr>
          <a:lstStyle>
            <a:lvl1pPr>
              <a:defRPr lang="en-US" sz="800" dirty="0">
                <a:solidFill>
                  <a:schemeClr val="accent5"/>
                </a:solidFill>
                <a:latin typeface="+mn-lt"/>
                <a:ea typeface="+mn-ea"/>
              </a:defRPr>
            </a:lvl1pPr>
          </a:lstStyle>
          <a:p>
            <a:pPr marL="0" lvl="0" indent="0">
              <a:lnSpc>
                <a:spcPct val="100000"/>
              </a:lnSpc>
              <a:spcBef>
                <a:spcPts val="0"/>
              </a:spcBef>
              <a:spcAft>
                <a:spcPts val="600"/>
              </a:spcAft>
              <a:buFont typeface="Arial" panose="020B0604020202020204" pitchFamily="34" charset="0"/>
            </a:pPr>
            <a:r>
              <a:rPr lang="en-US"/>
              <a:t>Job number</a:t>
            </a:r>
          </a:p>
        </p:txBody>
      </p:sp>
      <p:sp>
        <p:nvSpPr>
          <p:cNvPr id="15" name="Picture Placeholder 2">
            <a:extLst>
              <a:ext uri="{FF2B5EF4-FFF2-40B4-BE49-F238E27FC236}">
                <a16:creationId xmlns:a16="http://schemas.microsoft.com/office/drawing/2014/main" id="{207E0EDD-CE7D-485D-90AA-EB92659F4C2E}"/>
              </a:ext>
            </a:extLst>
          </p:cNvPr>
          <p:cNvSpPr>
            <a:spLocks noGrp="1" noChangeAspect="1"/>
          </p:cNvSpPr>
          <p:nvPr>
            <p:ph type="pic" sz="quarter" idx="14" hasCustomPrompt="1"/>
          </p:nvPr>
        </p:nvSpPr>
        <p:spPr>
          <a:xfrm>
            <a:off x="9061251" y="1902437"/>
            <a:ext cx="3120000" cy="3120000"/>
          </a:xfrm>
          <a:prstGeom prst="ellipse">
            <a:avLst/>
          </a:prstGeom>
        </p:spPr>
        <p:txBody>
          <a:bodyPr/>
          <a:lstStyle>
            <a:lvl1pPr algn="ctr">
              <a:buNone/>
              <a:defRPr b="0" i="0">
                <a:solidFill>
                  <a:schemeClr val="accent6"/>
                </a:solidFill>
                <a:latin typeface="+mn-lt"/>
                <a:cs typeface="Arial" panose="020B0604020202020204" pitchFamily="34" charset="0"/>
              </a:defRPr>
            </a:lvl1pPr>
          </a:lstStyle>
          <a:p>
            <a:r>
              <a:rPr lang="en-GB"/>
              <a:t>Add a picture here</a:t>
            </a:r>
          </a:p>
        </p:txBody>
      </p:sp>
      <p:sp>
        <p:nvSpPr>
          <p:cNvPr id="16" name="Freeform 12">
            <a:extLst>
              <a:ext uri="{FF2B5EF4-FFF2-40B4-BE49-F238E27FC236}">
                <a16:creationId xmlns:a16="http://schemas.microsoft.com/office/drawing/2014/main" id="{CDD94F9F-17AF-4158-8273-144D6BB8BFBA}"/>
              </a:ext>
            </a:extLst>
          </p:cNvPr>
          <p:cNvSpPr/>
          <p:nvPr userDrawn="1"/>
        </p:nvSpPr>
        <p:spPr bwMode="auto">
          <a:xfrm rot="735038">
            <a:off x="9719775" y="4974387"/>
            <a:ext cx="933047" cy="469973"/>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4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7" name="Freeform 17">
            <a:extLst>
              <a:ext uri="{FF2B5EF4-FFF2-40B4-BE49-F238E27FC236}">
                <a16:creationId xmlns:a16="http://schemas.microsoft.com/office/drawing/2014/main" id="{03EA52F0-9F47-4C1A-A653-1F060850BB16}"/>
              </a:ext>
            </a:extLst>
          </p:cNvPr>
          <p:cNvSpPr/>
          <p:nvPr userDrawn="1"/>
        </p:nvSpPr>
        <p:spPr bwMode="auto">
          <a:xfrm rot="8315714" flipH="1">
            <a:off x="9180229" y="5547934"/>
            <a:ext cx="1677271" cy="86330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4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8" name="Oval 17">
            <a:extLst>
              <a:ext uri="{FF2B5EF4-FFF2-40B4-BE49-F238E27FC236}">
                <a16:creationId xmlns:a16="http://schemas.microsoft.com/office/drawing/2014/main" id="{6AED791D-1518-403F-BA5A-79F94E7CDCCB}"/>
              </a:ext>
            </a:extLst>
          </p:cNvPr>
          <p:cNvSpPr>
            <a:spLocks noChangeAspect="1"/>
          </p:cNvSpPr>
          <p:nvPr userDrawn="1"/>
        </p:nvSpPr>
        <p:spPr bwMode="auto">
          <a:xfrm rot="5400000">
            <a:off x="10403603" y="5983124"/>
            <a:ext cx="875301" cy="874456"/>
          </a:xfrm>
          <a:prstGeom prst="ellips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4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26" name="TextBox 25">
            <a:extLst>
              <a:ext uri="{FF2B5EF4-FFF2-40B4-BE49-F238E27FC236}">
                <a16:creationId xmlns:a16="http://schemas.microsoft.com/office/drawing/2014/main" id="{964649C4-0FE0-4E4D-B386-F39D40C28AE9}"/>
              </a:ext>
            </a:extLst>
          </p:cNvPr>
          <p:cNvSpPr txBox="1"/>
          <p:nvPr userDrawn="1"/>
        </p:nvSpPr>
        <p:spPr>
          <a:xfrm>
            <a:off x="11158232" y="6548969"/>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mn-lt"/>
                <a:cs typeface="Arial" panose="020B0604020202020204" pitchFamily="34" charset="0"/>
              </a:rPr>
              <a:t>© Zurich</a:t>
            </a:r>
          </a:p>
        </p:txBody>
      </p:sp>
      <p:pic>
        <p:nvPicPr>
          <p:cNvPr id="11" name="ZRS Logo Horozontal">
            <a:extLst>
              <a:ext uri="{FF2B5EF4-FFF2-40B4-BE49-F238E27FC236}">
                <a16:creationId xmlns:a16="http://schemas.microsoft.com/office/drawing/2014/main" id="{D2B33BE5-EB34-483C-92C0-DCBF73E42AA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016" y="325479"/>
            <a:ext cx="1501200" cy="498456"/>
          </a:xfrm>
          <a:prstGeom prst="rect">
            <a:avLst/>
          </a:prstGeom>
        </p:spPr>
      </p:pic>
      <p:sp>
        <p:nvSpPr>
          <p:cNvPr id="12" name="Disclaimer">
            <a:extLst>
              <a:ext uri="{FF2B5EF4-FFF2-40B4-BE49-F238E27FC236}">
                <a16:creationId xmlns:a16="http://schemas.microsoft.com/office/drawing/2014/main" id="{5B406369-73D2-47B4-9695-1A05225AED50}"/>
              </a:ext>
            </a:extLst>
          </p:cNvPr>
          <p:cNvSpPr txBox="1">
            <a:spLocks/>
          </p:cNvSpPr>
          <p:nvPr userDrawn="1"/>
        </p:nvSpPr>
        <p:spPr>
          <a:xfrm>
            <a:off x="274889" y="1117412"/>
            <a:ext cx="6028131" cy="5078313"/>
          </a:xfrm>
          <a:prstGeom prst="rect">
            <a:avLst/>
          </a:prstGeom>
        </p:spPr>
        <p:txBody>
          <a:bodyPr vert="horz" wrap="square" lIns="0" tIns="0" rIns="0" bIns="0" rtlCol="0" anchor="b" anchorCtr="0">
            <a:spAutoFit/>
          </a:bodyPr>
          <a:lstStyle>
            <a:lvl1pPr marL="268288" indent="-268288" algn="l" defTabSz="914377" rtl="0" eaLnBrk="1" latinLnBrk="0" hangingPunct="1">
              <a:lnSpc>
                <a:spcPct val="100000"/>
              </a:lnSpc>
              <a:spcBef>
                <a:spcPts val="0"/>
              </a:spcBef>
              <a:spcAft>
                <a:spcPts val="600"/>
              </a:spcAft>
              <a:buFont typeface="Arial" panose="020B0604020202020204" pitchFamily="34" charset="0"/>
              <a:buChar char="•"/>
              <a:defRPr sz="1800" kern="1200">
                <a:solidFill>
                  <a:schemeClr val="accent5"/>
                </a:solidFill>
                <a:latin typeface="+mn-lt"/>
                <a:ea typeface="+mn-ea"/>
                <a:cs typeface="Arial" panose="020B0604020202020204" pitchFamily="34" charset="0"/>
              </a:defRPr>
            </a:lvl1pPr>
            <a:lvl2pPr marL="447675" indent="-207963" algn="l" defTabSz="914377"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Arial" panose="020B0604020202020204" pitchFamily="34" charset="0"/>
              </a:defRPr>
            </a:lvl2pPr>
            <a:lvl3pPr marL="719138" indent="-180975" algn="l" defTabSz="914377"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Arial" panose="020B0604020202020204" pitchFamily="34" charset="0"/>
              </a:defRPr>
            </a:lvl3pPr>
            <a:lvl4pPr marL="896938" indent="-177800"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4pPr>
            <a:lvl5pPr marL="1165225" indent="-179388"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000"/>
              <a:t>This is a general description of (insurance) services such as risk engineering or risk management services by Zurich Resilience Solutions, which is part of the Commercial Insurance business of Zurich Insurance Group, and does not represent or alter any insurance policy or service agreement. Such (insurance) services are provided to qualified customers by affiliated companies of Zurich Insurance Company Ltd, including but not limited to: Zurich American Insurance Company, 1299 Zurich Way, Schaumburg, IL 60196, USA; The Zurich Services Corporation, 1299 Zurich Way, Schaumburg, IL 60196, USA; Zurich Insurance plc, Zurich House, Ballsbridge Park, Dublin 4, Ireland; Zurich Commercial Services (Europe) GmbH, Platz der Einheit, 2, 60327 Germany; Zurich Management Services Limited, The Zurich Centre, 3000b Parkway, </a:t>
            </a:r>
            <a:r>
              <a:rPr lang="en-US" sz="1000" err="1"/>
              <a:t>Whiteley</a:t>
            </a:r>
            <a:r>
              <a:rPr lang="en-US" sz="1000"/>
              <a:t>, </a:t>
            </a:r>
            <a:r>
              <a:rPr lang="en-US" sz="1000" err="1"/>
              <a:t>Fareham</a:t>
            </a:r>
            <a:r>
              <a:rPr lang="en-US" sz="1000"/>
              <a:t>, Hampshire, PO15 7JZ, UK; Zurich Insurance Company Ltd, </a:t>
            </a:r>
            <a:r>
              <a:rPr lang="en-US" sz="1000" err="1"/>
              <a:t>Mythenquai</a:t>
            </a:r>
            <a:r>
              <a:rPr lang="en-US" sz="1000"/>
              <a:t> 2, 8002 Zurich, Switzerland; Zurich Australian Insurance Limited, ABN 13 000 296 640, Australia.</a:t>
            </a:r>
          </a:p>
          <a:p>
            <a:pPr marL="0" indent="0">
              <a:buFont typeface="Arial" panose="020B0604020202020204" pitchFamily="34" charset="0"/>
              <a:buNone/>
            </a:pPr>
            <a:r>
              <a:rPr lang="en-US" sz="1000"/>
              <a:t>The opinions expressed herein are those of Zurich Resilience Solutions as of the date of the release and </a:t>
            </a:r>
            <a:br>
              <a:rPr lang="en-US" sz="1000"/>
            </a:br>
            <a:r>
              <a:rPr lang="en-US" sz="1000"/>
              <a:t>are subject to change without notice. This document has been produced solely for informational purposes. All information contained in this document has been compiled and obtained from sources believed to be reliable and credible, but no representation or warranty, express or implied, is made by Zurich Insurance Company Ltd or any of its affiliated companies (Zurich Insurance Group) as to their accuracy or completeness. This document is not intended to be legal, underwriting, financial, investment, or any other type of professional advice. Zurich Insurance Group disclaims any and all liability whatsoever resulting from the use of or reliance upon this document. Nothing express or implied in this document is intended to create legal relations between the reader and any member of Zurich Insurance Group.</a:t>
            </a:r>
          </a:p>
          <a:p>
            <a:pPr marL="0" indent="0">
              <a:buFont typeface="Arial" panose="020B0604020202020204" pitchFamily="34" charset="0"/>
              <a:buNone/>
            </a:pPr>
            <a:r>
              <a:rPr lang="en-US" sz="1000"/>
              <a:t>Certain statements in this document are forward-looking statements, including, but not limited to, statements that are predictions of or indicate future events, trends, plans, developments or objectives. Undue reliance should not be placed on such statements because, by their nature, they are subject to known and unknown risks and uncertainties, and can be affected by numerous unforeseeable factors. The subject matter of this document is also not tied to any specific service offering or an insurance product, nor will it ensure coverage under any insurance policy.</a:t>
            </a:r>
          </a:p>
          <a:p>
            <a:pPr marL="0" indent="0">
              <a:buFont typeface="Arial" panose="020B0604020202020204" pitchFamily="34" charset="0"/>
              <a:buNone/>
            </a:pPr>
            <a:r>
              <a:rPr lang="en-US" sz="1000"/>
              <a:t>This document may not be distributed or reproduced, either in whole or in part, without prior written permission of Zurich Insurance Company Ltd, </a:t>
            </a:r>
            <a:r>
              <a:rPr lang="en-US" sz="1000" err="1"/>
              <a:t>Mythenquai</a:t>
            </a:r>
            <a:r>
              <a:rPr lang="en-US" sz="1000"/>
              <a:t> 2, 8002 Zurich, Switzerland. No member of Zurich Insurance Group accepts any liability for any loss arising from the use or distribution of this document. This document does not constitute an offer or an invitation for the sale or purchase of securities in any jurisdiction. </a:t>
            </a:r>
          </a:p>
          <a:p>
            <a:pPr marL="0" indent="0">
              <a:buFont typeface="Arial" panose="020B0604020202020204" pitchFamily="34" charset="0"/>
              <a:buNone/>
            </a:pPr>
            <a:r>
              <a:rPr lang="en-US" sz="1000">
                <a:latin typeface="+mj-lt"/>
              </a:rPr>
              <a:t>Zurich Resilience Solutions </a:t>
            </a:r>
          </a:p>
        </p:txBody>
      </p:sp>
    </p:spTree>
    <p:extLst>
      <p:ext uri="{BB962C8B-B14F-4D97-AF65-F5344CB8AC3E}">
        <p14:creationId xmlns:p14="http://schemas.microsoft.com/office/powerpoint/2010/main" val="51370400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9B432-8EF0-466E-ABF6-F550B2A8CE10}"/>
              </a:ext>
            </a:extLst>
          </p:cNvPr>
          <p:cNvSpPr>
            <a:spLocks noGrp="1"/>
          </p:cNvSpPr>
          <p:nvPr>
            <p:ph type="title"/>
          </p:nvPr>
        </p:nvSpPr>
        <p:spPr>
          <a:xfrm>
            <a:off x="334965" y="249927"/>
            <a:ext cx="9502279" cy="332399"/>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5BC242F-6F1E-4A0A-90B1-1E12A5C3640A}"/>
              </a:ext>
            </a:extLst>
          </p:cNvPr>
          <p:cNvSpPr>
            <a:spLocks noGrp="1"/>
          </p:cNvSpPr>
          <p:nvPr>
            <p:ph type="sldNum" sz="quarter" idx="10"/>
          </p:nvPr>
        </p:nvSpPr>
        <p:spPr/>
        <p:txBody>
          <a:bodyPr/>
          <a:lstStyle/>
          <a:p>
            <a:fld id="{FA58F0B4-6BC7-4BFB-804F-EE9B892902C7}" type="slidenum">
              <a:rPr lang="en-US" smtClean="0"/>
              <a:pPr/>
              <a:t>‹nr.›</a:t>
            </a:fld>
            <a:endParaRPr lang="en-US"/>
          </a:p>
        </p:txBody>
      </p:sp>
      <p:sp>
        <p:nvSpPr>
          <p:cNvPr id="4" name="Footer Placeholder 3">
            <a:extLst>
              <a:ext uri="{FF2B5EF4-FFF2-40B4-BE49-F238E27FC236}">
                <a16:creationId xmlns:a16="http://schemas.microsoft.com/office/drawing/2014/main" id="{835FD3C9-BA13-4460-96D8-3EBB1FC2695F}"/>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427930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Content Placeholder 2"/>
          <p:cNvSpPr>
            <a:spLocks noGrp="1"/>
          </p:cNvSpPr>
          <p:nvPr>
            <p:ph idx="1"/>
          </p:nvPr>
        </p:nvSpPr>
        <p:spPr>
          <a:xfrm>
            <a:off x="259451" y="1205996"/>
            <a:ext cx="11669024" cy="5040145"/>
          </a:xfrm>
        </p:spPr>
        <p:txBody>
          <a:bodyPr/>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1" name="Title 1">
            <a:extLst>
              <a:ext uri="{FF2B5EF4-FFF2-40B4-BE49-F238E27FC236}">
                <a16:creationId xmlns:a16="http://schemas.microsoft.com/office/drawing/2014/main" id="{29FBF581-E754-574B-A309-6F2FB382E481}"/>
              </a:ext>
            </a:extLst>
          </p:cNvPr>
          <p:cNvSpPr>
            <a:spLocks noGrp="1"/>
          </p:cNvSpPr>
          <p:nvPr>
            <p:ph type="title"/>
          </p:nvPr>
        </p:nvSpPr>
        <p:spPr>
          <a:xfrm>
            <a:off x="252661" y="260270"/>
            <a:ext cx="9586415" cy="332399"/>
          </a:xfrm>
        </p:spPr>
        <p:txBody>
          <a:bodyPr>
            <a:spAutoFit/>
          </a:bodyPr>
          <a:lstStyle>
            <a:lvl1pPr>
              <a:defRPr>
                <a:latin typeface="+mj-lt"/>
                <a:cs typeface="Arial" panose="020B0604020202020204" pitchFamily="34" charset="0"/>
              </a:defRPr>
            </a:lvl1pPr>
          </a:lstStyle>
          <a:p>
            <a:r>
              <a:rPr lang="de-DE"/>
              <a:t>Mastertitelformat bearbeiten</a:t>
            </a:r>
            <a:endParaRPr lang="en-US"/>
          </a:p>
        </p:txBody>
      </p:sp>
      <p:sp>
        <p:nvSpPr>
          <p:cNvPr id="22" name="Subtitle 2">
            <a:extLst>
              <a:ext uri="{FF2B5EF4-FFF2-40B4-BE49-F238E27FC236}">
                <a16:creationId xmlns:a16="http://schemas.microsoft.com/office/drawing/2014/main" id="{60580A64-4AC1-D547-A7C8-FF2A5434D2C5}"/>
              </a:ext>
            </a:extLst>
          </p:cNvPr>
          <p:cNvSpPr>
            <a:spLocks noGrp="1"/>
          </p:cNvSpPr>
          <p:nvPr>
            <p:ph type="subTitle" idx="13"/>
          </p:nvPr>
        </p:nvSpPr>
        <p:spPr>
          <a:xfrm>
            <a:off x="252659" y="610598"/>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46" indent="0" algn="ctr">
              <a:buNone/>
              <a:defRPr>
                <a:solidFill>
                  <a:schemeClr val="tx1">
                    <a:tint val="75000"/>
                  </a:schemeClr>
                </a:solidFill>
              </a:defRPr>
            </a:lvl2pPr>
            <a:lvl3pPr marL="685692" indent="0" algn="ctr">
              <a:buNone/>
              <a:defRPr>
                <a:solidFill>
                  <a:schemeClr val="tx1">
                    <a:tint val="75000"/>
                  </a:schemeClr>
                </a:solidFill>
              </a:defRPr>
            </a:lvl3pPr>
            <a:lvl4pPr marL="1028537" indent="0" algn="ctr">
              <a:buNone/>
              <a:defRPr>
                <a:solidFill>
                  <a:schemeClr val="tx1">
                    <a:tint val="75000"/>
                  </a:schemeClr>
                </a:solidFill>
              </a:defRPr>
            </a:lvl4pPr>
            <a:lvl5pPr marL="1371383" indent="0" algn="ctr">
              <a:buNone/>
              <a:defRPr>
                <a:solidFill>
                  <a:schemeClr val="tx1">
                    <a:tint val="75000"/>
                  </a:schemeClr>
                </a:solidFill>
              </a:defRPr>
            </a:lvl5pPr>
            <a:lvl6pPr marL="1714228" indent="0" algn="ctr">
              <a:buNone/>
              <a:defRPr>
                <a:solidFill>
                  <a:schemeClr val="tx1">
                    <a:tint val="75000"/>
                  </a:schemeClr>
                </a:solidFill>
              </a:defRPr>
            </a:lvl6pPr>
            <a:lvl7pPr marL="2057075" indent="0" algn="ctr">
              <a:buNone/>
              <a:defRPr>
                <a:solidFill>
                  <a:schemeClr val="tx1">
                    <a:tint val="75000"/>
                  </a:schemeClr>
                </a:solidFill>
              </a:defRPr>
            </a:lvl7pPr>
            <a:lvl8pPr marL="2399920" indent="0" algn="ctr">
              <a:buNone/>
              <a:defRPr>
                <a:solidFill>
                  <a:schemeClr val="tx1">
                    <a:tint val="75000"/>
                  </a:schemeClr>
                </a:solidFill>
              </a:defRPr>
            </a:lvl8pPr>
            <a:lvl9pPr marL="2742766" indent="0" algn="ctr">
              <a:buNone/>
              <a:defRPr>
                <a:solidFill>
                  <a:schemeClr val="tx1">
                    <a:tint val="75000"/>
                  </a:schemeClr>
                </a:solidFill>
              </a:defRPr>
            </a:lvl9pPr>
          </a:lstStyle>
          <a:p>
            <a:r>
              <a:rPr lang="de-DE"/>
              <a:t>Master-Untertitelformat bearbeiten</a:t>
            </a:r>
            <a:endParaRPr lang="en-GB" noProof="0"/>
          </a:p>
        </p:txBody>
      </p:sp>
      <p:sp>
        <p:nvSpPr>
          <p:cNvPr id="18" name="Slide Number Placeholder 5">
            <a:extLst>
              <a:ext uri="{FF2B5EF4-FFF2-40B4-BE49-F238E27FC236}">
                <a16:creationId xmlns:a16="http://schemas.microsoft.com/office/drawing/2014/main" id="{9DEE29F2-F280-4686-A9A8-3959443731C7}"/>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4187302252"/>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Agenda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E5769-963A-1E4C-9183-8C898DF4FC4E}"/>
              </a:ext>
            </a:extLst>
          </p:cNvPr>
          <p:cNvSpPr>
            <a:spLocks noGrp="1"/>
          </p:cNvSpPr>
          <p:nvPr>
            <p:ph type="title" hasCustomPrompt="1"/>
          </p:nvPr>
        </p:nvSpPr>
        <p:spPr>
          <a:xfrm>
            <a:off x="347843" y="254181"/>
            <a:ext cx="9855199" cy="332399"/>
          </a:xfrm>
          <a:prstGeom prst="rect">
            <a:avLst/>
          </a:prstGeom>
        </p:spPr>
        <p:txBody>
          <a:bodyPr lIns="0" anchor="t"/>
          <a:lstStyle>
            <a:lvl1pPr>
              <a:defRPr b="0" i="0">
                <a:solidFill>
                  <a:srgbClr val="2167AE"/>
                </a:solidFill>
                <a:latin typeface="Zurich Sans Light" panose="02000000000000000000" pitchFamily="2" charset="0"/>
                <a:cs typeface="Arial" panose="020B0604020202020204" pitchFamily="34" charset="0"/>
              </a:defRPr>
            </a:lvl1pPr>
          </a:lstStyle>
          <a:p>
            <a:r>
              <a:rPr lang="en-GB" noProof="0"/>
              <a:t>Agenda or content page</a:t>
            </a:r>
          </a:p>
        </p:txBody>
      </p:sp>
      <p:sp>
        <p:nvSpPr>
          <p:cNvPr id="6" name="Text Placeholder 16">
            <a:extLst>
              <a:ext uri="{FF2B5EF4-FFF2-40B4-BE49-F238E27FC236}">
                <a16:creationId xmlns:a16="http://schemas.microsoft.com/office/drawing/2014/main" id="{2E48DA8B-B36B-F147-BA19-ADE851F826B3}"/>
              </a:ext>
            </a:extLst>
          </p:cNvPr>
          <p:cNvSpPr>
            <a:spLocks noGrp="1"/>
          </p:cNvSpPr>
          <p:nvPr>
            <p:ph type="body" sz="quarter" idx="15" hasCustomPrompt="1"/>
          </p:nvPr>
        </p:nvSpPr>
        <p:spPr>
          <a:xfrm>
            <a:off x="347845" y="1205222"/>
            <a:ext cx="5603695" cy="5032068"/>
          </a:xfrm>
          <a:prstGeom prst="rect">
            <a:avLst/>
          </a:prstGeom>
        </p:spPr>
        <p:txBody>
          <a:bodyPr lIns="0" rIns="0" anchor="t"/>
          <a:lstStyle>
            <a:lvl1pPr marL="355582" marR="0" indent="-355582" algn="l" defTabSz="914233" rtl="0" eaLnBrk="1" fontAlgn="base" latinLnBrk="0" hangingPunct="1">
              <a:lnSpc>
                <a:spcPct val="150000"/>
              </a:lnSpc>
              <a:spcBef>
                <a:spcPts val="0"/>
              </a:spcBef>
              <a:spcAft>
                <a:spcPts val="300"/>
              </a:spcAft>
              <a:buClr>
                <a:srgbClr val="1C67AF"/>
              </a:buClr>
              <a:buSzPct val="100000"/>
              <a:buFont typeface="+mj-lt"/>
              <a:buAutoNum type="arabicPeriod"/>
              <a:tabLst/>
              <a:defRPr sz="2400" b="0" i="0">
                <a:solidFill>
                  <a:srgbClr val="2167AE"/>
                </a:solidFill>
                <a:latin typeface="Zurich Sans Light" panose="02000000000000000000" pitchFamily="2" charset="0"/>
                <a:cs typeface="Arial" panose="020B0604020202020204" pitchFamily="34" charset="0"/>
              </a:defRPr>
            </a:lvl1pPr>
          </a:lstStyle>
          <a:p>
            <a:pPr lvl="0"/>
            <a:r>
              <a:rPr lang="en-GB" noProof="0"/>
              <a:t>Add title</a:t>
            </a:r>
          </a:p>
          <a:p>
            <a:pPr lvl="0"/>
            <a:r>
              <a:rPr lang="en-GB" noProof="0"/>
              <a:t>Add title</a:t>
            </a:r>
          </a:p>
          <a:p>
            <a:pPr lvl="0"/>
            <a:r>
              <a:rPr lang="en-GB" noProof="0"/>
              <a:t>Add title</a:t>
            </a:r>
          </a:p>
          <a:p>
            <a:pPr lvl="0"/>
            <a:r>
              <a:rPr lang="en-GB" noProof="0"/>
              <a:t>Add title</a:t>
            </a:r>
          </a:p>
          <a:p>
            <a:pPr lvl="0"/>
            <a:r>
              <a:rPr lang="en-GB" noProof="0"/>
              <a:t>Add title</a:t>
            </a:r>
          </a:p>
        </p:txBody>
      </p:sp>
      <p:sp>
        <p:nvSpPr>
          <p:cNvPr id="5" name="Footer Placeholder 4">
            <a:extLst>
              <a:ext uri="{FF2B5EF4-FFF2-40B4-BE49-F238E27FC236}">
                <a16:creationId xmlns:a16="http://schemas.microsoft.com/office/drawing/2014/main" id="{7576DE17-B41F-F94E-8417-AABA2A9152F7}"/>
              </a:ext>
            </a:extLst>
          </p:cNvPr>
          <p:cNvSpPr>
            <a:spLocks noGrp="1"/>
          </p:cNvSpPr>
          <p:nvPr>
            <p:ph type="ftr" sz="quarter" idx="16"/>
          </p:nvPr>
        </p:nvSpPr>
        <p:spPr/>
        <p:txBody>
          <a:bodyPr/>
          <a:lstStyle>
            <a:lvl1pPr algn="r">
              <a:defRPr b="0" i="0">
                <a:solidFill>
                  <a:srgbClr val="2167AE"/>
                </a:solidFill>
              </a:defRPr>
            </a:lvl1pPr>
          </a:lstStyle>
          <a:p>
            <a:endParaRPr lang="en-GB"/>
          </a:p>
        </p:txBody>
      </p:sp>
      <p:sp>
        <p:nvSpPr>
          <p:cNvPr id="7" name="Slide Number Placeholder 6">
            <a:extLst>
              <a:ext uri="{FF2B5EF4-FFF2-40B4-BE49-F238E27FC236}">
                <a16:creationId xmlns:a16="http://schemas.microsoft.com/office/drawing/2014/main" id="{DBFE40F3-EF7C-CF47-84EA-47BCB129D9F5}"/>
              </a:ext>
            </a:extLst>
          </p:cNvPr>
          <p:cNvSpPr>
            <a:spLocks noGrp="1"/>
          </p:cNvSpPr>
          <p:nvPr>
            <p:ph type="sldNum" sz="quarter" idx="17"/>
          </p:nvPr>
        </p:nvSpPr>
        <p:spPr/>
        <p:txBody>
          <a:bodyPr/>
          <a:lstStyle>
            <a:lvl1pPr>
              <a:defRPr b="0" i="0">
                <a:solidFill>
                  <a:srgbClr val="2167AE"/>
                </a:solidFill>
              </a:defRPr>
            </a:lvl1pPr>
          </a:lstStyle>
          <a:p>
            <a:fld id="{D691331D-A62F-41F8-BAEC-0A7727B7C525}" type="slidenum">
              <a:rPr lang="en-GB" smtClean="0"/>
              <a:pPr/>
              <a:t>‹nr.›</a:t>
            </a:fld>
            <a:endParaRPr lang="en-GB"/>
          </a:p>
        </p:txBody>
      </p:sp>
      <p:sp>
        <p:nvSpPr>
          <p:cNvPr id="9" name="Picture Placeholder 2">
            <a:extLst>
              <a:ext uri="{FF2B5EF4-FFF2-40B4-BE49-F238E27FC236}">
                <a16:creationId xmlns:a16="http://schemas.microsoft.com/office/drawing/2014/main" id="{61841F35-BD7E-AE4B-9B53-82E6C29C5827}"/>
              </a:ext>
            </a:extLst>
          </p:cNvPr>
          <p:cNvSpPr>
            <a:spLocks noGrp="1" noChangeAspect="1"/>
          </p:cNvSpPr>
          <p:nvPr>
            <p:ph type="pic" sz="quarter" idx="14" hasCustomPrompt="1"/>
          </p:nvPr>
        </p:nvSpPr>
        <p:spPr>
          <a:xfrm>
            <a:off x="8055920" y="1545069"/>
            <a:ext cx="4320000" cy="4320000"/>
          </a:xfrm>
          <a:prstGeom prst="ellipse">
            <a:avLst/>
          </a:prstGeom>
        </p:spPr>
        <p:txBody>
          <a:bodyPr/>
          <a:lstStyle>
            <a:lvl1pPr algn="ctr">
              <a:buNone/>
              <a:defRPr b="0" i="0">
                <a:solidFill>
                  <a:srgbClr val="1C67AF"/>
                </a:solidFill>
              </a:defRPr>
            </a:lvl1pPr>
          </a:lstStyle>
          <a:p>
            <a:r>
              <a:rPr lang="en-US" noProof="0"/>
              <a:t>Add a picture here</a:t>
            </a:r>
          </a:p>
        </p:txBody>
      </p:sp>
      <p:grpSp>
        <p:nvGrpSpPr>
          <p:cNvPr id="3" name="Group 2">
            <a:extLst>
              <a:ext uri="{FF2B5EF4-FFF2-40B4-BE49-F238E27FC236}">
                <a16:creationId xmlns:a16="http://schemas.microsoft.com/office/drawing/2014/main" id="{6CC09B3A-E93C-E149-A374-61B9A8D28D58}"/>
              </a:ext>
            </a:extLst>
          </p:cNvPr>
          <p:cNvGrpSpPr/>
          <p:nvPr userDrawn="1"/>
        </p:nvGrpSpPr>
        <p:grpSpPr>
          <a:xfrm>
            <a:off x="7421094" y="5019215"/>
            <a:ext cx="2183649" cy="1844535"/>
            <a:chOff x="7524611" y="5013464"/>
            <a:chExt cx="2183649" cy="1844534"/>
          </a:xfrm>
        </p:grpSpPr>
        <p:sp>
          <p:nvSpPr>
            <p:cNvPr id="10" name="Oval 9">
              <a:extLst>
                <a:ext uri="{FF2B5EF4-FFF2-40B4-BE49-F238E27FC236}">
                  <a16:creationId xmlns:a16="http://schemas.microsoft.com/office/drawing/2014/main" id="{A32FC749-5492-9D44-8DC3-3DF24C30EF6E}"/>
                </a:ext>
              </a:extLst>
            </p:cNvPr>
            <p:cNvSpPr>
              <a:spLocks noChangeAspect="1"/>
            </p:cNvSpPr>
            <p:nvPr userDrawn="1"/>
          </p:nvSpPr>
          <p:spPr bwMode="auto">
            <a:xfrm rot="5400000">
              <a:off x="8321519" y="5013651"/>
              <a:ext cx="387076" cy="386702"/>
            </a:xfrm>
            <a:prstGeom prst="ellipse">
              <a:avLst/>
            </a:prstGeom>
            <a:solidFill>
              <a:srgbClr val="1C67AF"/>
            </a:solidFill>
            <a:ln w="9525" cap="flat" cmpd="sng" algn="ctr">
              <a:noFill/>
              <a:prstDash val="solid"/>
              <a:round/>
              <a:headEnd type="none" w="med" len="med"/>
              <a:tailEnd type="none" w="med" len="med"/>
            </a:ln>
            <a:effectLst/>
          </p:spPr>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defTabSz="1625478" fontAlgn="base">
                <a:spcBef>
                  <a:spcPct val="0"/>
                </a:spcBef>
                <a:spcAft>
                  <a:spcPct val="0"/>
                </a:spcAft>
              </a:pPr>
              <a:endParaRPr lang="en-ES" sz="3556">
                <a:latin typeface="Arial" panose="020B0604020202020204" pitchFamily="34" charset="0"/>
              </a:endParaRPr>
            </a:p>
          </p:txBody>
        </p:sp>
        <p:sp>
          <p:nvSpPr>
            <p:cNvPr id="11" name="Freeform 10">
              <a:extLst>
                <a:ext uri="{FF2B5EF4-FFF2-40B4-BE49-F238E27FC236}">
                  <a16:creationId xmlns:a16="http://schemas.microsoft.com/office/drawing/2014/main" id="{51E70F29-D5A7-A64B-AEC0-EE9D552D22BE}"/>
                </a:ext>
              </a:extLst>
            </p:cNvPr>
            <p:cNvSpPr/>
            <p:nvPr userDrawn="1"/>
          </p:nvSpPr>
          <p:spPr bwMode="auto">
            <a:xfrm rot="8315714" flipH="1">
              <a:off x="7524611" y="5487427"/>
              <a:ext cx="1754731" cy="903177"/>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23366E"/>
            </a:solidFill>
            <a:ln w="9525" cap="flat" cmpd="sng" algn="ctr">
              <a:noFill/>
              <a:prstDash val="solid"/>
              <a:round/>
              <a:headEnd type="none" w="med" len="med"/>
              <a:tailEnd type="none" w="med" len="med"/>
            </a:ln>
            <a:effectLst/>
          </p:spPr>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defTabSz="1625478" fontAlgn="base">
                <a:spcBef>
                  <a:spcPct val="0"/>
                </a:spcBef>
                <a:spcAft>
                  <a:spcPct val="0"/>
                </a:spcAft>
              </a:pPr>
              <a:endParaRPr lang="en-ES" sz="3556">
                <a:latin typeface="Arial" panose="020B0604020202020204" pitchFamily="34" charset="0"/>
              </a:endParaRPr>
            </a:p>
          </p:txBody>
        </p:sp>
        <p:sp>
          <p:nvSpPr>
            <p:cNvPr id="12" name="Oval 11">
              <a:extLst>
                <a:ext uri="{FF2B5EF4-FFF2-40B4-BE49-F238E27FC236}">
                  <a16:creationId xmlns:a16="http://schemas.microsoft.com/office/drawing/2014/main" id="{6C9108CF-136E-2642-9CA0-50DB93DDCBFD}"/>
                </a:ext>
              </a:extLst>
            </p:cNvPr>
            <p:cNvSpPr>
              <a:spLocks noChangeAspect="1"/>
            </p:cNvSpPr>
            <p:nvPr userDrawn="1"/>
          </p:nvSpPr>
          <p:spPr bwMode="auto">
            <a:xfrm rot="5400000">
              <a:off x="8792978" y="5942716"/>
              <a:ext cx="915724" cy="914840"/>
            </a:xfrm>
            <a:prstGeom prst="ellipse">
              <a:avLst/>
            </a:prstGeom>
            <a:solidFill>
              <a:srgbClr val="DBD3BC"/>
            </a:solidFill>
            <a:ln w="9525" cap="flat" cmpd="sng" algn="ctr">
              <a:noFill/>
              <a:prstDash val="solid"/>
              <a:round/>
              <a:headEnd type="none" w="med" len="med"/>
              <a:tailEnd type="none" w="med" len="med"/>
            </a:ln>
            <a:effectLst/>
          </p:spPr>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defTabSz="1625478" fontAlgn="base">
                <a:spcBef>
                  <a:spcPct val="0"/>
                </a:spcBef>
                <a:spcAft>
                  <a:spcPct val="0"/>
                </a:spcAft>
              </a:pPr>
              <a:endParaRPr lang="en-ES" sz="3556">
                <a:latin typeface="Arial" panose="020B0604020202020204" pitchFamily="34" charset="0"/>
              </a:endParaRPr>
            </a:p>
          </p:txBody>
        </p:sp>
      </p:grpSp>
    </p:spTree>
    <p:extLst>
      <p:ext uri="{BB962C8B-B14F-4D97-AF65-F5344CB8AC3E}">
        <p14:creationId xmlns:p14="http://schemas.microsoft.com/office/powerpoint/2010/main" val="154585433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Headline">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2261053" y="6548967"/>
            <a:ext cx="8112000" cy="181960"/>
          </a:xfrm>
          <a:prstGeom prst="rect">
            <a:avLst/>
          </a:prstGeom>
        </p:spPr>
        <p:txBody>
          <a:bodyPr tIns="0" bIns="0">
            <a:noAutofit/>
          </a:bodyPr>
          <a:lstStyle>
            <a:lvl1pPr algn="r">
              <a:defRPr sz="933"/>
            </a:lvl1pPr>
          </a:lstStyle>
          <a:p>
            <a:endParaRPr lang="en-US"/>
          </a:p>
        </p:txBody>
      </p:sp>
      <p:sp>
        <p:nvSpPr>
          <p:cNvPr id="5" name="Slide Number Placeholder 4"/>
          <p:cNvSpPr>
            <a:spLocks noGrp="1"/>
          </p:cNvSpPr>
          <p:nvPr>
            <p:ph type="sldNum" sz="quarter" idx="12"/>
          </p:nvPr>
        </p:nvSpPr>
        <p:spPr>
          <a:xfrm>
            <a:off x="10555923" y="6548967"/>
            <a:ext cx="551115" cy="181960"/>
          </a:xfrm>
        </p:spPr>
        <p:txBody>
          <a:bodyPr>
            <a:noAutofit/>
          </a:bodyPr>
          <a:lstStyle/>
          <a:p>
            <a:fld id="{FA58F0B4-6BC7-4BFB-804F-EE9B892902C7}" type="slidenum">
              <a:rPr lang="en-US" smtClean="0"/>
              <a:t>‹nr.›</a:t>
            </a:fld>
            <a:endParaRPr lang="en-US"/>
          </a:p>
        </p:txBody>
      </p:sp>
      <p:sp>
        <p:nvSpPr>
          <p:cNvPr id="7" name="Text Placeholder 7">
            <a:extLst>
              <a:ext uri="{FF2B5EF4-FFF2-40B4-BE49-F238E27FC236}">
                <a16:creationId xmlns:a16="http://schemas.microsoft.com/office/drawing/2014/main" id="{5D6EFF82-DD58-0249-A543-88DD2AD24DFB}"/>
              </a:ext>
            </a:extLst>
          </p:cNvPr>
          <p:cNvSpPr>
            <a:spLocks noGrp="1"/>
          </p:cNvSpPr>
          <p:nvPr>
            <p:ph type="body" sz="quarter" idx="14" hasCustomPrompt="1"/>
          </p:nvPr>
        </p:nvSpPr>
        <p:spPr>
          <a:xfrm>
            <a:off x="337307" y="679217"/>
            <a:ext cx="9586415" cy="287259"/>
          </a:xfrm>
        </p:spPr>
        <p:txBody>
          <a:bodyPr>
            <a:noAutofit/>
          </a:bodyPr>
          <a:lstStyle>
            <a:lvl1pPr marL="0" indent="0">
              <a:buNone/>
              <a:defRPr sz="1867"/>
            </a:lvl1pPr>
          </a:lstStyle>
          <a:p>
            <a:pPr lvl="0"/>
            <a:r>
              <a:rPr lang="en-US"/>
              <a:t>Click to add subtitle</a:t>
            </a:r>
          </a:p>
        </p:txBody>
      </p:sp>
      <p:sp>
        <p:nvSpPr>
          <p:cNvPr id="8" name="Title Placeholder 1">
            <a:extLst>
              <a:ext uri="{FF2B5EF4-FFF2-40B4-BE49-F238E27FC236}">
                <a16:creationId xmlns:a16="http://schemas.microsoft.com/office/drawing/2014/main" id="{7BEE0C50-EA9C-AB4E-8E40-148C996DDC42}"/>
              </a:ext>
            </a:extLst>
          </p:cNvPr>
          <p:cNvSpPr>
            <a:spLocks noGrp="1"/>
          </p:cNvSpPr>
          <p:nvPr>
            <p:ph type="title"/>
          </p:nvPr>
        </p:nvSpPr>
        <p:spPr>
          <a:xfrm>
            <a:off x="337309" y="327325"/>
            <a:ext cx="9586415" cy="332399"/>
          </a:xfrm>
          <a:prstGeom prst="rect">
            <a:avLst/>
          </a:prstGeom>
        </p:spPr>
        <p:txBody>
          <a:bodyPr vert="horz" lIns="0" tIns="0" rIns="0" bIns="0" rtlCol="0" anchor="t" anchorCtr="0">
            <a:spAutoFit/>
          </a:bodyPr>
          <a:lstStyle/>
          <a:p>
            <a:r>
              <a:rPr lang="de-DE"/>
              <a:t>Mastertitelformat bearbeiten</a:t>
            </a:r>
            <a:endParaRPr lang="en-US"/>
          </a:p>
        </p:txBody>
      </p:sp>
    </p:spTree>
    <p:extLst>
      <p:ext uri="{BB962C8B-B14F-4D97-AF65-F5344CB8AC3E}">
        <p14:creationId xmlns:p14="http://schemas.microsoft.com/office/powerpoint/2010/main" val="1117060797"/>
      </p:ext>
    </p:extLst>
  </p:cSld>
  <p:clrMapOvr>
    <a:masterClrMapping/>
  </p:clrMapOvr>
  <mc:AlternateContent xmlns:mc="http://schemas.openxmlformats.org/markup-compatibility/2006">
    <mc:Choice xmlns:p14="http://schemas.microsoft.com/office/powerpoint/2010/main" Requires="p14">
      <p:transition spd="med" p14:dur="600">
        <p:fade/>
      </p:transition>
    </mc:Choice>
    <mc:Fallback>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Section">
    <p:bg>
      <p:bgPr>
        <a:solidFill>
          <a:schemeClr val="accent6"/>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AA513D-C9B5-A544-B9C4-B9D09DB6E1CF}"/>
              </a:ext>
            </a:extLst>
          </p:cNvPr>
          <p:cNvGraphicFramePr>
            <a:graphicFrameLocks noChangeAspect="1"/>
          </p:cNvGraphicFramePr>
          <p:nvPr userDrawn="1">
            <p:custDataLst>
              <p:tags r:id="rId1"/>
            </p:custDataLst>
            <p:extLst>
              <p:ext uri="{D42A27DB-BD31-4B8C-83A1-F6EECF244321}">
                <p14:modId xmlns:p14="http://schemas.microsoft.com/office/powerpoint/2010/main" val="122396441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3" name="Object 2" hidden="1">
                        <a:extLst>
                          <a:ext uri="{FF2B5EF4-FFF2-40B4-BE49-F238E27FC236}">
                            <a16:creationId xmlns:a16="http://schemas.microsoft.com/office/drawing/2014/main" id="{8CAA513D-C9B5-A544-B9C4-B9D09DB6E1CF}"/>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250827" y="2526838"/>
            <a:ext cx="5847859" cy="2242079"/>
          </a:xfrm>
        </p:spPr>
        <p:txBody>
          <a:bodyPr vert="horz" anchor="b">
            <a:noAutofit/>
          </a:bodyPr>
          <a:lstStyle>
            <a:lvl1pPr algn="l">
              <a:defRPr sz="3600">
                <a:solidFill>
                  <a:schemeClr val="accent1"/>
                </a:solidFill>
                <a:latin typeface="+mn-lt"/>
                <a:cs typeface="Arial" panose="020B0604020202020204" pitchFamily="34" charset="0"/>
              </a:defRPr>
            </a:lvl1pPr>
          </a:lstStyle>
          <a:p>
            <a:r>
              <a:rPr lang="en-US"/>
              <a:t>Click to edit section title</a:t>
            </a:r>
          </a:p>
        </p:txBody>
      </p:sp>
      <p:sp>
        <p:nvSpPr>
          <p:cNvPr id="9" name="Subtitle 2">
            <a:extLst>
              <a:ext uri="{FF2B5EF4-FFF2-40B4-BE49-F238E27FC236}">
                <a16:creationId xmlns:a16="http://schemas.microsoft.com/office/drawing/2014/main" id="{5D52D574-4430-4847-B932-BA1C1DC56322}"/>
              </a:ext>
            </a:extLst>
          </p:cNvPr>
          <p:cNvSpPr>
            <a:spLocks noGrp="1"/>
          </p:cNvSpPr>
          <p:nvPr>
            <p:ph type="subTitle" idx="13" hasCustomPrompt="1"/>
          </p:nvPr>
        </p:nvSpPr>
        <p:spPr>
          <a:xfrm>
            <a:off x="250826" y="4948305"/>
            <a:ext cx="5845175" cy="1283999"/>
          </a:xfrm>
        </p:spPr>
        <p:txBody>
          <a:bodyPr>
            <a:normAutofit/>
          </a:bodyPr>
          <a:lstStyle>
            <a:lvl1pPr marL="0" indent="0" algn="l">
              <a:buNone/>
              <a:defRPr sz="2000">
                <a:solidFill>
                  <a:schemeClr val="accent1"/>
                </a:solidFill>
                <a:latin typeface="+mn-lt"/>
                <a:cs typeface="Arial" panose="020B0604020202020204" pitchFamily="34" charset="0"/>
              </a:defRPr>
            </a:lvl1pPr>
            <a:lvl2pPr marL="457131" indent="0" algn="ctr">
              <a:buNone/>
              <a:defRPr sz="2000"/>
            </a:lvl2pPr>
            <a:lvl3pPr marL="914264" indent="0" algn="ctr">
              <a:buNone/>
              <a:defRPr sz="1800"/>
            </a:lvl3pPr>
            <a:lvl4pPr marL="1371395" indent="0" algn="ctr">
              <a:buNone/>
              <a:defRPr sz="1600"/>
            </a:lvl4pPr>
            <a:lvl5pPr marL="1828525" indent="0" algn="ctr">
              <a:buNone/>
              <a:defRPr sz="1600"/>
            </a:lvl5pPr>
            <a:lvl6pPr marL="2285658"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edit section subtitle </a:t>
            </a:r>
          </a:p>
        </p:txBody>
      </p:sp>
      <p:sp>
        <p:nvSpPr>
          <p:cNvPr id="18" name="Slide Number Placeholder 5">
            <a:extLst>
              <a:ext uri="{FF2B5EF4-FFF2-40B4-BE49-F238E27FC236}">
                <a16:creationId xmlns:a16="http://schemas.microsoft.com/office/drawing/2014/main" id="{6C2690B3-34BA-4DEA-AD15-F9112DF4223E}"/>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2" name="Picture Placeholder 2">
            <a:extLst>
              <a:ext uri="{FF2B5EF4-FFF2-40B4-BE49-F238E27FC236}">
                <a16:creationId xmlns:a16="http://schemas.microsoft.com/office/drawing/2014/main" id="{A926C632-F1D7-7BB1-FFA3-D00A89B52837}"/>
              </a:ext>
            </a:extLst>
          </p:cNvPr>
          <p:cNvSpPr>
            <a:spLocks noGrp="1"/>
          </p:cNvSpPr>
          <p:nvPr>
            <p:ph type="pic" sz="quarter" idx="14" hasCustomPrompt="1"/>
          </p:nvPr>
        </p:nvSpPr>
        <p:spPr>
          <a:xfrm>
            <a:off x="6813444" y="1198800"/>
            <a:ext cx="5040000" cy="5040000"/>
          </a:xfrm>
          <a:prstGeom prst="ellipse">
            <a:avLst/>
          </a:prstGeom>
        </p:spPr>
        <p:txBody>
          <a:bodyPr/>
          <a:lstStyle>
            <a:lvl1pPr algn="ctr">
              <a:buNone/>
              <a:defRPr b="0" i="0">
                <a:solidFill>
                  <a:srgbClr val="1C67AF"/>
                </a:solidFill>
                <a:latin typeface="+mn-lt"/>
                <a:cs typeface="Arial" panose="020B0604020202020204" pitchFamily="34" charset="0"/>
              </a:defRPr>
            </a:lvl1pPr>
          </a:lstStyle>
          <a:p>
            <a:r>
              <a:rPr lang="en-US" noProof="0"/>
              <a:t>Add a picture here</a:t>
            </a:r>
          </a:p>
        </p:txBody>
      </p:sp>
    </p:spTree>
    <p:extLst>
      <p:ext uri="{BB962C8B-B14F-4D97-AF65-F5344CB8AC3E}">
        <p14:creationId xmlns:p14="http://schemas.microsoft.com/office/powerpoint/2010/main" val="3354596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1_Title Slide_Dark">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65426" y="1103215"/>
            <a:ext cx="6722148" cy="2242079"/>
          </a:xfrm>
        </p:spPr>
        <p:txBody>
          <a:bodyPr anchor="b">
            <a:normAutofit/>
          </a:bodyPr>
          <a:lstStyle>
            <a:lvl1pPr algn="l">
              <a:defRPr sz="3600">
                <a:solidFill>
                  <a:schemeClr val="accent6"/>
                </a:solidFill>
                <a:latin typeface="+mj-lt"/>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65426" y="3437369"/>
            <a:ext cx="5761567" cy="1283999"/>
          </a:xfrm>
        </p:spPr>
        <p:txBody>
          <a:bodyPr>
            <a:normAutofit/>
          </a:bodyPr>
          <a:lstStyle>
            <a:lvl1pPr marL="0" indent="0" algn="l">
              <a:buNone/>
              <a:defRPr sz="2000">
                <a:solidFill>
                  <a:schemeClr val="accent6"/>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Oval 9">
            <a:extLst>
              <a:ext uri="{FF2B5EF4-FFF2-40B4-BE49-F238E27FC236}">
                <a16:creationId xmlns:a16="http://schemas.microsoft.com/office/drawing/2014/main" id="{DCD6D046-9E8A-417B-B758-A6E20A0FE31C}"/>
              </a:ext>
            </a:extLst>
          </p:cNvPr>
          <p:cNvSpPr/>
          <p:nvPr userDrawn="1"/>
        </p:nvSpPr>
        <p:spPr bwMode="auto">
          <a:xfrm>
            <a:off x="6787133" y="5399389"/>
            <a:ext cx="547941" cy="547483"/>
          </a:xfrm>
          <a:prstGeom prst="ellipse">
            <a:avLst/>
          </a:pr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mn-lt"/>
              <a:cs typeface="Arial" panose="020B0604020202020204" pitchFamily="34" charset="0"/>
            </a:endParaRPr>
          </a:p>
        </p:txBody>
      </p:sp>
      <p:sp>
        <p:nvSpPr>
          <p:cNvPr id="11" name="Freeform 8">
            <a:extLst>
              <a:ext uri="{FF2B5EF4-FFF2-40B4-BE49-F238E27FC236}">
                <a16:creationId xmlns:a16="http://schemas.microsoft.com/office/drawing/2014/main" id="{977530C5-2DE6-44CA-8A8F-019E4D7C204F}"/>
              </a:ext>
            </a:extLst>
          </p:cNvPr>
          <p:cNvSpPr/>
          <p:nvPr userDrawn="1"/>
        </p:nvSpPr>
        <p:spPr bwMode="auto">
          <a:xfrm>
            <a:off x="5929176" y="5949896"/>
            <a:ext cx="1802643" cy="908104"/>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mn-lt"/>
              <a:cs typeface="Arial" panose="020B0604020202020204" pitchFamily="34" charset="0"/>
            </a:endParaRPr>
          </a:p>
        </p:txBody>
      </p:sp>
      <p:sp>
        <p:nvSpPr>
          <p:cNvPr id="12" name="Freeform 10">
            <a:extLst>
              <a:ext uri="{FF2B5EF4-FFF2-40B4-BE49-F238E27FC236}">
                <a16:creationId xmlns:a16="http://schemas.microsoft.com/office/drawing/2014/main" id="{CBDF7E11-8F3D-4306-A7C9-3CBBFA98620F}"/>
              </a:ext>
            </a:extLst>
          </p:cNvPr>
          <p:cNvSpPr/>
          <p:nvPr userDrawn="1"/>
        </p:nvSpPr>
        <p:spPr bwMode="auto">
          <a:xfrm rot="7933215">
            <a:off x="6018217" y="4998607"/>
            <a:ext cx="1201179" cy="604951"/>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mn-lt"/>
              <a:cs typeface="Arial" panose="020B0604020202020204" pitchFamily="34" charset="0"/>
            </a:endParaRPr>
          </a:p>
        </p:txBody>
      </p:sp>
      <p:sp>
        <p:nvSpPr>
          <p:cNvPr id="22" name="Picture Placeholder 2">
            <a:extLst>
              <a:ext uri="{FF2B5EF4-FFF2-40B4-BE49-F238E27FC236}">
                <a16:creationId xmlns:a16="http://schemas.microsoft.com/office/drawing/2014/main" id="{8C38856E-DF0D-49BD-A0AF-37F515F1D5FF}"/>
              </a:ext>
            </a:extLst>
          </p:cNvPr>
          <p:cNvSpPr>
            <a:spLocks noGrp="1"/>
          </p:cNvSpPr>
          <p:nvPr>
            <p:ph type="pic" sz="quarter" idx="13" hasCustomPrompt="1"/>
          </p:nvPr>
        </p:nvSpPr>
        <p:spPr>
          <a:xfrm>
            <a:off x="7145996" y="1810817"/>
            <a:ext cx="5040000" cy="5040000"/>
          </a:xfrm>
          <a:prstGeom prst="ellipse">
            <a:avLst/>
          </a:prstGeom>
        </p:spPr>
        <p:txBody>
          <a:bodyPr/>
          <a:lstStyle>
            <a:lvl1pPr algn="ctr">
              <a:buNone/>
              <a:defRPr b="0" i="0">
                <a:solidFill>
                  <a:schemeClr val="accent6"/>
                </a:solidFill>
                <a:latin typeface="+mn-lt"/>
                <a:cs typeface="Arial" panose="020B0604020202020204" pitchFamily="34" charset="0"/>
              </a:defRPr>
            </a:lvl1pPr>
          </a:lstStyle>
          <a:p>
            <a:r>
              <a:rPr lang="en-US" noProof="0"/>
              <a:t>Add a picture here</a:t>
            </a:r>
          </a:p>
        </p:txBody>
      </p:sp>
      <p:sp>
        <p:nvSpPr>
          <p:cNvPr id="20" name="Date Name Organization">
            <a:extLst>
              <a:ext uri="{FF2B5EF4-FFF2-40B4-BE49-F238E27FC236}">
                <a16:creationId xmlns:a16="http://schemas.microsoft.com/office/drawing/2014/main" id="{B679C166-F3F4-4469-BDA4-0521529C846E}"/>
              </a:ext>
            </a:extLst>
          </p:cNvPr>
          <p:cNvSpPr>
            <a:spLocks noGrp="1"/>
          </p:cNvSpPr>
          <p:nvPr>
            <p:ph type="body" sz="quarter" idx="14" hasCustomPrompt="1"/>
          </p:nvPr>
        </p:nvSpPr>
        <p:spPr>
          <a:xfrm>
            <a:off x="265425" y="4913252"/>
            <a:ext cx="5251984" cy="1056000"/>
          </a:xfrm>
        </p:spPr>
        <p:txBody>
          <a:bodyPr anchor="b"/>
          <a:lstStyle>
            <a:lvl1pPr marL="0" indent="0">
              <a:spcAft>
                <a:spcPts val="133"/>
              </a:spcAft>
              <a:buNone/>
              <a:defRPr sz="1200">
                <a:solidFill>
                  <a:schemeClr val="accent6"/>
                </a:solidFill>
                <a:latin typeface="+mn-lt"/>
                <a:cs typeface="Arial" panose="020B0604020202020204" pitchFamily="34" charset="0"/>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Date]</a:t>
            </a:r>
            <a:br>
              <a:rPr lang="en-US"/>
            </a:br>
            <a:r>
              <a:rPr lang="en-US"/>
              <a:t>[Name of moderator]</a:t>
            </a:r>
            <a:br>
              <a:rPr lang="en-US"/>
            </a:br>
            <a:r>
              <a:rPr lang="en-US"/>
              <a:t>[Organizational Unit]</a:t>
            </a:r>
          </a:p>
        </p:txBody>
      </p:sp>
      <p:sp>
        <p:nvSpPr>
          <p:cNvPr id="23" name="TextBox 22">
            <a:extLst>
              <a:ext uri="{FF2B5EF4-FFF2-40B4-BE49-F238E27FC236}">
                <a16:creationId xmlns:a16="http://schemas.microsoft.com/office/drawing/2014/main" id="{F693D7AA-4B02-44F3-849A-D51D7F7A9CD0}"/>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mn-lt"/>
                <a:cs typeface="Arial" panose="020B0604020202020204" pitchFamily="34" charset="0"/>
              </a:rPr>
              <a:t>© Zurich</a:t>
            </a:r>
          </a:p>
        </p:txBody>
      </p:sp>
      <p:pic>
        <p:nvPicPr>
          <p:cNvPr id="14" name="ZRS Logo Horozontal">
            <a:extLst>
              <a:ext uri="{FF2B5EF4-FFF2-40B4-BE49-F238E27FC236}">
                <a16:creationId xmlns:a16="http://schemas.microsoft.com/office/drawing/2014/main" id="{E169DFED-E3C1-418D-9AA4-29D44878FE8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016" y="325479"/>
            <a:ext cx="1501200" cy="498456"/>
          </a:xfrm>
          <a:prstGeom prst="rect">
            <a:avLst/>
          </a:prstGeom>
        </p:spPr>
      </p:pic>
    </p:spTree>
    <p:extLst>
      <p:ext uri="{BB962C8B-B14F-4D97-AF65-F5344CB8AC3E}">
        <p14:creationId xmlns:p14="http://schemas.microsoft.com/office/powerpoint/2010/main" val="203218930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59451" y="1205994"/>
            <a:ext cx="11669024" cy="5040145"/>
          </a:xfrm>
        </p:spPr>
        <p:txBody>
          <a:bodyPr/>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9FBF581-E754-574B-A309-6F2FB382E481}"/>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en-US"/>
              <a:t>Click to edit Master title style</a:t>
            </a:r>
          </a:p>
        </p:txBody>
      </p:sp>
      <p:sp>
        <p:nvSpPr>
          <p:cNvPr id="22" name="Subtitle 2">
            <a:extLst>
              <a:ext uri="{FF2B5EF4-FFF2-40B4-BE49-F238E27FC236}">
                <a16:creationId xmlns:a16="http://schemas.microsoft.com/office/drawing/2014/main" id="{60580A64-4AC1-D547-A7C8-FF2A5434D2C5}"/>
              </a:ext>
            </a:extLst>
          </p:cNvPr>
          <p:cNvSpPr>
            <a:spLocks noGrp="1"/>
          </p:cNvSpPr>
          <p:nvPr>
            <p:ph type="subTitle" idx="13"/>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US"/>
              <a:t>Click to edit Master subtitle style</a:t>
            </a:r>
            <a:endParaRPr lang="en-GB" noProof="0"/>
          </a:p>
        </p:txBody>
      </p:sp>
      <p:sp>
        <p:nvSpPr>
          <p:cNvPr id="18" name="Slide Number Placeholder 5">
            <a:extLst>
              <a:ext uri="{FF2B5EF4-FFF2-40B4-BE49-F238E27FC236}">
                <a16:creationId xmlns:a16="http://schemas.microsoft.com/office/drawing/2014/main" id="{9DEE29F2-F280-4686-A9A8-3959443731C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19" name="ZRS Logo Horozontal">
            <a:extLst>
              <a:ext uri="{FF2B5EF4-FFF2-40B4-BE49-F238E27FC236}">
                <a16:creationId xmlns:a16="http://schemas.microsoft.com/office/drawing/2014/main" id="{22B5E1A2-EB83-48AE-BF13-41D1919E04B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7446" y="325479"/>
            <a:ext cx="1501200" cy="498456"/>
          </a:xfrm>
          <a:prstGeom prst="rect">
            <a:avLst/>
          </a:prstGeom>
        </p:spPr>
      </p:pic>
    </p:spTree>
    <p:extLst>
      <p:ext uri="{BB962C8B-B14F-4D97-AF65-F5344CB8AC3E}">
        <p14:creationId xmlns:p14="http://schemas.microsoft.com/office/powerpoint/2010/main" val="118575456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loured strip">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8E1D4BF-D1DB-2813-E8E2-D3C3F5B7EEC5}"/>
              </a:ext>
            </a:extLst>
          </p:cNvPr>
          <p:cNvGraphicFramePr>
            <a:graphicFrameLocks noChangeAspect="1"/>
          </p:cNvGraphicFramePr>
          <p:nvPr userDrawn="1">
            <p:custDataLst>
              <p:tags r:id="rId1"/>
            </p:custDataLst>
            <p:extLst>
              <p:ext uri="{D42A27DB-BD31-4B8C-83A1-F6EECF244321}">
                <p14:modId xmlns:p14="http://schemas.microsoft.com/office/powerpoint/2010/main" val="2374270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D8E1D4BF-D1DB-2813-E8E2-D3C3F5B7EE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Shape 10">
            <a:extLst>
              <a:ext uri="{FF2B5EF4-FFF2-40B4-BE49-F238E27FC236}">
                <a16:creationId xmlns:a16="http://schemas.microsoft.com/office/drawing/2014/main" id="{BB388155-E7BC-4C61-A6E5-624C68BA3BCC}"/>
              </a:ext>
            </a:extLst>
          </p:cNvPr>
          <p:cNvSpPr/>
          <p:nvPr userDrawn="1"/>
        </p:nvSpPr>
        <p:spPr>
          <a:xfrm>
            <a:off x="0" y="0"/>
            <a:ext cx="12192000" cy="6858000"/>
          </a:xfrm>
          <a:custGeom>
            <a:avLst/>
            <a:gdLst>
              <a:gd name="connsiteX0" fmla="*/ 0 w 12192000"/>
              <a:gd name="connsiteY0" fmla="*/ 6237288 h 6858000"/>
              <a:gd name="connsiteX1" fmla="*/ 12192000 w 12192000"/>
              <a:gd name="connsiteY1" fmla="*/ 6237288 h 6858000"/>
              <a:gd name="connsiteX2" fmla="*/ 12192000 w 12192000"/>
              <a:gd name="connsiteY2" fmla="*/ 6858000 h 6858000"/>
              <a:gd name="connsiteX3" fmla="*/ 0 w 12192000"/>
              <a:gd name="connsiteY3" fmla="*/ 6858000 h 6858000"/>
              <a:gd name="connsiteX4" fmla="*/ 0 w 12192000"/>
              <a:gd name="connsiteY4" fmla="*/ 0 h 6858000"/>
              <a:gd name="connsiteX5" fmla="*/ 12192000 w 12192000"/>
              <a:gd name="connsiteY5" fmla="*/ 0 h 6858000"/>
              <a:gd name="connsiteX6" fmla="*/ 12192000 w 12192000"/>
              <a:gd name="connsiteY6" fmla="*/ 1196975 h 6858000"/>
              <a:gd name="connsiteX7" fmla="*/ 0 w 12192000"/>
              <a:gd name="connsiteY7" fmla="*/ 11969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6237288"/>
                </a:moveTo>
                <a:lnTo>
                  <a:pt x="12192000" y="6237288"/>
                </a:lnTo>
                <a:lnTo>
                  <a:pt x="12192000" y="6858000"/>
                </a:lnTo>
                <a:lnTo>
                  <a:pt x="0" y="6858000"/>
                </a:lnTo>
                <a:close/>
                <a:moveTo>
                  <a:pt x="0" y="0"/>
                </a:moveTo>
                <a:lnTo>
                  <a:pt x="12192000" y="0"/>
                </a:lnTo>
                <a:lnTo>
                  <a:pt x="12192000" y="1196975"/>
                </a:lnTo>
                <a:lnTo>
                  <a:pt x="0" y="119697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a:endParaRPr lang="de-DE" sz="1000"/>
          </a:p>
        </p:txBody>
      </p:sp>
      <p:sp>
        <p:nvSpPr>
          <p:cNvPr id="20" name="Title 1">
            <a:extLst>
              <a:ext uri="{FF2B5EF4-FFF2-40B4-BE49-F238E27FC236}">
                <a16:creationId xmlns:a16="http://schemas.microsoft.com/office/drawing/2014/main" id="{6E310D89-47FE-194B-8632-078ED6BD782F}"/>
              </a:ext>
            </a:extLst>
          </p:cNvPr>
          <p:cNvSpPr>
            <a:spLocks noGrp="1"/>
          </p:cNvSpPr>
          <p:nvPr>
            <p:ph type="title" hasCustomPrompt="1"/>
          </p:nvPr>
        </p:nvSpPr>
        <p:spPr>
          <a:xfrm>
            <a:off x="334963" y="260268"/>
            <a:ext cx="9504111" cy="332399"/>
          </a:xfrm>
        </p:spPr>
        <p:txBody>
          <a:bodyPr vert="horz" wrap="square">
            <a:spAutoFit/>
          </a:bodyPr>
          <a:lstStyle>
            <a:lvl1pPr rtl="0">
              <a:defRPr>
                <a:latin typeface="+mj-lt"/>
                <a:cs typeface="Arial" panose="020B0604020202020204" pitchFamily="34" charset="0"/>
              </a:defRPr>
            </a:lvl1pPr>
          </a:lstStyle>
          <a:p>
            <a:r>
              <a:rPr lang="de-DE"/>
              <a:t>Click to edit Master title style</a:t>
            </a:r>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hasCustomPrompt="1"/>
          </p:nvPr>
        </p:nvSpPr>
        <p:spPr>
          <a:xfrm>
            <a:off x="334962" y="610597"/>
            <a:ext cx="9504111" cy="332399"/>
          </a:xfrm>
          <a:prstGeom prst="rect">
            <a:avLst/>
          </a:prstGeom>
        </p:spPr>
        <p:txBody>
          <a:bodyPr anchor="t">
            <a:normAutofit/>
          </a:bodyPr>
          <a:lstStyle>
            <a:lvl1pPr marL="0" indent="0" algn="l" rtl="0">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Click to edit Master subtitle style</a:t>
            </a:r>
            <a:endParaRPr lang="de-DE" noProof="0"/>
          </a:p>
        </p:txBody>
      </p:sp>
      <p:sp>
        <p:nvSpPr>
          <p:cNvPr id="33" name="Slide Number Placeholder 5">
            <a:extLst>
              <a:ext uri="{FF2B5EF4-FFF2-40B4-BE49-F238E27FC236}">
                <a16:creationId xmlns:a16="http://schemas.microsoft.com/office/drawing/2014/main" id="{714EC8C7-A133-478F-BF8B-66FEF67BC793}"/>
              </a:ext>
            </a:extLst>
          </p:cNvPr>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35" name="Footer Placeholder 3">
            <a:extLst>
              <a:ext uri="{FF2B5EF4-FFF2-40B4-BE49-F238E27FC236}">
                <a16:creationId xmlns:a16="http://schemas.microsoft.com/office/drawing/2014/main" id="{E5C41A63-DFB8-45B3-BA91-86A5B9928FC9}"/>
              </a:ext>
            </a:extLst>
          </p:cNvPr>
          <p:cNvSpPr>
            <a:spLocks noGrp="1"/>
          </p:cNvSpPr>
          <p:nvPr>
            <p:ph type="ftr" sz="quarter" idx="3"/>
          </p:nvPr>
        </p:nvSpPr>
        <p:spPr>
          <a:xfrm>
            <a:off x="2261053" y="6531715"/>
            <a:ext cx="8112000" cy="181960"/>
          </a:xfrm>
          <a:prstGeom prst="rect">
            <a:avLst/>
          </a:prstGeom>
        </p:spPr>
        <p:txBody>
          <a:bodyPr lIns="0" tIns="0" rIns="0" bIns="0"/>
          <a:lstStyle>
            <a:lvl1pPr algn="r" rtl="0">
              <a:defRPr sz="900">
                <a:solidFill>
                  <a:schemeClr val="accent1"/>
                </a:solidFill>
                <a:latin typeface="+mn-lt"/>
                <a:cs typeface="Arial" panose="020B0604020202020204" pitchFamily="34" charset="0"/>
              </a:defRPr>
            </a:lvl1pPr>
          </a:lstStyle>
          <a:p>
            <a:endParaRPr lang="de-DE"/>
          </a:p>
        </p:txBody>
      </p:sp>
      <p:sp>
        <p:nvSpPr>
          <p:cNvPr id="28" name="TextBox 27">
            <a:extLst>
              <a:ext uri="{FF2B5EF4-FFF2-40B4-BE49-F238E27FC236}">
                <a16:creationId xmlns:a16="http://schemas.microsoft.com/office/drawing/2014/main" id="{78FFDE00-DCA2-450F-83CF-D94DBA4AC31B}"/>
              </a:ext>
            </a:extLst>
          </p:cNvPr>
          <p:cNvSpPr txBox="1"/>
          <p:nvPr userDrawn="1"/>
        </p:nvSpPr>
        <p:spPr>
          <a:xfrm>
            <a:off x="11158230" y="6531715"/>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rtl="0"/>
            <a:r>
              <a:rPr lang="de-DE" sz="900">
                <a:latin typeface="+mn-lt"/>
                <a:cs typeface="Arial" panose="020B0604020202020204" pitchFamily="34" charset="0"/>
              </a:rPr>
              <a:t>© Zurich</a:t>
            </a:r>
          </a:p>
        </p:txBody>
      </p:sp>
      <p:pic>
        <p:nvPicPr>
          <p:cNvPr id="29" name="Graphic 28">
            <a:extLst>
              <a:ext uri="{FF2B5EF4-FFF2-40B4-BE49-F238E27FC236}">
                <a16:creationId xmlns:a16="http://schemas.microsoft.com/office/drawing/2014/main" id="{47B201F3-A055-4579-B356-2C1722BA5F0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353690" y="306000"/>
            <a:ext cx="1500250" cy="498141"/>
          </a:xfrm>
          <a:prstGeom prst="rect">
            <a:avLst/>
          </a:prstGeom>
        </p:spPr>
      </p:pic>
    </p:spTree>
    <p:extLst>
      <p:ext uri="{BB962C8B-B14F-4D97-AF65-F5344CB8AC3E}">
        <p14:creationId xmlns:p14="http://schemas.microsoft.com/office/powerpoint/2010/main" val="4068185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47835D-75EC-A62D-9B61-8A2BCD111B16}"/>
              </a:ext>
            </a:extLst>
          </p:cNvPr>
          <p:cNvGraphicFramePr>
            <a:graphicFrameLocks noChangeAspect="1"/>
          </p:cNvGraphicFramePr>
          <p:nvPr userDrawn="1">
            <p:custDataLst>
              <p:tags r:id="rId1"/>
            </p:custDataLst>
            <p:extLst>
              <p:ext uri="{D42A27DB-BD31-4B8C-83A1-F6EECF244321}">
                <p14:modId xmlns:p14="http://schemas.microsoft.com/office/powerpoint/2010/main" val="1582984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think-cell data - do not delete" hidden="1">
                        <a:extLst>
                          <a:ext uri="{FF2B5EF4-FFF2-40B4-BE49-F238E27FC236}">
                            <a16:creationId xmlns:a16="http://schemas.microsoft.com/office/drawing/2014/main" id="{3147835D-75EC-A62D-9B61-8A2BCD111B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9979B0B5-DCB0-844D-8724-1DB31C8A8C0B}"/>
              </a:ext>
            </a:extLst>
          </p:cNvPr>
          <p:cNvSpPr>
            <a:spLocks noGrp="1"/>
          </p:cNvSpPr>
          <p:nvPr>
            <p:ph type="title" hasCustomPrompt="1"/>
          </p:nvPr>
        </p:nvSpPr>
        <p:spPr>
          <a:xfrm>
            <a:off x="407988" y="260268"/>
            <a:ext cx="9418320" cy="332399"/>
          </a:xfrm>
        </p:spPr>
        <p:txBody>
          <a:bodyPr vert="horz">
            <a:spAutoFit/>
          </a:bodyPr>
          <a:lstStyle>
            <a:lvl1pPr>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28" name="Slide Number Placeholder 5">
            <a:extLst>
              <a:ext uri="{FF2B5EF4-FFF2-40B4-BE49-F238E27FC236}">
                <a16:creationId xmlns:a16="http://schemas.microsoft.com/office/drawing/2014/main" id="{54613BA4-3F37-477A-9F83-816FFC37569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sp>
        <p:nvSpPr>
          <p:cNvPr id="30" name="Footer Placeholder 3">
            <a:extLst>
              <a:ext uri="{FF2B5EF4-FFF2-40B4-BE49-F238E27FC236}">
                <a16:creationId xmlns:a16="http://schemas.microsoft.com/office/drawing/2014/main" id="{3866945B-F4D3-4972-8A47-C02C9E2AC957}"/>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endParaRPr lang="en-US"/>
          </a:p>
        </p:txBody>
      </p:sp>
      <p:pic>
        <p:nvPicPr>
          <p:cNvPr id="2" name="ZRS Logo Horozontal">
            <a:extLst>
              <a:ext uri="{FF2B5EF4-FFF2-40B4-BE49-F238E27FC236}">
                <a16:creationId xmlns:a16="http://schemas.microsoft.com/office/drawing/2014/main" id="{E596DD75-5364-10E9-B4FC-6AC8DEA13895}"/>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416168913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ontent_one box">
    <p:bg>
      <p:bgPr>
        <a:solidFill>
          <a:srgbClr val="FFFFFF"/>
        </a:solidFill>
        <a:effectLst/>
      </p:bgPr>
    </p:bg>
    <p:spTree>
      <p:nvGrpSpPr>
        <p:cNvPr id="1" name=""/>
        <p:cNvGrpSpPr/>
        <p:nvPr/>
      </p:nvGrpSpPr>
      <p:grpSpPr>
        <a:xfrm>
          <a:off x="0" y="0"/>
          <a:ext cx="0" cy="0"/>
          <a:chOff x="0" y="0"/>
          <a:chExt cx="0" cy="0"/>
        </a:xfrm>
      </p:grpSpPr>
      <p:sp>
        <p:nvSpPr>
          <p:cNvPr id="15" name="Subtitle 2">
            <a:extLst>
              <a:ext uri="{FF2B5EF4-FFF2-40B4-BE49-F238E27FC236}">
                <a16:creationId xmlns:a16="http://schemas.microsoft.com/office/drawing/2014/main" id="{EBEC7CCE-A39D-4C41-B1AA-B285B26D9952}"/>
              </a:ext>
            </a:extLst>
          </p:cNvPr>
          <p:cNvSpPr>
            <a:spLocks noGrp="1"/>
          </p:cNvSpPr>
          <p:nvPr>
            <p:ph type="subTitle" idx="13" hasCustomPrompt="1"/>
          </p:nvPr>
        </p:nvSpPr>
        <p:spPr>
          <a:xfrm>
            <a:off x="334434" y="718071"/>
            <a:ext cx="8189383" cy="255596"/>
          </a:xfrm>
          <a:prstGeom prst="rect">
            <a:avLst/>
          </a:prstGeom>
        </p:spPr>
        <p:txBody>
          <a:bodyPr anchor="t">
            <a:noAutofit/>
          </a:bodyPr>
          <a:lstStyle>
            <a:lvl1pPr marL="0" indent="0" algn="l">
              <a:buNone/>
              <a:defRPr sz="1600" b="0" i="0">
                <a:solidFill>
                  <a:srgbClr val="2167AE"/>
                </a:solidFill>
                <a:latin typeface="Zurich Sans Light" panose="02000000000000000000" pitchFamily="2" charset="0"/>
                <a:cs typeface="Arial" panose="020B0604020202020204" pitchFamily="34" charset="0"/>
              </a:defRPr>
            </a:lvl1pPr>
            <a:lvl2pPr marL="457127" indent="0" algn="ctr">
              <a:buNone/>
              <a:defRPr>
                <a:solidFill>
                  <a:schemeClr val="tx1">
                    <a:tint val="75000"/>
                  </a:schemeClr>
                </a:solidFill>
              </a:defRPr>
            </a:lvl2pPr>
            <a:lvl3pPr marL="914256" indent="0" algn="ctr">
              <a:buNone/>
              <a:defRPr>
                <a:solidFill>
                  <a:schemeClr val="tx1">
                    <a:tint val="75000"/>
                  </a:schemeClr>
                </a:solidFill>
              </a:defRPr>
            </a:lvl3pPr>
            <a:lvl4pPr marL="1371383" indent="0" algn="ctr">
              <a:buNone/>
              <a:defRPr>
                <a:solidFill>
                  <a:schemeClr val="tx1">
                    <a:tint val="75000"/>
                  </a:schemeClr>
                </a:solidFill>
              </a:defRPr>
            </a:lvl4pPr>
            <a:lvl5pPr marL="1828510" indent="0" algn="ctr">
              <a:buNone/>
              <a:defRPr>
                <a:solidFill>
                  <a:schemeClr val="tx1">
                    <a:tint val="75000"/>
                  </a:schemeClr>
                </a:solidFill>
              </a:defRPr>
            </a:lvl5pPr>
            <a:lvl6pPr marL="2285638" indent="0" algn="ctr">
              <a:buNone/>
              <a:defRPr>
                <a:solidFill>
                  <a:schemeClr val="tx1">
                    <a:tint val="75000"/>
                  </a:schemeClr>
                </a:solidFill>
              </a:defRPr>
            </a:lvl6pPr>
            <a:lvl7pPr marL="2742766" indent="0" algn="ctr">
              <a:buNone/>
              <a:defRPr>
                <a:solidFill>
                  <a:schemeClr val="tx1">
                    <a:tint val="75000"/>
                  </a:schemeClr>
                </a:solidFill>
              </a:defRPr>
            </a:lvl7pPr>
            <a:lvl8pPr marL="3199893" indent="0" algn="ctr">
              <a:buNone/>
              <a:defRPr>
                <a:solidFill>
                  <a:schemeClr val="tx1">
                    <a:tint val="75000"/>
                  </a:schemeClr>
                </a:solidFill>
              </a:defRPr>
            </a:lvl8pPr>
            <a:lvl9pPr marL="3657021" indent="0" algn="ctr">
              <a:buNone/>
              <a:defRPr>
                <a:solidFill>
                  <a:schemeClr val="tx1">
                    <a:tint val="75000"/>
                  </a:schemeClr>
                </a:solidFill>
              </a:defRPr>
            </a:lvl9pPr>
          </a:lstStyle>
          <a:p>
            <a:r>
              <a:rPr lang="en-GB" noProof="0"/>
              <a:t>Subtitle goes here</a:t>
            </a:r>
          </a:p>
        </p:txBody>
      </p:sp>
      <p:sp>
        <p:nvSpPr>
          <p:cNvPr id="5" name="Title 4">
            <a:extLst>
              <a:ext uri="{FF2B5EF4-FFF2-40B4-BE49-F238E27FC236}">
                <a16:creationId xmlns:a16="http://schemas.microsoft.com/office/drawing/2014/main" id="{47736004-DEE1-EA44-A367-43336F87EDA5}"/>
              </a:ext>
            </a:extLst>
          </p:cNvPr>
          <p:cNvSpPr>
            <a:spLocks noGrp="1"/>
          </p:cNvSpPr>
          <p:nvPr>
            <p:ph type="title" hasCustomPrompt="1"/>
          </p:nvPr>
        </p:nvSpPr>
        <p:spPr>
          <a:xfrm>
            <a:off x="334434" y="325967"/>
            <a:ext cx="8189383" cy="392104"/>
          </a:xfrm>
          <a:prstGeom prst="rect">
            <a:avLst/>
          </a:prstGeom>
        </p:spPr>
        <p:txBody>
          <a:bodyPr anchor="t">
            <a:normAutofit/>
          </a:bodyPr>
          <a:lstStyle>
            <a:lvl1pPr>
              <a:defRPr b="0" i="0">
                <a:solidFill>
                  <a:srgbClr val="2167AE"/>
                </a:solidFill>
              </a:defRPr>
            </a:lvl1pPr>
          </a:lstStyle>
          <a:p>
            <a:r>
              <a:rPr lang="en-GB" noProof="0"/>
              <a:t>Add title here</a:t>
            </a:r>
          </a:p>
        </p:txBody>
      </p:sp>
      <p:sp>
        <p:nvSpPr>
          <p:cNvPr id="2" name="Footer Placeholder 1">
            <a:extLst>
              <a:ext uri="{FF2B5EF4-FFF2-40B4-BE49-F238E27FC236}">
                <a16:creationId xmlns:a16="http://schemas.microsoft.com/office/drawing/2014/main" id="{910EC3A2-833D-B34A-8519-327DC26231F0}"/>
              </a:ext>
            </a:extLst>
          </p:cNvPr>
          <p:cNvSpPr>
            <a:spLocks noGrp="1"/>
          </p:cNvSpPr>
          <p:nvPr>
            <p:ph type="ftr" sz="quarter" idx="22"/>
          </p:nvPr>
        </p:nvSpPr>
        <p:spPr/>
        <p:txBody>
          <a:bodyPr/>
          <a:lstStyle>
            <a:lvl1pPr algn="r">
              <a:defRPr b="0" i="0">
                <a:solidFill>
                  <a:srgbClr val="2167AE"/>
                </a:solidFill>
              </a:defRPr>
            </a:lvl1pPr>
          </a:lstStyle>
          <a:p>
            <a:endParaRPr lang="en-GB"/>
          </a:p>
        </p:txBody>
      </p:sp>
      <p:sp>
        <p:nvSpPr>
          <p:cNvPr id="6" name="Slide Number Placeholder 5">
            <a:extLst>
              <a:ext uri="{FF2B5EF4-FFF2-40B4-BE49-F238E27FC236}">
                <a16:creationId xmlns:a16="http://schemas.microsoft.com/office/drawing/2014/main" id="{728A3554-0C44-3B47-BD3B-F8AF6A7272B3}"/>
              </a:ext>
            </a:extLst>
          </p:cNvPr>
          <p:cNvSpPr>
            <a:spLocks noGrp="1"/>
          </p:cNvSpPr>
          <p:nvPr>
            <p:ph type="sldNum" sz="quarter" idx="23"/>
          </p:nvPr>
        </p:nvSpPr>
        <p:spPr/>
        <p:txBody>
          <a:bodyPr/>
          <a:lstStyle>
            <a:lvl1pPr>
              <a:defRPr b="0" i="0">
                <a:solidFill>
                  <a:srgbClr val="2167AE"/>
                </a:solidFill>
              </a:defRPr>
            </a:lvl1pPr>
          </a:lstStyle>
          <a:p>
            <a:fld id="{D691331D-A62F-41F8-BAEC-0A7727B7C525}" type="slidenum">
              <a:rPr lang="en-GB" smtClean="0"/>
              <a:pPr/>
              <a:t>‹nr.›</a:t>
            </a:fld>
            <a:endParaRPr lang="en-GB"/>
          </a:p>
        </p:txBody>
      </p:sp>
      <p:pic>
        <p:nvPicPr>
          <p:cNvPr id="7" name="ZRS Logo Horozontal">
            <a:extLst>
              <a:ext uri="{FF2B5EF4-FFF2-40B4-BE49-F238E27FC236}">
                <a16:creationId xmlns:a16="http://schemas.microsoft.com/office/drawing/2014/main" id="{B06F7093-2F9D-4F03-BE39-7BE7D7573D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47447" y="325479"/>
            <a:ext cx="1501200" cy="498456"/>
          </a:xfrm>
          <a:prstGeom prst="rect">
            <a:avLst/>
          </a:prstGeom>
        </p:spPr>
      </p:pic>
    </p:spTree>
    <p:extLst>
      <p:ext uri="{BB962C8B-B14F-4D97-AF65-F5344CB8AC3E}">
        <p14:creationId xmlns:p14="http://schemas.microsoft.com/office/powerpoint/2010/main" val="322482336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3818" y="1430338"/>
            <a:ext cx="11381783" cy="4959663"/>
          </a:xfrm>
        </p:spPr>
        <p:txBody>
          <a:bodyPr/>
          <a:lstStyle>
            <a:lvl5pPr marL="1345897" indent="-271403">
              <a:buClr>
                <a:srgbClr val="000066"/>
              </a:buClr>
              <a:buSzPct val="100000"/>
              <a:buFont typeface="Frutiger 55 Roman" pitchFamily="34" charset="0"/>
              <a:buChar char="–"/>
              <a:defRPr/>
            </a:lvl5pPr>
            <a:lvl6pPr marL="1614126" indent="-285685">
              <a:spcBef>
                <a:spcPts val="0"/>
              </a:spcBef>
              <a:spcAft>
                <a:spcPts val="300"/>
              </a:spcAft>
              <a:buClr>
                <a:srgbClr val="000066"/>
              </a:buClr>
              <a:buSzPct val="100000"/>
              <a:buFont typeface="Frutiger 55 Roman" pitchFamily="34" charset="0"/>
              <a:buChar char="–"/>
              <a:defRPr/>
            </a:lvl6pPr>
            <a:lvl7pPr marL="1880765" indent="-285685">
              <a:spcBef>
                <a:spcPts val="0"/>
              </a:spcBef>
              <a:spcAft>
                <a:spcPts val="300"/>
              </a:spcAft>
              <a:buClr>
                <a:srgbClr val="000066"/>
              </a:buClr>
              <a:buSzPct val="100000"/>
              <a:buFont typeface="Frutiger 55 Roman" pitchFamily="34" charset="0"/>
              <a:buChar char="–"/>
              <a:defRPr/>
            </a:lvl7pPr>
            <a:lvl8pPr marL="2160102" indent="-285685">
              <a:spcBef>
                <a:spcPts val="0"/>
              </a:spcBef>
              <a:spcAft>
                <a:spcPts val="300"/>
              </a:spcAft>
              <a:buClr>
                <a:srgbClr val="000066"/>
              </a:buClr>
              <a:buSzPct val="100000"/>
              <a:buFont typeface="Frutiger 55 Roman" pitchFamily="34" charset="0"/>
              <a:buChar char="–"/>
              <a:defRPr/>
            </a:lvl8pPr>
            <a:lvl9pPr marL="2426742" indent="-285685">
              <a:spcBef>
                <a:spcPts val="0"/>
              </a:spcBef>
              <a:spcAft>
                <a:spcPts val="300"/>
              </a:spcAft>
              <a:buClr>
                <a:srgbClr val="000066"/>
              </a:buClr>
              <a:buSzPct val="100000"/>
              <a:buFont typeface="Frutiger 55 Roman" pitchFamily="34" charset="0"/>
              <a:buChar cha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Subtitle 2"/>
          <p:cNvSpPr>
            <a:spLocks noGrp="1"/>
          </p:cNvSpPr>
          <p:nvPr>
            <p:ph type="subTitle" idx="13"/>
          </p:nvPr>
        </p:nvSpPr>
        <p:spPr>
          <a:xfrm>
            <a:off x="403148" y="689656"/>
            <a:ext cx="10208272" cy="396000"/>
          </a:xfrm>
        </p:spPr>
        <p:txBody>
          <a:bodyPr/>
          <a:lstStyle>
            <a:lvl1pPr marL="0" indent="0" algn="l">
              <a:buNone/>
              <a:defRPr sz="2000">
                <a:solidFill>
                  <a:schemeClr val="tx1"/>
                </a:solidFill>
              </a:defRPr>
            </a:lvl1pPr>
            <a:lvl2pPr marL="457097" indent="0" algn="ctr">
              <a:buNone/>
              <a:defRPr>
                <a:solidFill>
                  <a:schemeClr val="tx1">
                    <a:tint val="75000"/>
                  </a:schemeClr>
                </a:solidFill>
              </a:defRPr>
            </a:lvl2pPr>
            <a:lvl3pPr marL="914196" indent="0" algn="ctr">
              <a:buNone/>
              <a:defRPr>
                <a:solidFill>
                  <a:schemeClr val="tx1">
                    <a:tint val="75000"/>
                  </a:schemeClr>
                </a:solidFill>
              </a:defRPr>
            </a:lvl3pPr>
            <a:lvl4pPr marL="1371292" indent="0" algn="ctr">
              <a:buNone/>
              <a:defRPr>
                <a:solidFill>
                  <a:schemeClr val="tx1">
                    <a:tint val="75000"/>
                  </a:schemeClr>
                </a:solidFill>
              </a:defRPr>
            </a:lvl4pPr>
            <a:lvl5pPr marL="1828389" indent="0" algn="ctr">
              <a:buNone/>
              <a:defRPr>
                <a:solidFill>
                  <a:schemeClr val="tx1">
                    <a:tint val="75000"/>
                  </a:schemeClr>
                </a:solidFill>
              </a:defRPr>
            </a:lvl5pPr>
            <a:lvl6pPr marL="2285486" indent="0" algn="ctr">
              <a:buNone/>
              <a:defRPr>
                <a:solidFill>
                  <a:schemeClr val="tx1">
                    <a:tint val="75000"/>
                  </a:schemeClr>
                </a:solidFill>
              </a:defRPr>
            </a:lvl6pPr>
            <a:lvl7pPr marL="2742583" indent="0" algn="ctr">
              <a:buNone/>
              <a:defRPr>
                <a:solidFill>
                  <a:schemeClr val="tx1">
                    <a:tint val="75000"/>
                  </a:schemeClr>
                </a:solidFill>
              </a:defRPr>
            </a:lvl7pPr>
            <a:lvl8pPr marL="3199680" indent="0" algn="ctr">
              <a:buNone/>
              <a:defRPr>
                <a:solidFill>
                  <a:schemeClr val="tx1">
                    <a:tint val="75000"/>
                  </a:schemeClr>
                </a:solidFill>
              </a:defRPr>
            </a:lvl8pPr>
            <a:lvl9pPr marL="3656777" indent="0" algn="ctr">
              <a:buNone/>
              <a:defRPr>
                <a:solidFill>
                  <a:schemeClr val="tx1">
                    <a:tint val="75000"/>
                  </a:schemeClr>
                </a:solidFill>
              </a:defRPr>
            </a:lvl9pPr>
          </a:lstStyle>
          <a:p>
            <a:r>
              <a:rPr lang="en-US"/>
              <a:t>Click to edit Master subtitle style</a:t>
            </a:r>
          </a:p>
        </p:txBody>
      </p:sp>
      <p:sp>
        <p:nvSpPr>
          <p:cNvPr id="7" name="Title 6"/>
          <p:cNvSpPr>
            <a:spLocks noGrp="1"/>
          </p:cNvSpPr>
          <p:nvPr>
            <p:ph type="title"/>
          </p:nvPr>
        </p:nvSpPr>
        <p:spPr/>
        <p:txBody>
          <a:bodyPr/>
          <a:lstStyle/>
          <a:p>
            <a:r>
              <a:rPr lang="en-US"/>
              <a:t>Click to edit Master title style</a:t>
            </a:r>
          </a:p>
        </p:txBody>
      </p:sp>
      <p:sp>
        <p:nvSpPr>
          <p:cNvPr id="2" name="Date Placeholder 1"/>
          <p:cNvSpPr>
            <a:spLocks noGrp="1"/>
          </p:cNvSpPr>
          <p:nvPr>
            <p:ph type="dt" sz="half" idx="14"/>
          </p:nvPr>
        </p:nvSpPr>
        <p:spPr>
          <a:xfrm>
            <a:off x="403149" y="6566401"/>
            <a:ext cx="1079859" cy="151200"/>
          </a:xfrm>
          <a:prstGeom prst="rect">
            <a:avLst/>
          </a:prstGeom>
        </p:spPr>
        <p:txBody>
          <a:bodyPr anchor="t"/>
          <a:lstStyle>
            <a:lvl1pPr>
              <a:defRPr b="0">
                <a:solidFill>
                  <a:srgbClr val="000066"/>
                </a:solidFill>
              </a:defRPr>
            </a:lvl1pPr>
          </a:lstStyle>
          <a:p>
            <a:endParaRPr lang="en-US"/>
          </a:p>
        </p:txBody>
      </p:sp>
      <p:sp>
        <p:nvSpPr>
          <p:cNvPr id="9" name="Footer Placeholder 8"/>
          <p:cNvSpPr>
            <a:spLocks noGrp="1"/>
          </p:cNvSpPr>
          <p:nvPr>
            <p:ph type="ftr" sz="quarter" idx="15"/>
          </p:nvPr>
        </p:nvSpPr>
        <p:spPr>
          <a:xfrm>
            <a:off x="3203583" y="6566401"/>
            <a:ext cx="7559016" cy="151200"/>
          </a:xfrm>
          <a:prstGeom prst="rect">
            <a:avLst/>
          </a:prstGeom>
        </p:spPr>
        <p:txBody>
          <a:bodyPr/>
          <a:lstStyle/>
          <a:p>
            <a:endParaRPr lang="en-US"/>
          </a:p>
        </p:txBody>
      </p:sp>
      <p:sp>
        <p:nvSpPr>
          <p:cNvPr id="10" name="Slide Number Placeholder 9"/>
          <p:cNvSpPr>
            <a:spLocks noGrp="1"/>
          </p:cNvSpPr>
          <p:nvPr>
            <p:ph type="sldNum" sz="quarter" idx="16"/>
          </p:nvPr>
        </p:nvSpPr>
        <p:spPr>
          <a:xfrm>
            <a:off x="11436101" y="6566400"/>
            <a:ext cx="359953" cy="151200"/>
          </a:xfrm>
        </p:spPr>
        <p:txBody>
          <a:bodyPr anchor="t"/>
          <a:lstStyle>
            <a:lvl1pPr marL="0" algn="r" defTabSz="914196" rtl="0" eaLnBrk="1" latinLnBrk="0" hangingPunct="1">
              <a:buNone/>
              <a:defRPr b="0"/>
            </a:lvl1pPr>
          </a:lstStyle>
          <a:p>
            <a:fld id="{389075F7-7510-4B87-94F8-2C8610BEE4CA}" type="slidenum">
              <a:rPr lang="en-US" smtClean="0"/>
              <a:pPr/>
              <a:t>‹nr.›</a:t>
            </a:fld>
            <a:endParaRPr lang="en-US"/>
          </a:p>
        </p:txBody>
      </p:sp>
      <p:pic>
        <p:nvPicPr>
          <p:cNvPr id="12" name="ZRS Logo Horozontal">
            <a:extLst>
              <a:ext uri="{FF2B5EF4-FFF2-40B4-BE49-F238E27FC236}">
                <a16:creationId xmlns:a16="http://schemas.microsoft.com/office/drawing/2014/main" id="{48A0A611-11A2-4609-8837-28B5311E438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7447" y="325479"/>
            <a:ext cx="1501200" cy="498456"/>
          </a:xfrm>
          <a:prstGeom prst="rect">
            <a:avLst/>
          </a:prstGeom>
        </p:spPr>
      </p:pic>
    </p:spTree>
    <p:extLst>
      <p:ext uri="{BB962C8B-B14F-4D97-AF65-F5344CB8AC3E}">
        <p14:creationId xmlns:p14="http://schemas.microsoft.com/office/powerpoint/2010/main" val="389980091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B7CC5-E206-49B7-8DAB-D820D5041428}"/>
              </a:ext>
            </a:extLst>
          </p:cNvPr>
          <p:cNvSpPr>
            <a:spLocks noGrp="1"/>
          </p:cNvSpPr>
          <p:nvPr>
            <p:ph type="title"/>
          </p:nvPr>
        </p:nvSpPr>
        <p:spPr/>
        <p:txBody>
          <a:bodyPr/>
          <a:lstStyle>
            <a:lvl1pPr>
              <a:defRPr>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08C05DA1-1C27-4AC2-B3D2-7014C530987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3">
            <a:extLst>
              <a:ext uri="{FF2B5EF4-FFF2-40B4-BE49-F238E27FC236}">
                <a16:creationId xmlns:a16="http://schemas.microsoft.com/office/drawing/2014/main" id="{70325670-E080-31A6-FF91-D7B405CB586A}"/>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sym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CBE28F7E-29B6-2343-EC46-64D3F20C44EF}"/>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pic>
        <p:nvPicPr>
          <p:cNvPr id="5" name="ZRS Logo Horozontal">
            <a:extLst>
              <a:ext uri="{FF2B5EF4-FFF2-40B4-BE49-F238E27FC236}">
                <a16:creationId xmlns:a16="http://schemas.microsoft.com/office/drawing/2014/main" id="{B2D1F6F2-EC11-5853-972C-9768F39E1990}"/>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194" t="5628" b="28088"/>
          <a:stretch/>
        </p:blipFill>
        <p:spPr>
          <a:xfrm>
            <a:off x="10342653" y="317501"/>
            <a:ext cx="1510791" cy="520700"/>
          </a:xfrm>
          <a:prstGeom prst="rect">
            <a:avLst/>
          </a:prstGeom>
        </p:spPr>
      </p:pic>
    </p:spTree>
    <p:extLst>
      <p:ext uri="{BB962C8B-B14F-4D97-AF65-F5344CB8AC3E}">
        <p14:creationId xmlns:p14="http://schemas.microsoft.com/office/powerpoint/2010/main" val="79118192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and 2 text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4C0D27-889B-3151-6ECA-B7B1AF6D6458}"/>
              </a:ext>
            </a:extLst>
          </p:cNvPr>
          <p:cNvGraphicFramePr>
            <a:graphicFrameLocks noChangeAspect="1"/>
          </p:cNvGraphicFramePr>
          <p:nvPr userDrawn="1">
            <p:custDataLst>
              <p:tags r:id="rId1"/>
            </p:custDataLst>
            <p:extLst>
              <p:ext uri="{D42A27DB-BD31-4B8C-83A1-F6EECF244321}">
                <p14:modId xmlns:p14="http://schemas.microsoft.com/office/powerpoint/2010/main" val="40743865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B04C0D27-889B-3151-6ECA-B7B1AF6D645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252000" y="1198800"/>
            <a:ext cx="5647150" cy="5040145"/>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Content Placeholder 2">
            <a:extLst>
              <a:ext uri="{FF2B5EF4-FFF2-40B4-BE49-F238E27FC236}">
                <a16:creationId xmlns:a16="http://schemas.microsoft.com/office/drawing/2014/main" id="{DD38D433-C715-4635-977C-8E54E7555A08}"/>
              </a:ext>
            </a:extLst>
          </p:cNvPr>
          <p:cNvSpPr>
            <a:spLocks noGrp="1"/>
          </p:cNvSpPr>
          <p:nvPr>
            <p:ph idx="13"/>
          </p:nvPr>
        </p:nvSpPr>
        <p:spPr>
          <a:xfrm>
            <a:off x="6280731" y="1198800"/>
            <a:ext cx="5652000" cy="5040145"/>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2" name="Slide Number Placeholder 5">
            <a:extLst>
              <a:ext uri="{FF2B5EF4-FFF2-40B4-BE49-F238E27FC236}">
                <a16:creationId xmlns:a16="http://schemas.microsoft.com/office/drawing/2014/main" id="{7778DC4A-6DD8-4810-A49B-89B671171FAE}"/>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B66B4EB9-2868-4BA8-BD4D-16B8E7A16DF5}"/>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2" name="Title Placeholder 1">
            <a:extLst>
              <a:ext uri="{FF2B5EF4-FFF2-40B4-BE49-F238E27FC236}">
                <a16:creationId xmlns:a16="http://schemas.microsoft.com/office/drawing/2014/main" id="{C14EA731-2898-D962-FAA6-B0737584A2F4}"/>
              </a:ext>
            </a:extLst>
          </p:cNvPr>
          <p:cNvSpPr>
            <a:spLocks noGrp="1"/>
          </p:cNvSpPr>
          <p:nvPr>
            <p:ph type="title"/>
          </p:nvPr>
        </p:nvSpPr>
        <p:spPr>
          <a:xfrm>
            <a:off x="250826" y="249926"/>
            <a:ext cx="8996541" cy="360099"/>
          </a:xfrm>
          <a:prstGeom prst="rect">
            <a:avLst/>
          </a:prstGeom>
        </p:spPr>
        <p:txBody>
          <a:bodyPr vert="horz" wrap="square" lIns="0" tIns="0" rIns="0" bIns="0" rtlCol="0" anchor="t" anchorCtr="0">
            <a:spAutoFit/>
          </a:bodyPr>
          <a:lstStyle/>
          <a:p>
            <a:r>
              <a:rPr lang="de-DE"/>
              <a:t>Mastertitelformat bearbeiten</a:t>
            </a:r>
            <a:endParaRPr lang="en-US"/>
          </a:p>
        </p:txBody>
      </p:sp>
      <p:sp>
        <p:nvSpPr>
          <p:cNvPr id="8" name="Content Placeholder 14">
            <a:extLst>
              <a:ext uri="{FF2B5EF4-FFF2-40B4-BE49-F238E27FC236}">
                <a16:creationId xmlns:a16="http://schemas.microsoft.com/office/drawing/2014/main" id="{45C87A36-AF1D-5E17-86AD-9CDBE1DEDA7A}"/>
              </a:ext>
            </a:extLst>
          </p:cNvPr>
          <p:cNvSpPr>
            <a:spLocks noGrp="1"/>
          </p:cNvSpPr>
          <p:nvPr>
            <p:ph sz="quarter" idx="10" hasCustomPrompt="1"/>
          </p:nvPr>
        </p:nvSpPr>
        <p:spPr>
          <a:xfrm>
            <a:off x="250825" y="666073"/>
            <a:ext cx="8996541" cy="276999"/>
          </a:xfrm>
        </p:spPr>
        <p:txBody>
          <a:bodyPr wrap="square">
            <a:spAutoFit/>
          </a:bodyPr>
          <a:lstStyle>
            <a:lvl1pPr marL="0" indent="0">
              <a:buNone/>
              <a:defRPr sz="1800">
                <a:solidFill>
                  <a:schemeClr val="accent1"/>
                </a:solidFill>
              </a:defRPr>
            </a:lvl1pPr>
            <a:lvl2pPr marL="239712" indent="0">
              <a:buNone/>
              <a:defRPr sz="1800">
                <a:solidFill>
                  <a:schemeClr val="accent1"/>
                </a:solidFill>
              </a:defRPr>
            </a:lvl2pPr>
            <a:lvl3pPr marL="538163" indent="0">
              <a:buNone/>
              <a:defRPr sz="1800">
                <a:solidFill>
                  <a:schemeClr val="accent1"/>
                </a:solidFill>
              </a:defRPr>
            </a:lvl3pPr>
            <a:lvl4pPr marL="719138" indent="0">
              <a:buNone/>
              <a:defRPr sz="1800">
                <a:solidFill>
                  <a:schemeClr val="accent1"/>
                </a:solidFill>
              </a:defRPr>
            </a:lvl4pPr>
            <a:lvl5pPr marL="985837" indent="0">
              <a:buNone/>
              <a:defRPr sz="1800">
                <a:solidFill>
                  <a:schemeClr val="accent1"/>
                </a:solidFill>
              </a:defRPr>
            </a:lvl5pPr>
          </a:lstStyle>
          <a:p>
            <a:pPr lvl="0"/>
            <a:r>
              <a:rPr lang="en-GB"/>
              <a:t>Click to edit Master subtitle style</a:t>
            </a:r>
          </a:p>
        </p:txBody>
      </p:sp>
    </p:spTree>
    <p:extLst>
      <p:ext uri="{BB962C8B-B14F-4D97-AF65-F5344CB8AC3E}">
        <p14:creationId xmlns:p14="http://schemas.microsoft.com/office/powerpoint/2010/main" val="240903335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1_Thank you">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250825" y="2490259"/>
            <a:ext cx="6722148" cy="2242079"/>
          </a:xfrm>
        </p:spPr>
        <p:txBody>
          <a:bodyPr anchor="b">
            <a:noAutofit/>
          </a:bodyPr>
          <a:lstStyle>
            <a:lvl1pPr algn="l">
              <a:defRPr sz="3600">
                <a:solidFill>
                  <a:schemeClr val="accent6"/>
                </a:solidFill>
                <a:latin typeface="+mj-lt"/>
                <a:cs typeface="Arial" panose="020B0604020202020204" pitchFamily="34" charset="0"/>
              </a:defRPr>
            </a:lvl1pPr>
          </a:lstStyle>
          <a:p>
            <a:r>
              <a:rPr lang="en-US"/>
              <a:t>Click to edit title</a:t>
            </a:r>
          </a:p>
        </p:txBody>
      </p:sp>
      <p:sp>
        <p:nvSpPr>
          <p:cNvPr id="9" name="Subtitle 2">
            <a:extLst>
              <a:ext uri="{FF2B5EF4-FFF2-40B4-BE49-F238E27FC236}">
                <a16:creationId xmlns:a16="http://schemas.microsoft.com/office/drawing/2014/main" id="{5D52D574-4430-4847-B932-BA1C1DC56322}"/>
              </a:ext>
            </a:extLst>
          </p:cNvPr>
          <p:cNvSpPr>
            <a:spLocks noGrp="1"/>
          </p:cNvSpPr>
          <p:nvPr>
            <p:ph type="subTitle" idx="13" hasCustomPrompt="1"/>
          </p:nvPr>
        </p:nvSpPr>
        <p:spPr>
          <a:xfrm>
            <a:off x="250825" y="4911725"/>
            <a:ext cx="6719063" cy="1283999"/>
          </a:xfrm>
        </p:spPr>
        <p:txBody>
          <a:bodyPr>
            <a:normAutofit/>
          </a:bodyPr>
          <a:lstStyle>
            <a:lvl1pPr marL="0" indent="0" algn="l">
              <a:buNone/>
              <a:defRPr sz="2000">
                <a:solidFill>
                  <a:schemeClr val="accent6"/>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subtitle</a:t>
            </a:r>
          </a:p>
        </p:txBody>
      </p:sp>
      <p:sp>
        <p:nvSpPr>
          <p:cNvPr id="15" name="Picture Placeholder 2">
            <a:extLst>
              <a:ext uri="{FF2B5EF4-FFF2-40B4-BE49-F238E27FC236}">
                <a16:creationId xmlns:a16="http://schemas.microsoft.com/office/drawing/2014/main" id="{207E0EDD-CE7D-485D-90AA-EB92659F4C2E}"/>
              </a:ext>
            </a:extLst>
          </p:cNvPr>
          <p:cNvSpPr>
            <a:spLocks noGrp="1" noChangeAspect="1"/>
          </p:cNvSpPr>
          <p:nvPr>
            <p:ph type="pic" sz="quarter" idx="14" hasCustomPrompt="1"/>
          </p:nvPr>
        </p:nvSpPr>
        <p:spPr>
          <a:xfrm>
            <a:off x="9061251" y="1902437"/>
            <a:ext cx="3120000" cy="3120000"/>
          </a:xfrm>
          <a:prstGeom prst="ellipse">
            <a:avLst/>
          </a:prstGeom>
        </p:spPr>
        <p:txBody>
          <a:bodyPr/>
          <a:lstStyle>
            <a:lvl1pPr algn="ctr">
              <a:buNone/>
              <a:defRPr b="0" i="0">
                <a:solidFill>
                  <a:schemeClr val="accent6"/>
                </a:solidFill>
                <a:latin typeface="+mn-lt"/>
                <a:cs typeface="Arial" panose="020B0604020202020204" pitchFamily="34" charset="0"/>
              </a:defRPr>
            </a:lvl1pPr>
          </a:lstStyle>
          <a:p>
            <a:r>
              <a:rPr lang="en-GB"/>
              <a:t>Add a picture here</a:t>
            </a:r>
          </a:p>
        </p:txBody>
      </p:sp>
      <p:sp>
        <p:nvSpPr>
          <p:cNvPr id="16" name="Freeform 12">
            <a:extLst>
              <a:ext uri="{FF2B5EF4-FFF2-40B4-BE49-F238E27FC236}">
                <a16:creationId xmlns:a16="http://schemas.microsoft.com/office/drawing/2014/main" id="{CDD94F9F-17AF-4158-8273-144D6BB8BFBA}"/>
              </a:ext>
            </a:extLst>
          </p:cNvPr>
          <p:cNvSpPr/>
          <p:nvPr userDrawn="1"/>
        </p:nvSpPr>
        <p:spPr bwMode="auto">
          <a:xfrm rot="735038">
            <a:off x="9719774" y="4974386"/>
            <a:ext cx="933047" cy="469973"/>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7" name="Freeform 17">
            <a:extLst>
              <a:ext uri="{FF2B5EF4-FFF2-40B4-BE49-F238E27FC236}">
                <a16:creationId xmlns:a16="http://schemas.microsoft.com/office/drawing/2014/main" id="{03EA52F0-9F47-4C1A-A653-1F060850BB16}"/>
              </a:ext>
            </a:extLst>
          </p:cNvPr>
          <p:cNvSpPr/>
          <p:nvPr userDrawn="1"/>
        </p:nvSpPr>
        <p:spPr bwMode="auto">
          <a:xfrm rot="8315714" flipH="1">
            <a:off x="9180227" y="5547933"/>
            <a:ext cx="1677271" cy="86330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8" name="Oval 17">
            <a:extLst>
              <a:ext uri="{FF2B5EF4-FFF2-40B4-BE49-F238E27FC236}">
                <a16:creationId xmlns:a16="http://schemas.microsoft.com/office/drawing/2014/main" id="{6AED791D-1518-403F-BA5A-79F94E7CDCCB}"/>
              </a:ext>
            </a:extLst>
          </p:cNvPr>
          <p:cNvSpPr>
            <a:spLocks noChangeAspect="1"/>
          </p:cNvSpPr>
          <p:nvPr userDrawn="1"/>
        </p:nvSpPr>
        <p:spPr bwMode="auto">
          <a:xfrm rot="5400000">
            <a:off x="10403602" y="5983124"/>
            <a:ext cx="875301" cy="874456"/>
          </a:xfrm>
          <a:prstGeom prst="ellips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26" name="TextBox 25">
            <a:extLst>
              <a:ext uri="{FF2B5EF4-FFF2-40B4-BE49-F238E27FC236}">
                <a16:creationId xmlns:a16="http://schemas.microsoft.com/office/drawing/2014/main" id="{964649C4-0FE0-4E4D-B386-F39D40C28AE9}"/>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mn-lt"/>
                <a:cs typeface="Arial" panose="020B0604020202020204" pitchFamily="34" charset="0"/>
              </a:rPr>
              <a:t>© Zurich</a:t>
            </a:r>
          </a:p>
        </p:txBody>
      </p:sp>
      <p:pic>
        <p:nvPicPr>
          <p:cNvPr id="2" name="Graphic 7">
            <a:extLst>
              <a:ext uri="{FF2B5EF4-FFF2-40B4-BE49-F238E27FC236}">
                <a16:creationId xmlns:a16="http://schemas.microsoft.com/office/drawing/2014/main" id="{892142ED-5167-526A-191C-57FF8232A46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4662" y="306000"/>
            <a:ext cx="1500250" cy="498141"/>
          </a:xfrm>
          <a:prstGeom prst="rect">
            <a:avLst/>
          </a:prstGeom>
        </p:spPr>
      </p:pic>
    </p:spTree>
    <p:extLst>
      <p:ext uri="{BB962C8B-B14F-4D97-AF65-F5344CB8AC3E}">
        <p14:creationId xmlns:p14="http://schemas.microsoft.com/office/powerpoint/2010/main" val="44058542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_Dark">
    <p:bg>
      <p:bgPr>
        <a:solidFill>
          <a:schemeClr val="accent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CA9CE3D-8A01-FA71-61AB-F8210F20563D}"/>
              </a:ext>
            </a:extLst>
          </p:cNvPr>
          <p:cNvGraphicFramePr>
            <a:graphicFrameLocks noChangeAspect="1"/>
          </p:cNvGraphicFramePr>
          <p:nvPr userDrawn="1">
            <p:custDataLst>
              <p:tags r:id="rId1"/>
            </p:custDataLst>
            <p:extLst>
              <p:ext uri="{D42A27DB-BD31-4B8C-83A1-F6EECF244321}">
                <p14:modId xmlns:p14="http://schemas.microsoft.com/office/powerpoint/2010/main" val="1288363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7" name="think-cell data - do not delete" hidden="1">
                        <a:extLst>
                          <a:ext uri="{FF2B5EF4-FFF2-40B4-BE49-F238E27FC236}">
                            <a16:creationId xmlns:a16="http://schemas.microsoft.com/office/drawing/2014/main" id="{DCA9CE3D-8A01-FA71-61AB-F8210F2056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265426" y="1103215"/>
            <a:ext cx="6722148" cy="2242079"/>
          </a:xfrm>
        </p:spPr>
        <p:txBody>
          <a:bodyPr vert="horz" anchor="b">
            <a:normAutofit/>
          </a:bodyPr>
          <a:lstStyle>
            <a:lvl1pPr algn="l">
              <a:defRPr sz="3600">
                <a:solidFill>
                  <a:schemeClr val="accent6"/>
                </a:solidFill>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3" name="Subtitle 2"/>
          <p:cNvSpPr>
            <a:spLocks noGrp="1"/>
          </p:cNvSpPr>
          <p:nvPr>
            <p:ph type="subTitle" idx="1"/>
          </p:nvPr>
        </p:nvSpPr>
        <p:spPr>
          <a:xfrm>
            <a:off x="265426" y="3437369"/>
            <a:ext cx="5761567" cy="1283999"/>
          </a:xfrm>
        </p:spPr>
        <p:txBody>
          <a:bodyPr>
            <a:normAutofit/>
          </a:bodyPr>
          <a:lstStyle>
            <a:lvl1pPr marL="0" indent="0" algn="l">
              <a:buNone/>
              <a:defRPr sz="2000">
                <a:solidFill>
                  <a:schemeClr val="accent6"/>
                </a:solidFill>
                <a:latin typeface="Zurich Sans Light" panose="02000000000000000000" pitchFamily="2" charset="0"/>
                <a:cs typeface="Arial" panose="020B0604020202020204" pitchFamily="34" charset="0"/>
                <a:sym typeface="Zurich Sans Light" panose="02000000000000000000"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Master-Untertitelformat bearbeiten</a:t>
            </a:r>
            <a:endParaRPr lang="en-US"/>
          </a:p>
        </p:txBody>
      </p:sp>
      <p:grpSp>
        <p:nvGrpSpPr>
          <p:cNvPr id="5" name="Group 4">
            <a:extLst>
              <a:ext uri="{FF2B5EF4-FFF2-40B4-BE49-F238E27FC236}">
                <a16:creationId xmlns:a16="http://schemas.microsoft.com/office/drawing/2014/main" id="{2A2782ED-DF84-E4D6-6BC2-8D3E9251CAC8}"/>
              </a:ext>
            </a:extLst>
          </p:cNvPr>
          <p:cNvGrpSpPr/>
          <p:nvPr userDrawn="1"/>
        </p:nvGrpSpPr>
        <p:grpSpPr>
          <a:xfrm>
            <a:off x="4335172" y="4203197"/>
            <a:ext cx="2218145" cy="2654804"/>
            <a:chOff x="4792817" y="4700493"/>
            <a:chExt cx="1802643" cy="2157507"/>
          </a:xfrm>
        </p:grpSpPr>
        <p:sp>
          <p:nvSpPr>
            <p:cNvPr id="10" name="Oval 9">
              <a:extLst>
                <a:ext uri="{FF2B5EF4-FFF2-40B4-BE49-F238E27FC236}">
                  <a16:creationId xmlns:a16="http://schemas.microsoft.com/office/drawing/2014/main" id="{DCD6D046-9E8A-417B-B758-A6E20A0FE31C}"/>
                </a:ext>
              </a:extLst>
            </p:cNvPr>
            <p:cNvSpPr/>
            <p:nvPr userDrawn="1"/>
          </p:nvSpPr>
          <p:spPr bwMode="auto">
            <a:xfrm>
              <a:off x="5633359" y="5401323"/>
              <a:ext cx="550190" cy="549729"/>
            </a:xfrm>
            <a:prstGeom prst="ellipse">
              <a:avLst/>
            </a:pr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Zurich Sans Light" panose="02000000000000000000" pitchFamily="2" charset="0"/>
                <a:cs typeface="Arial" panose="020B0604020202020204" pitchFamily="34" charset="0"/>
                <a:sym typeface="Zurich Sans Light" panose="02000000000000000000" pitchFamily="2" charset="0"/>
              </a:endParaRPr>
            </a:p>
          </p:txBody>
        </p:sp>
        <p:sp>
          <p:nvSpPr>
            <p:cNvPr id="11" name="Freeform 8">
              <a:extLst>
                <a:ext uri="{FF2B5EF4-FFF2-40B4-BE49-F238E27FC236}">
                  <a16:creationId xmlns:a16="http://schemas.microsoft.com/office/drawing/2014/main" id="{977530C5-2DE6-44CA-8A8F-019E4D7C204F}"/>
                </a:ext>
              </a:extLst>
            </p:cNvPr>
            <p:cNvSpPr/>
            <p:nvPr userDrawn="1"/>
          </p:nvSpPr>
          <p:spPr bwMode="auto">
            <a:xfrm>
              <a:off x="4792817" y="5949896"/>
              <a:ext cx="1802643" cy="908104"/>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Zurich Sans Light" panose="02000000000000000000" pitchFamily="2" charset="0"/>
                <a:cs typeface="Arial" panose="020B0604020202020204" pitchFamily="34" charset="0"/>
                <a:sym typeface="Zurich Sans Light" panose="02000000000000000000" pitchFamily="2" charset="0"/>
              </a:endParaRPr>
            </a:p>
          </p:txBody>
        </p:sp>
        <p:sp>
          <p:nvSpPr>
            <p:cNvPr id="12" name="Freeform 10">
              <a:extLst>
                <a:ext uri="{FF2B5EF4-FFF2-40B4-BE49-F238E27FC236}">
                  <a16:creationId xmlns:a16="http://schemas.microsoft.com/office/drawing/2014/main" id="{CBDF7E11-8F3D-4306-A7C9-3CBBFA98620F}"/>
                </a:ext>
              </a:extLst>
            </p:cNvPr>
            <p:cNvSpPr/>
            <p:nvPr userDrawn="1"/>
          </p:nvSpPr>
          <p:spPr bwMode="auto">
            <a:xfrm rot="7933215">
              <a:off x="4866378" y="4998607"/>
              <a:ext cx="1201179" cy="604951"/>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Zurich Sans Light" panose="02000000000000000000" pitchFamily="2" charset="0"/>
                <a:cs typeface="Arial" panose="020B0604020202020204" pitchFamily="34" charset="0"/>
                <a:sym typeface="Zurich Sans Light" panose="02000000000000000000" pitchFamily="2" charset="0"/>
              </a:endParaRPr>
            </a:p>
          </p:txBody>
        </p:sp>
      </p:grpSp>
      <p:sp>
        <p:nvSpPr>
          <p:cNvPr id="22" name="Picture Placeholder 2">
            <a:extLst>
              <a:ext uri="{FF2B5EF4-FFF2-40B4-BE49-F238E27FC236}">
                <a16:creationId xmlns:a16="http://schemas.microsoft.com/office/drawing/2014/main" id="{8C38856E-DF0D-49BD-A0AF-37F515F1D5FF}"/>
              </a:ext>
            </a:extLst>
          </p:cNvPr>
          <p:cNvSpPr>
            <a:spLocks noGrp="1"/>
          </p:cNvSpPr>
          <p:nvPr>
            <p:ph type="pic" sz="quarter" idx="13"/>
          </p:nvPr>
        </p:nvSpPr>
        <p:spPr>
          <a:xfrm>
            <a:off x="5772150" y="436971"/>
            <a:ext cx="6413846" cy="6413846"/>
          </a:xfrm>
          <a:prstGeom prst="ellipse">
            <a:avLst/>
          </a:prstGeom>
        </p:spPr>
        <p:txBody>
          <a:bodyPr/>
          <a:lstStyle>
            <a:lvl1pPr algn="ctr">
              <a:buNone/>
              <a:defRPr b="0" i="0">
                <a:solidFill>
                  <a:schemeClr val="accent6"/>
                </a:solidFill>
                <a:latin typeface="Zurich Sans Light" panose="02000000000000000000" pitchFamily="2" charset="0"/>
                <a:cs typeface="Arial" panose="020B0604020202020204" pitchFamily="34" charset="0"/>
                <a:sym typeface="Zurich Sans Light" panose="02000000000000000000" pitchFamily="2" charset="0"/>
              </a:defRPr>
            </a:lvl1pPr>
          </a:lstStyle>
          <a:p>
            <a:r>
              <a:rPr lang="de-DE" noProof="0"/>
              <a:t>Bild durch Klicken auf Symbol hinzufügen</a:t>
            </a:r>
            <a:endParaRPr lang="en-US" noProof="0"/>
          </a:p>
        </p:txBody>
      </p:sp>
      <p:sp>
        <p:nvSpPr>
          <p:cNvPr id="20" name="Date Name Organization">
            <a:extLst>
              <a:ext uri="{FF2B5EF4-FFF2-40B4-BE49-F238E27FC236}">
                <a16:creationId xmlns:a16="http://schemas.microsoft.com/office/drawing/2014/main" id="{B679C166-F3F4-4469-BDA4-0521529C846E}"/>
              </a:ext>
            </a:extLst>
          </p:cNvPr>
          <p:cNvSpPr>
            <a:spLocks noGrp="1"/>
          </p:cNvSpPr>
          <p:nvPr>
            <p:ph type="body" sz="quarter" idx="14"/>
          </p:nvPr>
        </p:nvSpPr>
        <p:spPr>
          <a:xfrm>
            <a:off x="265425" y="4913252"/>
            <a:ext cx="5251984" cy="1056000"/>
          </a:xfrm>
        </p:spPr>
        <p:txBody>
          <a:bodyPr anchor="b"/>
          <a:lstStyle>
            <a:lvl1pPr marL="0" indent="0">
              <a:spcAft>
                <a:spcPts val="133"/>
              </a:spcAft>
              <a:buNone/>
              <a:defRPr sz="1200">
                <a:solidFill>
                  <a:schemeClr val="accent6"/>
                </a:solidFill>
                <a:latin typeface="Zurich Sans Light" panose="02000000000000000000" pitchFamily="2" charset="0"/>
                <a:cs typeface="Arial" panose="020B0604020202020204" pitchFamily="34" charset="0"/>
                <a:sym typeface="Zurich Sans Light" panose="02000000000000000000" pitchFamily="2" charset="0"/>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de-DE"/>
              <a:t>Mastertextformat bearbeiten</a:t>
            </a:r>
          </a:p>
        </p:txBody>
      </p:sp>
      <p:sp>
        <p:nvSpPr>
          <p:cNvPr id="23" name="TextBox 22">
            <a:extLst>
              <a:ext uri="{FF2B5EF4-FFF2-40B4-BE49-F238E27FC236}">
                <a16:creationId xmlns:a16="http://schemas.microsoft.com/office/drawing/2014/main" id="{F693D7AA-4B02-44F3-849A-D51D7F7A9CD0}"/>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Zurich Sans Light" panose="02000000000000000000" pitchFamily="2" charset="0"/>
                <a:cs typeface="Arial" panose="020B0604020202020204" pitchFamily="34" charset="0"/>
                <a:sym typeface="Zurich Sans Light" panose="02000000000000000000" pitchFamily="2" charset="0"/>
              </a:rPr>
              <a:t>© Zurich</a:t>
            </a:r>
          </a:p>
        </p:txBody>
      </p:sp>
    </p:spTree>
    <p:extLst>
      <p:ext uri="{BB962C8B-B14F-4D97-AF65-F5344CB8AC3E}">
        <p14:creationId xmlns:p14="http://schemas.microsoft.com/office/powerpoint/2010/main" val="358797998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_Light">
    <p:bg>
      <p:bgPr>
        <a:solidFill>
          <a:schemeClr val="accent6"/>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D49D0FE-6092-8242-0C62-F70E3C2CC770}"/>
              </a:ext>
            </a:extLst>
          </p:cNvPr>
          <p:cNvGraphicFramePr>
            <a:graphicFrameLocks noChangeAspect="1"/>
          </p:cNvGraphicFramePr>
          <p:nvPr userDrawn="1">
            <p:custDataLst>
              <p:tags r:id="rId1"/>
            </p:custDataLst>
            <p:extLst>
              <p:ext uri="{D42A27DB-BD31-4B8C-83A1-F6EECF244321}">
                <p14:modId xmlns:p14="http://schemas.microsoft.com/office/powerpoint/2010/main" val="3547080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7" name="think-cell data - do not delete" hidden="1">
                        <a:extLst>
                          <a:ext uri="{FF2B5EF4-FFF2-40B4-BE49-F238E27FC236}">
                            <a16:creationId xmlns:a16="http://schemas.microsoft.com/office/drawing/2014/main" id="{ED49D0FE-6092-8242-0C62-F70E3C2CC7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259451" y="1118717"/>
            <a:ext cx="6722148" cy="2242079"/>
          </a:xfrm>
        </p:spPr>
        <p:txBody>
          <a:bodyPr vert="horz" anchor="b">
            <a:normAutofit/>
          </a:bodyPr>
          <a:lstStyle>
            <a:lvl1pPr algn="l">
              <a:defRPr sz="36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3" name="Subtitle 2"/>
          <p:cNvSpPr>
            <a:spLocks noGrp="1"/>
          </p:cNvSpPr>
          <p:nvPr>
            <p:ph type="subTitle" idx="1"/>
          </p:nvPr>
        </p:nvSpPr>
        <p:spPr>
          <a:xfrm>
            <a:off x="259451" y="3452871"/>
            <a:ext cx="5761567" cy="1283999"/>
          </a:xfrm>
        </p:spPr>
        <p:txBody>
          <a:bodyPr>
            <a:normAutofit/>
          </a:bodyPr>
          <a:lstStyle>
            <a:lvl1pPr marL="0" indent="0" algn="l">
              <a:buNone/>
              <a:defRPr sz="20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Master-Untertitelformat bearbeiten</a:t>
            </a:r>
            <a:endParaRPr lang="en-US"/>
          </a:p>
        </p:txBody>
      </p:sp>
      <p:sp>
        <p:nvSpPr>
          <p:cNvPr id="10" name="Oval 9">
            <a:extLst>
              <a:ext uri="{FF2B5EF4-FFF2-40B4-BE49-F238E27FC236}">
                <a16:creationId xmlns:a16="http://schemas.microsoft.com/office/drawing/2014/main" id="{DCD6D046-9E8A-417B-B758-A6E20A0FE31C}"/>
              </a:ext>
            </a:extLst>
          </p:cNvPr>
          <p:cNvSpPr/>
          <p:nvPr userDrawn="1"/>
        </p:nvSpPr>
        <p:spPr bwMode="auto">
          <a:xfrm>
            <a:off x="6803245" y="5407445"/>
            <a:ext cx="547941" cy="547483"/>
          </a:xfrm>
          <a:prstGeom prst="ellipse">
            <a:avLst/>
          </a:pr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1"/>
              </a:solidFill>
              <a:effectLst/>
              <a:latin typeface="Zurich Sans Light" panose="02000000000000000000" pitchFamily="2" charset="0"/>
              <a:cs typeface="Arial" panose="020B0604020202020204" pitchFamily="34" charset="0"/>
              <a:sym typeface="Zurich Sans Light" panose="02000000000000000000" pitchFamily="2" charset="0"/>
            </a:endParaRPr>
          </a:p>
        </p:txBody>
      </p:sp>
      <p:sp>
        <p:nvSpPr>
          <p:cNvPr id="11" name="Freeform 8">
            <a:extLst>
              <a:ext uri="{FF2B5EF4-FFF2-40B4-BE49-F238E27FC236}">
                <a16:creationId xmlns:a16="http://schemas.microsoft.com/office/drawing/2014/main" id="{977530C5-2DE6-44CA-8A8F-019E4D7C204F}"/>
              </a:ext>
            </a:extLst>
          </p:cNvPr>
          <p:cNvSpPr/>
          <p:nvPr userDrawn="1"/>
        </p:nvSpPr>
        <p:spPr bwMode="auto">
          <a:xfrm>
            <a:off x="5945288" y="5953924"/>
            <a:ext cx="1802643" cy="908104"/>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1"/>
              </a:solidFill>
              <a:effectLst/>
              <a:latin typeface="Zurich Sans Light" panose="02000000000000000000" pitchFamily="2" charset="0"/>
              <a:cs typeface="Arial" panose="020B0604020202020204" pitchFamily="34" charset="0"/>
              <a:sym typeface="Zurich Sans Light" panose="02000000000000000000" pitchFamily="2" charset="0"/>
            </a:endParaRPr>
          </a:p>
        </p:txBody>
      </p:sp>
      <p:sp>
        <p:nvSpPr>
          <p:cNvPr id="12" name="Freeform 10">
            <a:extLst>
              <a:ext uri="{FF2B5EF4-FFF2-40B4-BE49-F238E27FC236}">
                <a16:creationId xmlns:a16="http://schemas.microsoft.com/office/drawing/2014/main" id="{CBDF7E11-8F3D-4306-A7C9-3CBBFA98620F}"/>
              </a:ext>
            </a:extLst>
          </p:cNvPr>
          <p:cNvSpPr/>
          <p:nvPr userDrawn="1"/>
        </p:nvSpPr>
        <p:spPr bwMode="auto">
          <a:xfrm rot="7933215">
            <a:off x="6034329" y="5006663"/>
            <a:ext cx="1201179" cy="604951"/>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1"/>
              </a:solidFill>
              <a:effectLst/>
              <a:latin typeface="Zurich Sans Light" panose="02000000000000000000" pitchFamily="2" charset="0"/>
              <a:cs typeface="Arial" panose="020B0604020202020204" pitchFamily="34" charset="0"/>
              <a:sym typeface="Zurich Sans Light" panose="02000000000000000000" pitchFamily="2" charset="0"/>
            </a:endParaRPr>
          </a:p>
        </p:txBody>
      </p:sp>
      <p:sp>
        <p:nvSpPr>
          <p:cNvPr id="22" name="Picture Placeholder 2">
            <a:extLst>
              <a:ext uri="{FF2B5EF4-FFF2-40B4-BE49-F238E27FC236}">
                <a16:creationId xmlns:a16="http://schemas.microsoft.com/office/drawing/2014/main" id="{8C38856E-DF0D-49BD-A0AF-37F515F1D5FF}"/>
              </a:ext>
            </a:extLst>
          </p:cNvPr>
          <p:cNvSpPr>
            <a:spLocks noGrp="1"/>
          </p:cNvSpPr>
          <p:nvPr>
            <p:ph type="pic" sz="quarter" idx="13"/>
          </p:nvPr>
        </p:nvSpPr>
        <p:spPr>
          <a:xfrm>
            <a:off x="7154052" y="1818873"/>
            <a:ext cx="5040000" cy="5040000"/>
          </a:xfrm>
          <a:prstGeom prst="ellipse">
            <a:avLst/>
          </a:prstGeom>
        </p:spPr>
        <p:txBody>
          <a:bodyPr/>
          <a:lstStyle>
            <a:lvl1pPr algn="ctr">
              <a:buNone/>
              <a:defRPr b="0" i="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r>
              <a:rPr lang="de-DE" noProof="0"/>
              <a:t>Bild durch Klicken auf Symbol hinzufügen</a:t>
            </a:r>
            <a:endParaRPr lang="en-US" noProof="0"/>
          </a:p>
        </p:txBody>
      </p:sp>
      <p:sp>
        <p:nvSpPr>
          <p:cNvPr id="20" name="Date Name Organization">
            <a:extLst>
              <a:ext uri="{FF2B5EF4-FFF2-40B4-BE49-F238E27FC236}">
                <a16:creationId xmlns:a16="http://schemas.microsoft.com/office/drawing/2014/main" id="{B679C166-F3F4-4469-BDA4-0521529C846E}"/>
              </a:ext>
            </a:extLst>
          </p:cNvPr>
          <p:cNvSpPr>
            <a:spLocks noGrp="1"/>
          </p:cNvSpPr>
          <p:nvPr>
            <p:ph type="body" sz="quarter" idx="14"/>
          </p:nvPr>
        </p:nvSpPr>
        <p:spPr>
          <a:xfrm>
            <a:off x="250825" y="4923646"/>
            <a:ext cx="5251984" cy="1056000"/>
          </a:xfrm>
        </p:spPr>
        <p:txBody>
          <a:bodyPr anchor="b"/>
          <a:lstStyle>
            <a:lvl1pPr marL="0" indent="0">
              <a:spcAft>
                <a:spcPts val="133"/>
              </a:spcAft>
              <a:buNone/>
              <a:defRPr sz="12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de-DE"/>
              <a:t>Mastertextformat bearbeiten</a:t>
            </a:r>
          </a:p>
        </p:txBody>
      </p:sp>
      <p:pic>
        <p:nvPicPr>
          <p:cNvPr id="5" name="ZRS Logo Horozontal">
            <a:extLst>
              <a:ext uri="{FF2B5EF4-FFF2-40B4-BE49-F238E27FC236}">
                <a16:creationId xmlns:a16="http://schemas.microsoft.com/office/drawing/2014/main" id="{72B1A93A-6342-A3C0-28B8-C8863547A09F}"/>
              </a:ext>
            </a:extLst>
          </p:cNvPr>
          <p:cNvPicPr>
            <a:picLocks noChangeAspect="1"/>
          </p:cNvPicPr>
          <p:nvPr userDrawn="1"/>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4194" t="5628" b="28088"/>
          <a:stretch/>
        </p:blipFill>
        <p:spPr>
          <a:xfrm>
            <a:off x="259451" y="317500"/>
            <a:ext cx="1510791" cy="520700"/>
          </a:xfrm>
          <a:prstGeom prst="rect">
            <a:avLst/>
          </a:prstGeom>
        </p:spPr>
      </p:pic>
    </p:spTree>
    <p:extLst>
      <p:ext uri="{BB962C8B-B14F-4D97-AF65-F5344CB8AC3E}">
        <p14:creationId xmlns:p14="http://schemas.microsoft.com/office/powerpoint/2010/main" val="357791387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08FAB55-08F1-2D0E-7799-3E8D21F51260}"/>
              </a:ext>
            </a:extLst>
          </p:cNvPr>
          <p:cNvGraphicFramePr>
            <a:graphicFrameLocks noChangeAspect="1"/>
          </p:cNvGraphicFramePr>
          <p:nvPr userDrawn="1">
            <p:custDataLst>
              <p:tags r:id="rId1"/>
            </p:custDataLst>
            <p:extLst>
              <p:ext uri="{D42A27DB-BD31-4B8C-83A1-F6EECF244321}">
                <p14:modId xmlns:p14="http://schemas.microsoft.com/office/powerpoint/2010/main" val="415627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5" name="think-cell data - do not delete" hidden="1">
                        <a:extLst>
                          <a:ext uri="{FF2B5EF4-FFF2-40B4-BE49-F238E27FC236}">
                            <a16:creationId xmlns:a16="http://schemas.microsoft.com/office/drawing/2014/main" id="{108FAB55-08F1-2D0E-7799-3E8D21F512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259451" y="1205994"/>
            <a:ext cx="11518145" cy="5040145"/>
          </a:xfrm>
        </p:spPr>
        <p:txBody>
          <a:bodyPr/>
          <a:lstStyle>
            <a:lvl1pPr>
              <a:defRPr sz="1800">
                <a:latin typeface="Zurich Sans Light" panose="02000000000000000000" pitchFamily="2" charset="0"/>
                <a:cs typeface="Arial" panose="020B0604020202020204" pitchFamily="34" charset="0"/>
                <a:sym typeface="Zurich Sans Light" panose="02000000000000000000" pitchFamily="2" charset="0"/>
              </a:defRPr>
            </a:lvl1pPr>
            <a:lvl2pPr>
              <a:defRPr sz="1600">
                <a:latin typeface="Zurich Sans Light" panose="02000000000000000000" pitchFamily="2" charset="0"/>
                <a:cs typeface="Arial" panose="020B0604020202020204" pitchFamily="34" charset="0"/>
                <a:sym typeface="Zurich Sans Light" panose="02000000000000000000" pitchFamily="2" charset="0"/>
              </a:defRPr>
            </a:lvl2pPr>
            <a:lvl3pPr>
              <a:defRPr sz="1400">
                <a:latin typeface="Zurich Sans Light" panose="02000000000000000000" pitchFamily="2" charset="0"/>
                <a:cs typeface="Arial" panose="020B0604020202020204" pitchFamily="34" charset="0"/>
                <a:sym typeface="Zurich Sans Light" panose="02000000000000000000" pitchFamily="2" charset="0"/>
              </a:defRPr>
            </a:lvl3pPr>
            <a:lvl4pPr>
              <a:defRPr sz="1200">
                <a:latin typeface="Zurich Sans Light" panose="02000000000000000000" pitchFamily="2" charset="0"/>
                <a:cs typeface="Arial" panose="020B0604020202020204" pitchFamily="34" charset="0"/>
                <a:sym typeface="Zurich Sans Light" panose="02000000000000000000" pitchFamily="2" charset="0"/>
              </a:defRPr>
            </a:lvl4pPr>
            <a:lvl5pPr>
              <a:defRPr sz="1200">
                <a:latin typeface="Zurich Sans Light" panose="02000000000000000000" pitchFamily="2" charset="0"/>
                <a:cs typeface="Arial" panose="020B0604020202020204" pitchFamily="34" charset="0"/>
                <a:sym typeface="Zurich Sans Light"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1" name="Title 1">
            <a:extLst>
              <a:ext uri="{FF2B5EF4-FFF2-40B4-BE49-F238E27FC236}">
                <a16:creationId xmlns:a16="http://schemas.microsoft.com/office/drawing/2014/main" id="{29FBF581-E754-574B-A309-6F2FB382E481}"/>
              </a:ext>
            </a:extLst>
          </p:cNvPr>
          <p:cNvSpPr>
            <a:spLocks noGrp="1"/>
          </p:cNvSpPr>
          <p:nvPr>
            <p:ph type="title" hasCustomPrompt="1"/>
          </p:nvPr>
        </p:nvSpPr>
        <p:spPr>
          <a:xfrm>
            <a:off x="252659" y="260268"/>
            <a:ext cx="9586415" cy="332399"/>
          </a:xfrm>
        </p:spPr>
        <p:txBody>
          <a:bodyPr vert="horz">
            <a:spAutoFit/>
          </a:bodyPr>
          <a:lstStyle>
            <a:lvl1pPr>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22" name="Subtitle 2">
            <a:extLst>
              <a:ext uri="{FF2B5EF4-FFF2-40B4-BE49-F238E27FC236}">
                <a16:creationId xmlns:a16="http://schemas.microsoft.com/office/drawing/2014/main" id="{60580A64-4AC1-D547-A7C8-FF2A5434D2C5}"/>
              </a:ext>
            </a:extLst>
          </p:cNvPr>
          <p:cNvSpPr>
            <a:spLocks noGrp="1"/>
          </p:cNvSpPr>
          <p:nvPr>
            <p:ph type="subTitle" idx="13"/>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Zurich Sans Light" panose="02000000000000000000" pitchFamily="2" charset="0"/>
                <a:cs typeface="Arial" panose="020B0604020202020204" pitchFamily="34" charset="0"/>
                <a:sym typeface="Zurich Sans Light" panose="02000000000000000000" pitchFamily="2"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Master-Untertitelformat bearbeiten</a:t>
            </a:r>
            <a:endParaRPr lang="en-GB" noProof="0"/>
          </a:p>
        </p:txBody>
      </p:sp>
      <p:sp>
        <p:nvSpPr>
          <p:cNvPr id="18" name="Slide Number Placeholder 5">
            <a:extLst>
              <a:ext uri="{FF2B5EF4-FFF2-40B4-BE49-F238E27FC236}">
                <a16:creationId xmlns:a16="http://schemas.microsoft.com/office/drawing/2014/main" id="{9DEE29F2-F280-4686-A9A8-3959443731C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endParaRPr lang="en-US"/>
          </a:p>
        </p:txBody>
      </p:sp>
      <p:pic>
        <p:nvPicPr>
          <p:cNvPr id="2" name="ZRS Logo Horozontal">
            <a:extLst>
              <a:ext uri="{FF2B5EF4-FFF2-40B4-BE49-F238E27FC236}">
                <a16:creationId xmlns:a16="http://schemas.microsoft.com/office/drawing/2014/main" id="{F07AC21E-1930-3FB7-C4C0-A98968BF5710}"/>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26176802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with Number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3B2F500-A530-CC17-8B08-AF3EDCC74016}"/>
              </a:ext>
            </a:extLst>
          </p:cNvPr>
          <p:cNvGraphicFramePr>
            <a:graphicFrameLocks noChangeAspect="1"/>
          </p:cNvGraphicFramePr>
          <p:nvPr userDrawn="1">
            <p:custDataLst>
              <p:tags r:id="rId1"/>
            </p:custDataLst>
            <p:extLst>
              <p:ext uri="{D42A27DB-BD31-4B8C-83A1-F6EECF244321}">
                <p14:modId xmlns:p14="http://schemas.microsoft.com/office/powerpoint/2010/main" val="3065702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6" name="think-cell data - do not delete" hidden="1">
                        <a:extLst>
                          <a:ext uri="{FF2B5EF4-FFF2-40B4-BE49-F238E27FC236}">
                            <a16:creationId xmlns:a16="http://schemas.microsoft.com/office/drawing/2014/main" id="{33B2F500-A530-CC17-8B08-AF3EDCC74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252659" y="260268"/>
            <a:ext cx="9586415" cy="332399"/>
          </a:xfrm>
        </p:spPr>
        <p:txBody>
          <a:bodyPr vert="horz">
            <a:spAutoFit/>
          </a:bodyPr>
          <a:lstStyle>
            <a:lvl1pPr>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3" name="Content Placeholder 2"/>
          <p:cNvSpPr>
            <a:spLocks noGrp="1"/>
          </p:cNvSpPr>
          <p:nvPr>
            <p:ph idx="1"/>
          </p:nvPr>
        </p:nvSpPr>
        <p:spPr>
          <a:xfrm>
            <a:off x="252658" y="1208576"/>
            <a:ext cx="11518145" cy="5040145"/>
          </a:xfrm>
        </p:spPr>
        <p:txBody>
          <a:bodyPr/>
          <a:lstStyle>
            <a:lvl1pPr marL="269875" indent="-269875">
              <a:buFont typeface="+mj-lt"/>
              <a:buAutoNum type="arabicPeriod"/>
              <a:defRPr sz="1800">
                <a:latin typeface="Zurich Sans Light" panose="02000000000000000000" pitchFamily="2" charset="0"/>
                <a:cs typeface="Arial" panose="020B0604020202020204" pitchFamily="34" charset="0"/>
                <a:sym typeface="Zurich Sans Light" panose="02000000000000000000" pitchFamily="2" charset="0"/>
              </a:defRPr>
            </a:lvl1pPr>
            <a:lvl2pPr marL="539750" indent="-269875">
              <a:buFont typeface="+mj-lt"/>
              <a:buAutoNum type="arabicPeriod"/>
              <a:defRPr sz="1600">
                <a:latin typeface="Zurich Sans Light" panose="02000000000000000000" pitchFamily="2" charset="0"/>
                <a:cs typeface="Arial" panose="020B0604020202020204" pitchFamily="34" charset="0"/>
                <a:sym typeface="Zurich Sans Light" panose="02000000000000000000" pitchFamily="2" charset="0"/>
              </a:defRPr>
            </a:lvl2pPr>
            <a:lvl3pPr marL="717550" indent="-177800">
              <a:buFont typeface="+mj-lt"/>
              <a:buAutoNum type="arabicPeriod"/>
              <a:tabLst/>
              <a:defRPr sz="1400">
                <a:latin typeface="Zurich Sans Light" panose="02000000000000000000" pitchFamily="2" charset="0"/>
                <a:cs typeface="Arial" panose="020B0604020202020204" pitchFamily="34" charset="0"/>
                <a:sym typeface="Zurich Sans Light" panose="02000000000000000000" pitchFamily="2" charset="0"/>
              </a:defRPr>
            </a:lvl3pPr>
            <a:lvl4pPr marL="898525" indent="-180975">
              <a:buFont typeface="+mj-lt"/>
              <a:buAutoNum type="arabicPeriod"/>
              <a:defRPr sz="1200">
                <a:latin typeface="Zurich Sans Light" panose="02000000000000000000" pitchFamily="2" charset="0"/>
                <a:cs typeface="Arial" panose="020B0604020202020204" pitchFamily="34" charset="0"/>
                <a:sym typeface="Zurich Sans Light" panose="02000000000000000000" pitchFamily="2" charset="0"/>
              </a:defRPr>
            </a:lvl4pPr>
            <a:lvl5pPr marL="1074738" indent="-176213">
              <a:buFont typeface="+mj-lt"/>
              <a:buAutoNum type="arabicPeriod"/>
              <a:defRPr sz="1200">
                <a:latin typeface="Zurich Sans Light" panose="02000000000000000000" pitchFamily="2" charset="0"/>
                <a:cs typeface="Arial" panose="020B0604020202020204" pitchFamily="34" charset="0"/>
                <a:sym typeface="Zurich Sans Light"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1" name="Subtitle 2">
            <a:extLst>
              <a:ext uri="{FF2B5EF4-FFF2-40B4-BE49-F238E27FC236}">
                <a16:creationId xmlns:a16="http://schemas.microsoft.com/office/drawing/2014/main" id="{29817F0A-3E21-4700-B3FF-0F0F0F4AA75C}"/>
              </a:ext>
            </a:extLst>
          </p:cNvPr>
          <p:cNvSpPr>
            <a:spLocks noGrp="1"/>
          </p:cNvSpPr>
          <p:nvPr>
            <p:ph type="subTitle" idx="13"/>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Zurich Sans Light" panose="02000000000000000000" pitchFamily="2" charset="0"/>
                <a:cs typeface="Arial" panose="020B0604020202020204" pitchFamily="34" charset="0"/>
                <a:sym typeface="Zurich Sans Light" panose="02000000000000000000" pitchFamily="2"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Master-Untertitelformat bearbeiten</a:t>
            </a:r>
            <a:endParaRPr lang="en-GB" noProof="0"/>
          </a:p>
        </p:txBody>
      </p:sp>
      <p:sp>
        <p:nvSpPr>
          <p:cNvPr id="18" name="Slide Number Placeholder 5">
            <a:extLst>
              <a:ext uri="{FF2B5EF4-FFF2-40B4-BE49-F238E27FC236}">
                <a16:creationId xmlns:a16="http://schemas.microsoft.com/office/drawing/2014/main" id="{8031B39C-DF70-43CD-94D0-81EF6CC024A6}"/>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sp>
        <p:nvSpPr>
          <p:cNvPr id="33" name="Footer Placeholder 3">
            <a:extLst>
              <a:ext uri="{FF2B5EF4-FFF2-40B4-BE49-F238E27FC236}">
                <a16:creationId xmlns:a16="http://schemas.microsoft.com/office/drawing/2014/main" id="{4ED371B5-D44C-4D74-B5F8-F89D42D7167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endParaRPr lang="en-US"/>
          </a:p>
        </p:txBody>
      </p:sp>
      <p:pic>
        <p:nvPicPr>
          <p:cNvPr id="4" name="ZRS Logo Horozontal">
            <a:extLst>
              <a:ext uri="{FF2B5EF4-FFF2-40B4-BE49-F238E27FC236}">
                <a16:creationId xmlns:a16="http://schemas.microsoft.com/office/drawing/2014/main" id="{AB97E06A-0ED3-EC50-BFDD-F03F26C21D20}"/>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37048804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alf pag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0E0F0F2-1DD1-1BC8-C681-8C098369E526}"/>
              </a:ext>
            </a:extLst>
          </p:cNvPr>
          <p:cNvGraphicFramePr>
            <a:graphicFrameLocks noChangeAspect="1"/>
          </p:cNvGraphicFramePr>
          <p:nvPr userDrawn="1">
            <p:custDataLst>
              <p:tags r:id="rId1"/>
            </p:custDataLst>
            <p:extLst>
              <p:ext uri="{D42A27DB-BD31-4B8C-83A1-F6EECF244321}">
                <p14:modId xmlns:p14="http://schemas.microsoft.com/office/powerpoint/2010/main" val="952901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20E0F0F2-1DD1-1BC8-C681-8C098369E5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Content Placeholder 2">
            <a:extLst>
              <a:ext uri="{FF2B5EF4-FFF2-40B4-BE49-F238E27FC236}">
                <a16:creationId xmlns:a16="http://schemas.microsoft.com/office/drawing/2014/main" id="{7A3CE4CA-E01B-4314-8B29-11C79F5BD65F}"/>
              </a:ext>
            </a:extLst>
          </p:cNvPr>
          <p:cNvSpPr>
            <a:spLocks noGrp="1"/>
          </p:cNvSpPr>
          <p:nvPr>
            <p:ph idx="1" hasCustomPrompt="1"/>
          </p:nvPr>
        </p:nvSpPr>
        <p:spPr>
          <a:xfrm>
            <a:off x="0" y="0"/>
            <a:ext cx="6096000" cy="6858000"/>
          </a:xfrm>
        </p:spPr>
        <p:txBody>
          <a:bodyPr lIns="360000" tIns="1188000" rIns="360000" bIns="360000"/>
          <a:lstStyle>
            <a:lvl1pPr marL="0" indent="0" rtl="0">
              <a:buNone/>
              <a:defRPr sz="2000">
                <a:latin typeface="+mn-lt"/>
                <a:cs typeface="Arial" panose="020B0604020202020204" pitchFamily="34" charset="0"/>
              </a:defRPr>
            </a:lvl1pPr>
            <a:lvl2pPr marL="239712" indent="0" rtl="0">
              <a:buNone/>
              <a:defRPr sz="1600">
                <a:latin typeface="+mn-lt"/>
                <a:cs typeface="Arial" panose="020B0604020202020204" pitchFamily="34" charset="0"/>
              </a:defRPr>
            </a:lvl2pPr>
            <a:lvl3pPr marL="538163" indent="0" rtl="0">
              <a:buNone/>
              <a:defRPr sz="1400">
                <a:latin typeface="+mn-lt"/>
                <a:cs typeface="Arial" panose="020B0604020202020204" pitchFamily="34" charset="0"/>
              </a:defRPr>
            </a:lvl3pPr>
            <a:lvl4pPr marL="719138" indent="0" rtl="0">
              <a:buNone/>
              <a:defRPr sz="1200">
                <a:latin typeface="+mn-lt"/>
                <a:cs typeface="Arial" panose="020B0604020202020204" pitchFamily="34" charset="0"/>
              </a:defRPr>
            </a:lvl4pPr>
            <a:lvl5pPr marL="985837" indent="0" rtl="0">
              <a:buNone/>
              <a:defRPr sz="1200">
                <a:latin typeface="+mn-lt"/>
                <a:cs typeface="Arial" panose="020B0604020202020204" pitchFamily="34" charset="0"/>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20" name="Title 1">
            <a:extLst>
              <a:ext uri="{FF2B5EF4-FFF2-40B4-BE49-F238E27FC236}">
                <a16:creationId xmlns:a16="http://schemas.microsoft.com/office/drawing/2014/main" id="{6E310D89-47FE-194B-8632-078ED6BD782F}"/>
              </a:ext>
            </a:extLst>
          </p:cNvPr>
          <p:cNvSpPr>
            <a:spLocks noGrp="1"/>
          </p:cNvSpPr>
          <p:nvPr>
            <p:ph type="title" hasCustomPrompt="1"/>
          </p:nvPr>
        </p:nvSpPr>
        <p:spPr>
          <a:xfrm>
            <a:off x="334963" y="260268"/>
            <a:ext cx="9504111" cy="332399"/>
          </a:xfrm>
        </p:spPr>
        <p:txBody>
          <a:bodyPr vert="horz" wrap="square">
            <a:spAutoFit/>
          </a:bodyPr>
          <a:lstStyle>
            <a:lvl1pPr rtl="0">
              <a:defRPr>
                <a:latin typeface="+mj-lt"/>
                <a:cs typeface="Arial" panose="020B0604020202020204" pitchFamily="34" charset="0"/>
              </a:defRPr>
            </a:lvl1pPr>
          </a:lstStyle>
          <a:p>
            <a:r>
              <a:rPr lang="de-DE"/>
              <a:t>Click to edit Master title style</a:t>
            </a:r>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hasCustomPrompt="1"/>
          </p:nvPr>
        </p:nvSpPr>
        <p:spPr>
          <a:xfrm>
            <a:off x="334962" y="610597"/>
            <a:ext cx="9504111" cy="332399"/>
          </a:xfrm>
          <a:prstGeom prst="rect">
            <a:avLst/>
          </a:prstGeom>
        </p:spPr>
        <p:txBody>
          <a:bodyPr anchor="t">
            <a:normAutofit/>
          </a:bodyPr>
          <a:lstStyle>
            <a:lvl1pPr marL="0" indent="0" algn="l" rtl="0">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Click to edit Master subtitle style</a:t>
            </a:r>
            <a:endParaRPr lang="de-DE" noProof="0"/>
          </a:p>
        </p:txBody>
      </p:sp>
      <p:sp>
        <p:nvSpPr>
          <p:cNvPr id="33" name="Slide Number Placeholder 5">
            <a:extLst>
              <a:ext uri="{FF2B5EF4-FFF2-40B4-BE49-F238E27FC236}">
                <a16:creationId xmlns:a16="http://schemas.microsoft.com/office/drawing/2014/main" id="{714EC8C7-A133-478F-BF8B-66FEF67BC793}"/>
              </a:ext>
            </a:extLst>
          </p:cNvPr>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35" name="Footer Placeholder 3">
            <a:extLst>
              <a:ext uri="{FF2B5EF4-FFF2-40B4-BE49-F238E27FC236}">
                <a16:creationId xmlns:a16="http://schemas.microsoft.com/office/drawing/2014/main" id="{E5C41A63-DFB8-45B3-BA91-86A5B9928FC9}"/>
              </a:ext>
            </a:extLst>
          </p:cNvPr>
          <p:cNvSpPr>
            <a:spLocks noGrp="1"/>
          </p:cNvSpPr>
          <p:nvPr>
            <p:ph type="ftr" sz="quarter" idx="3"/>
          </p:nvPr>
        </p:nvSpPr>
        <p:spPr>
          <a:xfrm>
            <a:off x="2261053" y="6531715"/>
            <a:ext cx="8112000" cy="181960"/>
          </a:xfrm>
          <a:prstGeom prst="rect">
            <a:avLst/>
          </a:prstGeom>
        </p:spPr>
        <p:txBody>
          <a:bodyPr lIns="0" tIns="0" rIns="0" bIns="0"/>
          <a:lstStyle>
            <a:lvl1pPr algn="r" rtl="0">
              <a:defRPr sz="900">
                <a:solidFill>
                  <a:schemeClr val="accent1"/>
                </a:solidFill>
                <a:latin typeface="+mn-lt"/>
                <a:cs typeface="Arial" panose="020B0604020202020204" pitchFamily="34" charset="0"/>
              </a:defRPr>
            </a:lvl1pPr>
          </a:lstStyle>
          <a:p>
            <a:endParaRPr lang="de-DE"/>
          </a:p>
        </p:txBody>
      </p:sp>
      <p:sp>
        <p:nvSpPr>
          <p:cNvPr id="28" name="TextBox 27">
            <a:extLst>
              <a:ext uri="{FF2B5EF4-FFF2-40B4-BE49-F238E27FC236}">
                <a16:creationId xmlns:a16="http://schemas.microsoft.com/office/drawing/2014/main" id="{78FFDE00-DCA2-450F-83CF-D94DBA4AC31B}"/>
              </a:ext>
            </a:extLst>
          </p:cNvPr>
          <p:cNvSpPr txBox="1"/>
          <p:nvPr userDrawn="1"/>
        </p:nvSpPr>
        <p:spPr>
          <a:xfrm>
            <a:off x="11158230" y="6531715"/>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rtl="0"/>
            <a:r>
              <a:rPr lang="de-DE" sz="900">
                <a:latin typeface="+mn-lt"/>
                <a:cs typeface="Arial" panose="020B0604020202020204" pitchFamily="34" charset="0"/>
              </a:rPr>
              <a:t>© Zurich</a:t>
            </a:r>
          </a:p>
        </p:txBody>
      </p:sp>
      <p:sp>
        <p:nvSpPr>
          <p:cNvPr id="29" name="Content Placeholder 3">
            <a:extLst>
              <a:ext uri="{FF2B5EF4-FFF2-40B4-BE49-F238E27FC236}">
                <a16:creationId xmlns:a16="http://schemas.microsoft.com/office/drawing/2014/main" id="{D28AB84D-7A5A-4053-A68A-5AD1DF2F767B}"/>
              </a:ext>
            </a:extLst>
          </p:cNvPr>
          <p:cNvSpPr>
            <a:spLocks noGrp="1" noChangeAspect="1"/>
          </p:cNvSpPr>
          <p:nvPr>
            <p:ph sz="quarter" idx="31" hasCustomPrompt="1"/>
          </p:nvPr>
        </p:nvSpPr>
        <p:spPr>
          <a:xfrm>
            <a:off x="3334979" y="2482191"/>
            <a:ext cx="2160000" cy="2160000"/>
          </a:xfrm>
          <a:prstGeom prst="ellipse">
            <a:avLst/>
          </a:prstGeom>
          <a:solidFill>
            <a:schemeClr val="accent5"/>
          </a:solidFill>
        </p:spPr>
        <p:txBody>
          <a:bodyPr tIns="0" anchor="ctr" anchorCtr="0"/>
          <a:lstStyle>
            <a:lvl1pPr marL="0" indent="0" algn="ctr" rtl="0">
              <a:buNone/>
              <a:defRPr sz="2400">
                <a:latin typeface="+mj-lt"/>
              </a:defRPr>
            </a:lvl1pPr>
            <a:lvl2pPr marL="239712" indent="0" algn="ctr" rtl="0">
              <a:buNone/>
              <a:defRPr/>
            </a:lvl2pPr>
            <a:lvl3pPr marL="538163" indent="0" algn="ctr" rtl="0">
              <a:buNone/>
              <a:defRPr/>
            </a:lvl3pPr>
            <a:lvl4pPr marL="719138" indent="0" algn="ctr" rtl="0">
              <a:buNone/>
              <a:defRPr/>
            </a:lvl4pPr>
            <a:lvl5pPr marL="985837" indent="0" algn="ctr" rtl="0">
              <a:buNone/>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Tree>
    <p:extLst>
      <p:ext uri="{BB962C8B-B14F-4D97-AF65-F5344CB8AC3E}">
        <p14:creationId xmlns:p14="http://schemas.microsoft.com/office/powerpoint/2010/main" val="8538672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2 text boxe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62D949E-3E1A-8A0D-587F-29E61930533E}"/>
              </a:ext>
            </a:extLst>
          </p:cNvPr>
          <p:cNvGraphicFramePr>
            <a:graphicFrameLocks noChangeAspect="1"/>
          </p:cNvGraphicFramePr>
          <p:nvPr userDrawn="1">
            <p:custDataLst>
              <p:tags r:id="rId1"/>
            </p:custDataLst>
            <p:extLst>
              <p:ext uri="{D42A27DB-BD31-4B8C-83A1-F6EECF244321}">
                <p14:modId xmlns:p14="http://schemas.microsoft.com/office/powerpoint/2010/main" val="475065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5" name="think-cell data - do not delete" hidden="1">
                        <a:extLst>
                          <a:ext uri="{FF2B5EF4-FFF2-40B4-BE49-F238E27FC236}">
                            <a16:creationId xmlns:a16="http://schemas.microsoft.com/office/drawing/2014/main" id="{362D949E-3E1A-8A0D-587F-29E6193053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250824" y="1206178"/>
            <a:ext cx="5573967" cy="5040145"/>
          </a:xfrm>
        </p:spPr>
        <p:txBody>
          <a:bodyPr lIns="72000" tIns="72000" rIns="72000" bIns="72000"/>
          <a:lstStyle>
            <a:lvl1pPr>
              <a:defRPr sz="1800">
                <a:latin typeface="Zurich Sans Light" panose="02000000000000000000" pitchFamily="2" charset="0"/>
                <a:cs typeface="Arial" panose="020B0604020202020204" pitchFamily="34" charset="0"/>
                <a:sym typeface="Zurich Sans Light" panose="02000000000000000000" pitchFamily="2" charset="0"/>
              </a:defRPr>
            </a:lvl1pPr>
            <a:lvl2pPr>
              <a:defRPr sz="1600">
                <a:latin typeface="Zurich Sans Light" panose="02000000000000000000" pitchFamily="2" charset="0"/>
                <a:cs typeface="Arial" panose="020B0604020202020204" pitchFamily="34" charset="0"/>
                <a:sym typeface="Zurich Sans Light" panose="02000000000000000000" pitchFamily="2" charset="0"/>
              </a:defRPr>
            </a:lvl2pPr>
            <a:lvl3pPr>
              <a:defRPr sz="1400">
                <a:latin typeface="Zurich Sans Light" panose="02000000000000000000" pitchFamily="2" charset="0"/>
                <a:cs typeface="Arial" panose="020B0604020202020204" pitchFamily="34" charset="0"/>
                <a:sym typeface="Zurich Sans Light" panose="02000000000000000000" pitchFamily="2" charset="0"/>
              </a:defRPr>
            </a:lvl3pPr>
            <a:lvl4pPr>
              <a:defRPr sz="1200">
                <a:latin typeface="Zurich Sans Light" panose="02000000000000000000" pitchFamily="2" charset="0"/>
                <a:cs typeface="Arial" panose="020B0604020202020204" pitchFamily="34" charset="0"/>
                <a:sym typeface="Zurich Sans Light" panose="02000000000000000000" pitchFamily="2" charset="0"/>
              </a:defRPr>
            </a:lvl4pPr>
            <a:lvl5pPr>
              <a:defRPr sz="1200">
                <a:latin typeface="Zurich Sans Light" panose="02000000000000000000" pitchFamily="2" charset="0"/>
                <a:cs typeface="Arial" panose="020B0604020202020204" pitchFamily="34" charset="0"/>
                <a:sym typeface="Zurich Sans Light"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Content Placeholder 2">
            <a:extLst>
              <a:ext uri="{FF2B5EF4-FFF2-40B4-BE49-F238E27FC236}">
                <a16:creationId xmlns:a16="http://schemas.microsoft.com/office/drawing/2014/main" id="{DD38D433-C715-4635-977C-8E54E7555A08}"/>
              </a:ext>
            </a:extLst>
          </p:cNvPr>
          <p:cNvSpPr>
            <a:spLocks noGrp="1"/>
          </p:cNvSpPr>
          <p:nvPr>
            <p:ph idx="13"/>
          </p:nvPr>
        </p:nvSpPr>
        <p:spPr>
          <a:xfrm>
            <a:off x="6280731" y="1206177"/>
            <a:ext cx="5578776" cy="5040145"/>
          </a:xfrm>
        </p:spPr>
        <p:txBody>
          <a:bodyPr lIns="72000" tIns="72000" rIns="72000" bIns="72000"/>
          <a:lstStyle>
            <a:lvl1pPr>
              <a:defRPr sz="1800">
                <a:latin typeface="Zurich Sans Light" panose="02000000000000000000" pitchFamily="2" charset="0"/>
                <a:cs typeface="Arial" panose="020B0604020202020204" pitchFamily="34" charset="0"/>
                <a:sym typeface="Zurich Sans Light" panose="02000000000000000000" pitchFamily="2" charset="0"/>
              </a:defRPr>
            </a:lvl1pPr>
            <a:lvl2pPr>
              <a:defRPr sz="1600">
                <a:latin typeface="Zurich Sans Light" panose="02000000000000000000" pitchFamily="2" charset="0"/>
                <a:cs typeface="Arial" panose="020B0604020202020204" pitchFamily="34" charset="0"/>
                <a:sym typeface="Zurich Sans Light" panose="02000000000000000000" pitchFamily="2" charset="0"/>
              </a:defRPr>
            </a:lvl2pPr>
            <a:lvl3pPr>
              <a:defRPr sz="1400">
                <a:latin typeface="Zurich Sans Light" panose="02000000000000000000" pitchFamily="2" charset="0"/>
                <a:cs typeface="Arial" panose="020B0604020202020204" pitchFamily="34" charset="0"/>
                <a:sym typeface="Zurich Sans Light" panose="02000000000000000000" pitchFamily="2" charset="0"/>
              </a:defRPr>
            </a:lvl3pPr>
            <a:lvl4pPr>
              <a:defRPr sz="1200">
                <a:latin typeface="Zurich Sans Light" panose="02000000000000000000" pitchFamily="2" charset="0"/>
                <a:cs typeface="Arial" panose="020B0604020202020204" pitchFamily="34" charset="0"/>
                <a:sym typeface="Zurich Sans Light" panose="02000000000000000000" pitchFamily="2" charset="0"/>
              </a:defRPr>
            </a:lvl4pPr>
            <a:lvl5pPr>
              <a:defRPr sz="1200">
                <a:latin typeface="Zurich Sans Light" panose="02000000000000000000" pitchFamily="2" charset="0"/>
                <a:cs typeface="Arial" panose="020B0604020202020204" pitchFamily="34" charset="0"/>
                <a:sym typeface="Zurich Sans Light"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0" name="Title 1">
            <a:extLst>
              <a:ext uri="{FF2B5EF4-FFF2-40B4-BE49-F238E27FC236}">
                <a16:creationId xmlns:a16="http://schemas.microsoft.com/office/drawing/2014/main" id="{69E92947-3625-9041-9213-E2B75D84A8F0}"/>
              </a:ext>
            </a:extLst>
          </p:cNvPr>
          <p:cNvSpPr>
            <a:spLocks noGrp="1"/>
          </p:cNvSpPr>
          <p:nvPr>
            <p:ph type="title" hasCustomPrompt="1"/>
          </p:nvPr>
        </p:nvSpPr>
        <p:spPr>
          <a:xfrm>
            <a:off x="252659" y="260268"/>
            <a:ext cx="9586415" cy="332399"/>
          </a:xfrm>
        </p:spPr>
        <p:txBody>
          <a:bodyPr vert="horz">
            <a:spAutoFit/>
          </a:bodyPr>
          <a:lstStyle>
            <a:lvl1pPr>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21" name="Subtitle 2">
            <a:extLst>
              <a:ext uri="{FF2B5EF4-FFF2-40B4-BE49-F238E27FC236}">
                <a16:creationId xmlns:a16="http://schemas.microsoft.com/office/drawing/2014/main" id="{710AC261-10B5-584A-91F3-14A61852EFBE}"/>
              </a:ext>
            </a:extLst>
          </p:cNvPr>
          <p:cNvSpPr>
            <a:spLocks noGrp="1"/>
          </p:cNvSpPr>
          <p:nvPr>
            <p:ph type="subTitle" idx="14"/>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Zurich Sans Light" panose="02000000000000000000" pitchFamily="2" charset="0"/>
                <a:cs typeface="Arial" panose="020B0604020202020204" pitchFamily="34" charset="0"/>
                <a:sym typeface="Zurich Sans Light" panose="02000000000000000000" pitchFamily="2"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Master-Untertitelformat bearbeiten</a:t>
            </a:r>
            <a:endParaRPr lang="en-GB" noProof="0"/>
          </a:p>
        </p:txBody>
      </p:sp>
      <p:sp>
        <p:nvSpPr>
          <p:cNvPr id="32" name="Slide Number Placeholder 5">
            <a:extLst>
              <a:ext uri="{FF2B5EF4-FFF2-40B4-BE49-F238E27FC236}">
                <a16:creationId xmlns:a16="http://schemas.microsoft.com/office/drawing/2014/main" id="{7778DC4A-6DD8-4810-A49B-89B671171FAE}"/>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B66B4EB9-2868-4BA8-BD4D-16B8E7A16DF5}"/>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endParaRPr lang="en-US"/>
          </a:p>
        </p:txBody>
      </p:sp>
      <p:pic>
        <p:nvPicPr>
          <p:cNvPr id="2" name="ZRS Logo Horozontal">
            <a:extLst>
              <a:ext uri="{FF2B5EF4-FFF2-40B4-BE49-F238E27FC236}">
                <a16:creationId xmlns:a16="http://schemas.microsoft.com/office/drawing/2014/main" id="{1A0D281D-4F69-4D1F-0C90-39A3414AE637}"/>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293540249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text box and circle for imag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3BCA16E-8D76-E4B5-AC17-7B66A9A4E690}"/>
              </a:ext>
            </a:extLst>
          </p:cNvPr>
          <p:cNvGraphicFramePr>
            <a:graphicFrameLocks noChangeAspect="1"/>
          </p:cNvGraphicFramePr>
          <p:nvPr userDrawn="1">
            <p:custDataLst>
              <p:tags r:id="rId1"/>
            </p:custDataLst>
            <p:extLst>
              <p:ext uri="{D42A27DB-BD31-4B8C-83A1-F6EECF244321}">
                <p14:modId xmlns:p14="http://schemas.microsoft.com/office/powerpoint/2010/main" val="1276857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5" name="think-cell data - do not delete" hidden="1">
                        <a:extLst>
                          <a:ext uri="{FF2B5EF4-FFF2-40B4-BE49-F238E27FC236}">
                            <a16:creationId xmlns:a16="http://schemas.microsoft.com/office/drawing/2014/main" id="{93BCA16E-8D76-E4B5-AC17-7B66A9A4E6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250824" y="1206178"/>
            <a:ext cx="5573967" cy="5040145"/>
          </a:xfrm>
        </p:spPr>
        <p:txBody>
          <a:bodyPr lIns="72000" tIns="72000" rIns="72000" bIns="72000"/>
          <a:lstStyle>
            <a:lvl1pPr>
              <a:defRPr sz="1800">
                <a:latin typeface="Zurich Sans Light" panose="02000000000000000000" pitchFamily="2" charset="0"/>
                <a:cs typeface="Arial" panose="020B0604020202020204" pitchFamily="34" charset="0"/>
                <a:sym typeface="Zurich Sans Light" panose="02000000000000000000" pitchFamily="2" charset="0"/>
              </a:defRPr>
            </a:lvl1pPr>
            <a:lvl2pPr>
              <a:defRPr sz="1600">
                <a:latin typeface="Zurich Sans Light" panose="02000000000000000000" pitchFamily="2" charset="0"/>
                <a:cs typeface="Arial" panose="020B0604020202020204" pitchFamily="34" charset="0"/>
                <a:sym typeface="Zurich Sans Light" panose="02000000000000000000" pitchFamily="2" charset="0"/>
              </a:defRPr>
            </a:lvl2pPr>
            <a:lvl3pPr>
              <a:defRPr sz="1400">
                <a:latin typeface="Zurich Sans Light" panose="02000000000000000000" pitchFamily="2" charset="0"/>
                <a:cs typeface="Arial" panose="020B0604020202020204" pitchFamily="34" charset="0"/>
                <a:sym typeface="Zurich Sans Light" panose="02000000000000000000" pitchFamily="2" charset="0"/>
              </a:defRPr>
            </a:lvl3pPr>
            <a:lvl4pPr>
              <a:defRPr sz="1200">
                <a:latin typeface="Zurich Sans Light" panose="02000000000000000000" pitchFamily="2" charset="0"/>
                <a:cs typeface="Arial" panose="020B0604020202020204" pitchFamily="34" charset="0"/>
                <a:sym typeface="Zurich Sans Light" panose="02000000000000000000" pitchFamily="2" charset="0"/>
              </a:defRPr>
            </a:lvl4pPr>
            <a:lvl5pPr>
              <a:defRPr sz="1200">
                <a:latin typeface="Zurich Sans Light" panose="02000000000000000000" pitchFamily="2" charset="0"/>
                <a:cs typeface="Arial" panose="020B0604020202020204" pitchFamily="34" charset="0"/>
                <a:sym typeface="Zurich Sans Light"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Picture Placeholder 2">
            <a:extLst>
              <a:ext uri="{FF2B5EF4-FFF2-40B4-BE49-F238E27FC236}">
                <a16:creationId xmlns:a16="http://schemas.microsoft.com/office/drawing/2014/main" id="{E1605E3C-D76A-4678-9277-BF9E20857561}"/>
              </a:ext>
            </a:extLst>
          </p:cNvPr>
          <p:cNvSpPr>
            <a:spLocks noGrp="1"/>
          </p:cNvSpPr>
          <p:nvPr>
            <p:ph type="pic" sz="quarter" idx="13"/>
          </p:nvPr>
        </p:nvSpPr>
        <p:spPr>
          <a:xfrm>
            <a:off x="6813444" y="1274619"/>
            <a:ext cx="5040000" cy="5040000"/>
          </a:xfrm>
          <a:prstGeom prst="ellipse">
            <a:avLst/>
          </a:prstGeom>
        </p:spPr>
        <p:txBody>
          <a:bodyPr/>
          <a:lstStyle>
            <a:lvl1pPr algn="ctr">
              <a:buNone/>
              <a:defRPr b="0" i="0">
                <a:solidFill>
                  <a:srgbClr val="1C67AF"/>
                </a:solidFill>
                <a:latin typeface="Zurich Sans Light" panose="02000000000000000000" pitchFamily="2" charset="0"/>
                <a:cs typeface="Arial" panose="020B0604020202020204" pitchFamily="34" charset="0"/>
                <a:sym typeface="Zurich Sans Light" panose="02000000000000000000" pitchFamily="2" charset="0"/>
              </a:defRPr>
            </a:lvl1pPr>
          </a:lstStyle>
          <a:p>
            <a:r>
              <a:rPr lang="de-DE" noProof="0"/>
              <a:t>Bild durch Klicken auf Symbol hinzufügen</a:t>
            </a:r>
            <a:endParaRPr lang="en-US" noProof="0"/>
          </a:p>
        </p:txBody>
      </p:sp>
      <p:sp>
        <p:nvSpPr>
          <p:cNvPr id="20" name="Title 1">
            <a:extLst>
              <a:ext uri="{FF2B5EF4-FFF2-40B4-BE49-F238E27FC236}">
                <a16:creationId xmlns:a16="http://schemas.microsoft.com/office/drawing/2014/main" id="{C29EECA6-DA60-0545-94DA-DA2F8B81238E}"/>
              </a:ext>
            </a:extLst>
          </p:cNvPr>
          <p:cNvSpPr>
            <a:spLocks noGrp="1"/>
          </p:cNvSpPr>
          <p:nvPr>
            <p:ph type="title" hasCustomPrompt="1"/>
          </p:nvPr>
        </p:nvSpPr>
        <p:spPr>
          <a:xfrm>
            <a:off x="252659" y="260268"/>
            <a:ext cx="9586415" cy="332399"/>
          </a:xfrm>
        </p:spPr>
        <p:txBody>
          <a:bodyPr vert="horz">
            <a:spAutoFit/>
          </a:bodyPr>
          <a:lstStyle>
            <a:lvl1pPr>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21" name="Subtitle 2">
            <a:extLst>
              <a:ext uri="{FF2B5EF4-FFF2-40B4-BE49-F238E27FC236}">
                <a16:creationId xmlns:a16="http://schemas.microsoft.com/office/drawing/2014/main" id="{78EE7002-C39A-5A48-B25E-20539A4FFD23}"/>
              </a:ext>
            </a:extLst>
          </p:cNvPr>
          <p:cNvSpPr>
            <a:spLocks noGrp="1"/>
          </p:cNvSpPr>
          <p:nvPr>
            <p:ph type="subTitle" idx="14"/>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Zurich Sans Light" panose="02000000000000000000" pitchFamily="2" charset="0"/>
                <a:cs typeface="Arial" panose="020B0604020202020204" pitchFamily="34" charset="0"/>
                <a:sym typeface="Zurich Sans Light" panose="02000000000000000000" pitchFamily="2"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Master-Untertitelformat bearbeiten</a:t>
            </a:r>
            <a:endParaRPr lang="en-GB" noProof="0"/>
          </a:p>
        </p:txBody>
      </p:sp>
      <p:sp>
        <p:nvSpPr>
          <p:cNvPr id="32" name="Slide Number Placeholder 5">
            <a:extLst>
              <a:ext uri="{FF2B5EF4-FFF2-40B4-BE49-F238E27FC236}">
                <a16:creationId xmlns:a16="http://schemas.microsoft.com/office/drawing/2014/main" id="{3A975D44-BBDE-415E-AD10-4B5D27EC1F20}"/>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D7853777-3467-41CD-B494-D2A35BD43D1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endParaRPr lang="en-US"/>
          </a:p>
        </p:txBody>
      </p:sp>
      <p:pic>
        <p:nvPicPr>
          <p:cNvPr id="2" name="ZRS Logo Horozontal">
            <a:extLst>
              <a:ext uri="{FF2B5EF4-FFF2-40B4-BE49-F238E27FC236}">
                <a16:creationId xmlns:a16="http://schemas.microsoft.com/office/drawing/2014/main" id="{6B445970-D27C-405E-D60F-B67E301C6701}"/>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181661954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text box, Safe Space imag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ADFBC1C-ABB4-6CCE-0D0A-A63F969C687E}"/>
              </a:ext>
            </a:extLst>
          </p:cNvPr>
          <p:cNvGraphicFramePr>
            <a:graphicFrameLocks noChangeAspect="1"/>
          </p:cNvGraphicFramePr>
          <p:nvPr userDrawn="1">
            <p:custDataLst>
              <p:tags r:id="rId1"/>
            </p:custDataLst>
            <p:extLst>
              <p:ext uri="{D42A27DB-BD31-4B8C-83A1-F6EECF244321}">
                <p14:modId xmlns:p14="http://schemas.microsoft.com/office/powerpoint/2010/main" val="3992488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5" name="think-cell data - do not delete" hidden="1">
                        <a:extLst>
                          <a:ext uri="{FF2B5EF4-FFF2-40B4-BE49-F238E27FC236}">
                            <a16:creationId xmlns:a16="http://schemas.microsoft.com/office/drawing/2014/main" id="{7ADFBC1C-ABB4-6CCE-0D0A-A63F969C68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250824" y="1206178"/>
            <a:ext cx="5573967" cy="5040145"/>
          </a:xfrm>
        </p:spPr>
        <p:txBody>
          <a:bodyPr lIns="72000" tIns="72000" rIns="72000" bIns="72000"/>
          <a:lstStyle>
            <a:lvl1pPr>
              <a:defRPr sz="1800">
                <a:latin typeface="Zurich Sans Light" panose="02000000000000000000" pitchFamily="2" charset="0"/>
                <a:cs typeface="Arial" panose="020B0604020202020204" pitchFamily="34" charset="0"/>
                <a:sym typeface="Zurich Sans Light" panose="02000000000000000000" pitchFamily="2" charset="0"/>
              </a:defRPr>
            </a:lvl1pPr>
            <a:lvl2pPr>
              <a:defRPr sz="1600">
                <a:latin typeface="Zurich Sans Light" panose="02000000000000000000" pitchFamily="2" charset="0"/>
                <a:cs typeface="Arial" panose="020B0604020202020204" pitchFamily="34" charset="0"/>
                <a:sym typeface="Zurich Sans Light" panose="02000000000000000000" pitchFamily="2" charset="0"/>
              </a:defRPr>
            </a:lvl2pPr>
            <a:lvl3pPr>
              <a:defRPr sz="1400">
                <a:latin typeface="Zurich Sans Light" panose="02000000000000000000" pitchFamily="2" charset="0"/>
                <a:cs typeface="Arial" panose="020B0604020202020204" pitchFamily="34" charset="0"/>
                <a:sym typeface="Zurich Sans Light" panose="02000000000000000000" pitchFamily="2" charset="0"/>
              </a:defRPr>
            </a:lvl3pPr>
            <a:lvl4pPr>
              <a:defRPr sz="1200">
                <a:latin typeface="Zurich Sans Light" panose="02000000000000000000" pitchFamily="2" charset="0"/>
                <a:cs typeface="Arial" panose="020B0604020202020204" pitchFamily="34" charset="0"/>
                <a:sym typeface="Zurich Sans Light" panose="02000000000000000000" pitchFamily="2" charset="0"/>
              </a:defRPr>
            </a:lvl4pPr>
            <a:lvl5pPr>
              <a:defRPr sz="1200">
                <a:latin typeface="Zurich Sans Light" panose="02000000000000000000" pitchFamily="2" charset="0"/>
                <a:cs typeface="Arial" panose="020B0604020202020204" pitchFamily="34" charset="0"/>
                <a:sym typeface="Zurich Sans Light"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0" name="Title 1">
            <a:extLst>
              <a:ext uri="{FF2B5EF4-FFF2-40B4-BE49-F238E27FC236}">
                <a16:creationId xmlns:a16="http://schemas.microsoft.com/office/drawing/2014/main" id="{C29EECA6-DA60-0545-94DA-DA2F8B81238E}"/>
              </a:ext>
            </a:extLst>
          </p:cNvPr>
          <p:cNvSpPr>
            <a:spLocks noGrp="1"/>
          </p:cNvSpPr>
          <p:nvPr>
            <p:ph type="title" hasCustomPrompt="1"/>
          </p:nvPr>
        </p:nvSpPr>
        <p:spPr>
          <a:xfrm>
            <a:off x="252659" y="260268"/>
            <a:ext cx="9586415" cy="332399"/>
          </a:xfrm>
        </p:spPr>
        <p:txBody>
          <a:bodyPr vert="horz">
            <a:spAutoFit/>
          </a:bodyPr>
          <a:lstStyle>
            <a:lvl1pPr>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21" name="Subtitle 2">
            <a:extLst>
              <a:ext uri="{FF2B5EF4-FFF2-40B4-BE49-F238E27FC236}">
                <a16:creationId xmlns:a16="http://schemas.microsoft.com/office/drawing/2014/main" id="{78EE7002-C39A-5A48-B25E-20539A4FFD23}"/>
              </a:ext>
            </a:extLst>
          </p:cNvPr>
          <p:cNvSpPr>
            <a:spLocks noGrp="1"/>
          </p:cNvSpPr>
          <p:nvPr>
            <p:ph type="subTitle" idx="14"/>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Zurich Sans Light" panose="02000000000000000000" pitchFamily="2" charset="0"/>
                <a:cs typeface="Arial" panose="020B0604020202020204" pitchFamily="34" charset="0"/>
                <a:sym typeface="Zurich Sans Light" panose="02000000000000000000" pitchFamily="2"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Master-Untertitelformat bearbeiten</a:t>
            </a:r>
            <a:endParaRPr lang="en-GB" noProof="0"/>
          </a:p>
        </p:txBody>
      </p:sp>
      <p:sp>
        <p:nvSpPr>
          <p:cNvPr id="37" name="Picture Placeholder 23">
            <a:extLst>
              <a:ext uri="{FF2B5EF4-FFF2-40B4-BE49-F238E27FC236}">
                <a16:creationId xmlns:a16="http://schemas.microsoft.com/office/drawing/2014/main" id="{632F94C8-BFF9-44C4-AD1A-92E5E5E20C6E}"/>
              </a:ext>
            </a:extLst>
          </p:cNvPr>
          <p:cNvSpPr>
            <a:spLocks noGrp="1" noChangeAspect="1"/>
          </p:cNvSpPr>
          <p:nvPr>
            <p:ph type="pic" sz="quarter" idx="19"/>
          </p:nvPr>
        </p:nvSpPr>
        <p:spPr>
          <a:xfrm>
            <a:off x="6813533" y="1274619"/>
            <a:ext cx="5039466" cy="5040000"/>
          </a:xfrm>
          <a:custGeom>
            <a:avLst/>
            <a:gdLst>
              <a:gd name="connsiteX0" fmla="*/ 991609 w 1983218"/>
              <a:gd name="connsiteY0" fmla="*/ 0 h 1983428"/>
              <a:gd name="connsiteX1" fmla="*/ 1983218 w 1983218"/>
              <a:gd name="connsiteY1" fmla="*/ 991609 h 1983428"/>
              <a:gd name="connsiteX2" fmla="*/ 991399 w 1983218"/>
              <a:gd name="connsiteY2" fmla="*/ 1983428 h 1983428"/>
              <a:gd name="connsiteX3" fmla="*/ 237390 w 1983218"/>
              <a:gd name="connsiteY3" fmla="*/ 1635494 h 1983428"/>
              <a:gd name="connsiteX4" fmla="*/ 287345 w 1983218"/>
              <a:gd name="connsiteY4" fmla="*/ 1620941 h 1983428"/>
              <a:gd name="connsiteX5" fmla="*/ 339399 w 1983218"/>
              <a:gd name="connsiteY5" fmla="*/ 1616744 h 1983428"/>
              <a:gd name="connsiteX6" fmla="*/ 446934 w 1983218"/>
              <a:gd name="connsiteY6" fmla="*/ 1627798 h 1983428"/>
              <a:gd name="connsiteX7" fmla="*/ 538448 w 1983218"/>
              <a:gd name="connsiteY7" fmla="*/ 1637663 h 1983428"/>
              <a:gd name="connsiteX8" fmla="*/ 542996 w 1983218"/>
              <a:gd name="connsiteY8" fmla="*/ 1637593 h 1983428"/>
              <a:gd name="connsiteX9" fmla="*/ 620377 w 1983218"/>
              <a:gd name="connsiteY9" fmla="*/ 1612126 h 1983428"/>
              <a:gd name="connsiteX10" fmla="*/ 672640 w 1983218"/>
              <a:gd name="connsiteY10" fmla="*/ 1542861 h 1983428"/>
              <a:gd name="connsiteX11" fmla="*/ 686703 w 1983218"/>
              <a:gd name="connsiteY11" fmla="*/ 1502981 h 1983428"/>
              <a:gd name="connsiteX12" fmla="*/ 672570 w 1983218"/>
              <a:gd name="connsiteY12" fmla="*/ 1499413 h 1983428"/>
              <a:gd name="connsiteX13" fmla="*/ 667883 w 1983218"/>
              <a:gd name="connsiteY13" fmla="*/ 1508928 h 1983428"/>
              <a:gd name="connsiteX14" fmla="*/ 620517 w 1983218"/>
              <a:gd name="connsiteY14" fmla="*/ 1562941 h 1983428"/>
              <a:gd name="connsiteX15" fmla="*/ 586304 w 1983218"/>
              <a:gd name="connsiteY15" fmla="*/ 1579382 h 1983428"/>
              <a:gd name="connsiteX16" fmla="*/ 530752 w 1983218"/>
              <a:gd name="connsiteY16" fmla="*/ 1586029 h 1983428"/>
              <a:gd name="connsiteX17" fmla="*/ 488703 w 1983218"/>
              <a:gd name="connsiteY17" fmla="*/ 1584560 h 1983428"/>
              <a:gd name="connsiteX18" fmla="*/ 441757 w 1983218"/>
              <a:gd name="connsiteY18" fmla="*/ 1581621 h 1983428"/>
              <a:gd name="connsiteX19" fmla="*/ 392992 w 1983218"/>
              <a:gd name="connsiteY19" fmla="*/ 1579662 h 1983428"/>
              <a:gd name="connsiteX20" fmla="*/ 355001 w 1983218"/>
              <a:gd name="connsiteY20" fmla="*/ 1581551 h 1983428"/>
              <a:gd name="connsiteX21" fmla="*/ 619327 w 1983218"/>
              <a:gd name="connsiteY21" fmla="*/ 1228160 h 1983428"/>
              <a:gd name="connsiteX22" fmla="*/ 286715 w 1983218"/>
              <a:gd name="connsiteY22" fmla="*/ 1228160 h 1983428"/>
              <a:gd name="connsiteX23" fmla="*/ 260688 w 1983218"/>
              <a:gd name="connsiteY23" fmla="*/ 1328349 h 1983428"/>
              <a:gd name="connsiteX24" fmla="*/ 276221 w 1983218"/>
              <a:gd name="connsiteY24" fmla="*/ 1331847 h 1983428"/>
              <a:gd name="connsiteX25" fmla="*/ 280558 w 1983218"/>
              <a:gd name="connsiteY25" fmla="*/ 1323592 h 1983428"/>
              <a:gd name="connsiteX26" fmla="*/ 313092 w 1983218"/>
              <a:gd name="connsiteY26" fmla="*/ 1284901 h 1983428"/>
              <a:gd name="connsiteX27" fmla="*/ 345625 w 1983218"/>
              <a:gd name="connsiteY27" fmla="*/ 1271608 h 1983428"/>
              <a:gd name="connsiteX28" fmla="*/ 424825 w 1983218"/>
              <a:gd name="connsiteY28" fmla="*/ 1265451 h 1983428"/>
              <a:gd name="connsiteX29" fmla="*/ 453161 w 1983218"/>
              <a:gd name="connsiteY29" fmla="*/ 1265521 h 1983428"/>
              <a:gd name="connsiteX30" fmla="*/ 481777 w 1983218"/>
              <a:gd name="connsiteY30" fmla="*/ 1265451 h 1983428"/>
              <a:gd name="connsiteX31" fmla="*/ 218150 w 1983218"/>
              <a:gd name="connsiteY31" fmla="*/ 1611846 h 1983428"/>
              <a:gd name="connsiteX32" fmla="*/ 0 w 1983218"/>
              <a:gd name="connsiteY32" fmla="*/ 991609 h 1983428"/>
              <a:gd name="connsiteX33" fmla="*/ 991609 w 1983218"/>
              <a:gd name="connsiteY33" fmla="*/ 0 h 198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83218" h="1983428">
                <a:moveTo>
                  <a:pt x="991609" y="0"/>
                </a:moveTo>
                <a:cubicBezTo>
                  <a:pt x="1539293" y="0"/>
                  <a:pt x="1983218" y="443996"/>
                  <a:pt x="1983218" y="991609"/>
                </a:cubicBezTo>
                <a:cubicBezTo>
                  <a:pt x="1983218" y="1539293"/>
                  <a:pt x="1539293" y="1983218"/>
                  <a:pt x="991399" y="1983428"/>
                </a:cubicBezTo>
                <a:cubicBezTo>
                  <a:pt x="689502" y="1983428"/>
                  <a:pt x="419298" y="1848327"/>
                  <a:pt x="237390" y="1635494"/>
                </a:cubicBezTo>
                <a:cubicBezTo>
                  <a:pt x="256211" y="1627098"/>
                  <a:pt x="265516" y="1624370"/>
                  <a:pt x="287345" y="1620941"/>
                </a:cubicBezTo>
                <a:cubicBezTo>
                  <a:pt x="304696" y="1618073"/>
                  <a:pt x="321418" y="1616744"/>
                  <a:pt x="339399" y="1616744"/>
                </a:cubicBezTo>
                <a:cubicBezTo>
                  <a:pt x="366265" y="1616744"/>
                  <a:pt x="393481" y="1619542"/>
                  <a:pt x="446934" y="1627798"/>
                </a:cubicBezTo>
                <a:cubicBezTo>
                  <a:pt x="499548" y="1635844"/>
                  <a:pt x="516479" y="1637663"/>
                  <a:pt x="538448" y="1637663"/>
                </a:cubicBezTo>
                <a:lnTo>
                  <a:pt x="542996" y="1637593"/>
                </a:lnTo>
                <a:cubicBezTo>
                  <a:pt x="572661" y="1637103"/>
                  <a:pt x="597708" y="1628917"/>
                  <a:pt x="620377" y="1612126"/>
                </a:cubicBezTo>
                <a:cubicBezTo>
                  <a:pt x="642416" y="1595824"/>
                  <a:pt x="658437" y="1574555"/>
                  <a:pt x="672640" y="1542861"/>
                </a:cubicBezTo>
                <a:cubicBezTo>
                  <a:pt x="679707" y="1527189"/>
                  <a:pt x="682086" y="1520472"/>
                  <a:pt x="686703" y="1502981"/>
                </a:cubicBezTo>
                <a:lnTo>
                  <a:pt x="672570" y="1499413"/>
                </a:lnTo>
                <a:cubicBezTo>
                  <a:pt x="670681" y="1503681"/>
                  <a:pt x="668932" y="1506829"/>
                  <a:pt x="667883" y="1508928"/>
                </a:cubicBezTo>
                <a:cubicBezTo>
                  <a:pt x="657108" y="1529568"/>
                  <a:pt x="639057" y="1550067"/>
                  <a:pt x="620517" y="1562941"/>
                </a:cubicBezTo>
                <a:cubicBezTo>
                  <a:pt x="609882" y="1570077"/>
                  <a:pt x="598408" y="1575674"/>
                  <a:pt x="586304" y="1579382"/>
                </a:cubicBezTo>
                <a:cubicBezTo>
                  <a:pt x="570702" y="1584140"/>
                  <a:pt x="554960" y="1586029"/>
                  <a:pt x="530752" y="1586029"/>
                </a:cubicBezTo>
                <a:cubicBezTo>
                  <a:pt x="519907" y="1586029"/>
                  <a:pt x="505565" y="1585539"/>
                  <a:pt x="488703" y="1584560"/>
                </a:cubicBezTo>
                <a:lnTo>
                  <a:pt x="441757" y="1581621"/>
                </a:lnTo>
                <a:cubicBezTo>
                  <a:pt x="419998" y="1580362"/>
                  <a:pt x="403696" y="1579662"/>
                  <a:pt x="392992" y="1579662"/>
                </a:cubicBezTo>
                <a:cubicBezTo>
                  <a:pt x="379069" y="1579662"/>
                  <a:pt x="372142" y="1580012"/>
                  <a:pt x="355001" y="1581551"/>
                </a:cubicBezTo>
                <a:lnTo>
                  <a:pt x="619327" y="1228160"/>
                </a:lnTo>
                <a:lnTo>
                  <a:pt x="286715" y="1228160"/>
                </a:lnTo>
                <a:lnTo>
                  <a:pt x="260688" y="1328349"/>
                </a:lnTo>
                <a:lnTo>
                  <a:pt x="276221" y="1331847"/>
                </a:lnTo>
                <a:cubicBezTo>
                  <a:pt x="278110" y="1327999"/>
                  <a:pt x="279579" y="1325411"/>
                  <a:pt x="280558" y="1323592"/>
                </a:cubicBezTo>
                <a:cubicBezTo>
                  <a:pt x="289234" y="1308059"/>
                  <a:pt x="302527" y="1292317"/>
                  <a:pt x="313092" y="1284901"/>
                </a:cubicBezTo>
                <a:cubicBezTo>
                  <a:pt x="322117" y="1278534"/>
                  <a:pt x="333172" y="1274057"/>
                  <a:pt x="345625" y="1271608"/>
                </a:cubicBezTo>
                <a:cubicBezTo>
                  <a:pt x="366125" y="1267620"/>
                  <a:pt x="394531" y="1265451"/>
                  <a:pt x="424825" y="1265451"/>
                </a:cubicBezTo>
                <a:lnTo>
                  <a:pt x="453161" y="1265521"/>
                </a:lnTo>
                <a:lnTo>
                  <a:pt x="481777" y="1265451"/>
                </a:lnTo>
                <a:lnTo>
                  <a:pt x="218150" y="1611846"/>
                </a:lnTo>
                <a:cubicBezTo>
                  <a:pt x="81789" y="1441972"/>
                  <a:pt x="0" y="1226411"/>
                  <a:pt x="0" y="991609"/>
                </a:cubicBezTo>
                <a:cubicBezTo>
                  <a:pt x="0" y="443996"/>
                  <a:pt x="443996" y="0"/>
                  <a:pt x="991609" y="0"/>
                </a:cubicBezTo>
                <a:close/>
              </a:path>
            </a:pathLst>
          </a:custGeom>
        </p:spPr>
        <p:txBody>
          <a:bodyPr wrap="square">
            <a:noAutofit/>
          </a:bodyPr>
          <a:lstStyle>
            <a:lvl1pPr marL="0" indent="0" algn="ctr">
              <a:buNone/>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Bild durch Klicken auf Symbol hinzufügen</a:t>
            </a:r>
            <a:endParaRPr lang="en-US"/>
          </a:p>
        </p:txBody>
      </p:sp>
      <p:sp>
        <p:nvSpPr>
          <p:cNvPr id="33" name="Slide Number Placeholder 5">
            <a:extLst>
              <a:ext uri="{FF2B5EF4-FFF2-40B4-BE49-F238E27FC236}">
                <a16:creationId xmlns:a16="http://schemas.microsoft.com/office/drawing/2014/main" id="{2940119E-5F10-4EB4-B937-FD54D145016C}"/>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sp>
        <p:nvSpPr>
          <p:cNvPr id="35" name="Footer Placeholder 3">
            <a:extLst>
              <a:ext uri="{FF2B5EF4-FFF2-40B4-BE49-F238E27FC236}">
                <a16:creationId xmlns:a16="http://schemas.microsoft.com/office/drawing/2014/main" id="{40454D8E-1F3F-4D16-AA7F-FBF0AED1BC21}"/>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endParaRPr lang="en-US"/>
          </a:p>
        </p:txBody>
      </p:sp>
      <p:pic>
        <p:nvPicPr>
          <p:cNvPr id="2" name="ZRS Logo Horozontal">
            <a:extLst>
              <a:ext uri="{FF2B5EF4-FFF2-40B4-BE49-F238E27FC236}">
                <a16:creationId xmlns:a16="http://schemas.microsoft.com/office/drawing/2014/main" id="{571B679C-11D0-241A-BA7C-C50A4EF50321}"/>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411934404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text box, Safe Space image_2">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221CE5F-9685-00B3-8DF2-C9CAA98A55F4}"/>
              </a:ext>
            </a:extLst>
          </p:cNvPr>
          <p:cNvGraphicFramePr>
            <a:graphicFrameLocks noChangeAspect="1"/>
          </p:cNvGraphicFramePr>
          <p:nvPr userDrawn="1">
            <p:custDataLst>
              <p:tags r:id="rId1"/>
            </p:custDataLst>
            <p:extLst>
              <p:ext uri="{D42A27DB-BD31-4B8C-83A1-F6EECF244321}">
                <p14:modId xmlns:p14="http://schemas.microsoft.com/office/powerpoint/2010/main" val="4213254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5" name="think-cell data - do not delete" hidden="1">
                        <a:extLst>
                          <a:ext uri="{FF2B5EF4-FFF2-40B4-BE49-F238E27FC236}">
                            <a16:creationId xmlns:a16="http://schemas.microsoft.com/office/drawing/2014/main" id="{8221CE5F-9685-00B3-8DF2-C9CAA98A55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250824" y="1206178"/>
            <a:ext cx="5573967" cy="5040145"/>
          </a:xfrm>
        </p:spPr>
        <p:txBody>
          <a:bodyPr lIns="72000" tIns="72000" rIns="72000" bIns="72000"/>
          <a:lstStyle>
            <a:lvl1pPr>
              <a:defRPr sz="1800">
                <a:latin typeface="Zurich Sans Light" panose="02000000000000000000" pitchFamily="2" charset="0"/>
                <a:cs typeface="Arial" panose="020B0604020202020204" pitchFamily="34" charset="0"/>
                <a:sym typeface="Zurich Sans Light" panose="02000000000000000000" pitchFamily="2" charset="0"/>
              </a:defRPr>
            </a:lvl1pPr>
            <a:lvl2pPr>
              <a:defRPr sz="1600">
                <a:latin typeface="Zurich Sans Light" panose="02000000000000000000" pitchFamily="2" charset="0"/>
                <a:cs typeface="Arial" panose="020B0604020202020204" pitchFamily="34" charset="0"/>
                <a:sym typeface="Zurich Sans Light" panose="02000000000000000000" pitchFamily="2" charset="0"/>
              </a:defRPr>
            </a:lvl2pPr>
            <a:lvl3pPr>
              <a:defRPr sz="1400">
                <a:latin typeface="Zurich Sans Light" panose="02000000000000000000" pitchFamily="2" charset="0"/>
                <a:cs typeface="Arial" panose="020B0604020202020204" pitchFamily="34" charset="0"/>
                <a:sym typeface="Zurich Sans Light" panose="02000000000000000000" pitchFamily="2" charset="0"/>
              </a:defRPr>
            </a:lvl3pPr>
            <a:lvl4pPr>
              <a:defRPr sz="1200">
                <a:latin typeface="Zurich Sans Light" panose="02000000000000000000" pitchFamily="2" charset="0"/>
                <a:cs typeface="Arial" panose="020B0604020202020204" pitchFamily="34" charset="0"/>
                <a:sym typeface="Zurich Sans Light" panose="02000000000000000000" pitchFamily="2" charset="0"/>
              </a:defRPr>
            </a:lvl4pPr>
            <a:lvl5pPr>
              <a:defRPr sz="1200">
                <a:latin typeface="Zurich Sans Light" panose="02000000000000000000" pitchFamily="2" charset="0"/>
                <a:cs typeface="Arial" panose="020B0604020202020204" pitchFamily="34" charset="0"/>
                <a:sym typeface="Zurich Sans Light"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0" name="Title 1">
            <a:extLst>
              <a:ext uri="{FF2B5EF4-FFF2-40B4-BE49-F238E27FC236}">
                <a16:creationId xmlns:a16="http://schemas.microsoft.com/office/drawing/2014/main" id="{C29EECA6-DA60-0545-94DA-DA2F8B81238E}"/>
              </a:ext>
            </a:extLst>
          </p:cNvPr>
          <p:cNvSpPr>
            <a:spLocks noGrp="1"/>
          </p:cNvSpPr>
          <p:nvPr>
            <p:ph type="title" hasCustomPrompt="1"/>
          </p:nvPr>
        </p:nvSpPr>
        <p:spPr>
          <a:xfrm>
            <a:off x="252659" y="260268"/>
            <a:ext cx="9586415" cy="332399"/>
          </a:xfrm>
        </p:spPr>
        <p:txBody>
          <a:bodyPr vert="horz">
            <a:spAutoFit/>
          </a:bodyPr>
          <a:lstStyle>
            <a:lvl1pPr>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21" name="Subtitle 2">
            <a:extLst>
              <a:ext uri="{FF2B5EF4-FFF2-40B4-BE49-F238E27FC236}">
                <a16:creationId xmlns:a16="http://schemas.microsoft.com/office/drawing/2014/main" id="{78EE7002-C39A-5A48-B25E-20539A4FFD23}"/>
              </a:ext>
            </a:extLst>
          </p:cNvPr>
          <p:cNvSpPr>
            <a:spLocks noGrp="1"/>
          </p:cNvSpPr>
          <p:nvPr>
            <p:ph type="subTitle" idx="14"/>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Zurich Sans Light" panose="02000000000000000000" pitchFamily="2" charset="0"/>
                <a:cs typeface="Arial" panose="020B0604020202020204" pitchFamily="34" charset="0"/>
                <a:sym typeface="Zurich Sans Light" panose="02000000000000000000" pitchFamily="2"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Master-Untertitelformat bearbeiten</a:t>
            </a:r>
            <a:endParaRPr lang="en-GB" noProof="0"/>
          </a:p>
        </p:txBody>
      </p:sp>
      <p:sp>
        <p:nvSpPr>
          <p:cNvPr id="36" name="Picture Placeholder 22">
            <a:extLst>
              <a:ext uri="{FF2B5EF4-FFF2-40B4-BE49-F238E27FC236}">
                <a16:creationId xmlns:a16="http://schemas.microsoft.com/office/drawing/2014/main" id="{8A849791-6852-4C64-AE72-FB234CCCE27F}"/>
              </a:ext>
            </a:extLst>
          </p:cNvPr>
          <p:cNvSpPr>
            <a:spLocks noGrp="1" noChangeAspect="1"/>
          </p:cNvSpPr>
          <p:nvPr>
            <p:ph type="pic" sz="quarter" idx="18"/>
          </p:nvPr>
        </p:nvSpPr>
        <p:spPr>
          <a:xfrm>
            <a:off x="6813533" y="1274619"/>
            <a:ext cx="5040000" cy="5040000"/>
          </a:xfrm>
          <a:custGeom>
            <a:avLst/>
            <a:gdLst>
              <a:gd name="connsiteX0" fmla="*/ 991609 w 1983218"/>
              <a:gd name="connsiteY0" fmla="*/ 0 h 1983218"/>
              <a:gd name="connsiteX1" fmla="*/ 1983218 w 1983218"/>
              <a:gd name="connsiteY1" fmla="*/ 991609 h 1983218"/>
              <a:gd name="connsiteX2" fmla="*/ 991679 w 1983218"/>
              <a:gd name="connsiteY2" fmla="*/ 1983218 h 1983218"/>
              <a:gd name="connsiteX3" fmla="*/ 236970 w 1983218"/>
              <a:gd name="connsiteY3" fmla="*/ 1634445 h 1983218"/>
              <a:gd name="connsiteX4" fmla="*/ 303087 w 1983218"/>
              <a:gd name="connsiteY4" fmla="*/ 1615274 h 1983218"/>
              <a:gd name="connsiteX5" fmla="*/ 372492 w 1983218"/>
              <a:gd name="connsiteY5" fmla="*/ 1609677 h 1983218"/>
              <a:gd name="connsiteX6" fmla="*/ 515919 w 1983218"/>
              <a:gd name="connsiteY6" fmla="*/ 1624440 h 1983218"/>
              <a:gd name="connsiteX7" fmla="*/ 637938 w 1983218"/>
              <a:gd name="connsiteY7" fmla="*/ 1637593 h 1983218"/>
              <a:gd name="connsiteX8" fmla="*/ 643955 w 1983218"/>
              <a:gd name="connsiteY8" fmla="*/ 1637523 h 1983218"/>
              <a:gd name="connsiteX9" fmla="*/ 747083 w 1983218"/>
              <a:gd name="connsiteY9" fmla="*/ 1603520 h 1983218"/>
              <a:gd name="connsiteX10" fmla="*/ 816768 w 1983218"/>
              <a:gd name="connsiteY10" fmla="*/ 1511167 h 1983218"/>
              <a:gd name="connsiteX11" fmla="*/ 835448 w 1983218"/>
              <a:gd name="connsiteY11" fmla="*/ 1457994 h 1983218"/>
              <a:gd name="connsiteX12" fmla="*/ 816558 w 1983218"/>
              <a:gd name="connsiteY12" fmla="*/ 1453166 h 1983218"/>
              <a:gd name="connsiteX13" fmla="*/ 810261 w 1983218"/>
              <a:gd name="connsiteY13" fmla="*/ 1465830 h 1983218"/>
              <a:gd name="connsiteX14" fmla="*/ 747083 w 1983218"/>
              <a:gd name="connsiteY14" fmla="*/ 1537893 h 1983218"/>
              <a:gd name="connsiteX15" fmla="*/ 701466 w 1983218"/>
              <a:gd name="connsiteY15" fmla="*/ 1559862 h 1983218"/>
              <a:gd name="connsiteX16" fmla="*/ 627303 w 1983218"/>
              <a:gd name="connsiteY16" fmla="*/ 1568748 h 1983218"/>
              <a:gd name="connsiteX17" fmla="*/ 571192 w 1983218"/>
              <a:gd name="connsiteY17" fmla="*/ 1566789 h 1983218"/>
              <a:gd name="connsiteX18" fmla="*/ 508573 w 1983218"/>
              <a:gd name="connsiteY18" fmla="*/ 1562941 h 1983218"/>
              <a:gd name="connsiteX19" fmla="*/ 443576 w 1983218"/>
              <a:gd name="connsiteY19" fmla="*/ 1560352 h 1983218"/>
              <a:gd name="connsiteX20" fmla="*/ 392922 w 1983218"/>
              <a:gd name="connsiteY20" fmla="*/ 1562871 h 1983218"/>
              <a:gd name="connsiteX21" fmla="*/ 745334 w 1983218"/>
              <a:gd name="connsiteY21" fmla="*/ 1091659 h 1983218"/>
              <a:gd name="connsiteX22" fmla="*/ 301828 w 1983218"/>
              <a:gd name="connsiteY22" fmla="*/ 1091659 h 1983218"/>
              <a:gd name="connsiteX23" fmla="*/ 267125 w 1983218"/>
              <a:gd name="connsiteY23" fmla="*/ 1225291 h 1983218"/>
              <a:gd name="connsiteX24" fmla="*/ 287835 w 1983218"/>
              <a:gd name="connsiteY24" fmla="*/ 1229979 h 1983218"/>
              <a:gd name="connsiteX25" fmla="*/ 293572 w 1983218"/>
              <a:gd name="connsiteY25" fmla="*/ 1218924 h 1983218"/>
              <a:gd name="connsiteX26" fmla="*/ 336950 w 1983218"/>
              <a:gd name="connsiteY26" fmla="*/ 1167361 h 1983218"/>
              <a:gd name="connsiteX27" fmla="*/ 380328 w 1983218"/>
              <a:gd name="connsiteY27" fmla="*/ 1149659 h 1983218"/>
              <a:gd name="connsiteX28" fmla="*/ 485975 w 1983218"/>
              <a:gd name="connsiteY28" fmla="*/ 1141474 h 1983218"/>
              <a:gd name="connsiteX29" fmla="*/ 523755 w 1983218"/>
              <a:gd name="connsiteY29" fmla="*/ 1141544 h 1983218"/>
              <a:gd name="connsiteX30" fmla="*/ 561886 w 1983218"/>
              <a:gd name="connsiteY30" fmla="*/ 1141474 h 1983218"/>
              <a:gd name="connsiteX31" fmla="*/ 210943 w 1983218"/>
              <a:gd name="connsiteY31" fmla="*/ 1602681 h 1983218"/>
              <a:gd name="connsiteX32" fmla="*/ 0 w 1983218"/>
              <a:gd name="connsiteY32" fmla="*/ 991609 h 1983218"/>
              <a:gd name="connsiteX33" fmla="*/ 991609 w 1983218"/>
              <a:gd name="connsiteY33" fmla="*/ 0 h 198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83218" h="1983218">
                <a:moveTo>
                  <a:pt x="991609" y="0"/>
                </a:moveTo>
                <a:cubicBezTo>
                  <a:pt x="1539293" y="0"/>
                  <a:pt x="1983218" y="443996"/>
                  <a:pt x="1983218" y="991609"/>
                </a:cubicBezTo>
                <a:cubicBezTo>
                  <a:pt x="1983218" y="1539293"/>
                  <a:pt x="1539293" y="1983218"/>
                  <a:pt x="991679" y="1983218"/>
                </a:cubicBezTo>
                <a:cubicBezTo>
                  <a:pt x="689362" y="1983218"/>
                  <a:pt x="418878" y="1847767"/>
                  <a:pt x="236970" y="1634445"/>
                </a:cubicBezTo>
                <a:cubicBezTo>
                  <a:pt x="261668" y="1623390"/>
                  <a:pt x="274122" y="1619822"/>
                  <a:pt x="303087" y="1615274"/>
                </a:cubicBezTo>
                <a:cubicBezTo>
                  <a:pt x="326245" y="1611496"/>
                  <a:pt x="348494" y="1609677"/>
                  <a:pt x="372492" y="1609677"/>
                </a:cubicBezTo>
                <a:cubicBezTo>
                  <a:pt x="408314" y="1609677"/>
                  <a:pt x="444625" y="1613455"/>
                  <a:pt x="515919" y="1624440"/>
                </a:cubicBezTo>
                <a:cubicBezTo>
                  <a:pt x="586024" y="1635144"/>
                  <a:pt x="608693" y="1637593"/>
                  <a:pt x="637938" y="1637593"/>
                </a:cubicBezTo>
                <a:lnTo>
                  <a:pt x="643955" y="1637523"/>
                </a:lnTo>
                <a:cubicBezTo>
                  <a:pt x="683485" y="1636823"/>
                  <a:pt x="716858" y="1625909"/>
                  <a:pt x="747083" y="1603520"/>
                </a:cubicBezTo>
                <a:cubicBezTo>
                  <a:pt x="776468" y="1581831"/>
                  <a:pt x="797807" y="1553425"/>
                  <a:pt x="816768" y="1511167"/>
                </a:cubicBezTo>
                <a:cubicBezTo>
                  <a:pt x="826073" y="1490317"/>
                  <a:pt x="829291" y="1481362"/>
                  <a:pt x="835448" y="1457994"/>
                </a:cubicBezTo>
                <a:lnTo>
                  <a:pt x="816558" y="1453166"/>
                </a:lnTo>
                <a:cubicBezTo>
                  <a:pt x="813969" y="1458763"/>
                  <a:pt x="811660" y="1463031"/>
                  <a:pt x="810261" y="1465830"/>
                </a:cubicBezTo>
                <a:cubicBezTo>
                  <a:pt x="795918" y="1493326"/>
                  <a:pt x="771850" y="1520752"/>
                  <a:pt x="747083" y="1537893"/>
                </a:cubicBezTo>
                <a:cubicBezTo>
                  <a:pt x="732950" y="1547478"/>
                  <a:pt x="717628" y="1554895"/>
                  <a:pt x="701466" y="1559862"/>
                </a:cubicBezTo>
                <a:cubicBezTo>
                  <a:pt x="680546" y="1566229"/>
                  <a:pt x="659557" y="1568748"/>
                  <a:pt x="627303" y="1568748"/>
                </a:cubicBezTo>
                <a:cubicBezTo>
                  <a:pt x="612821" y="1568748"/>
                  <a:pt x="593720" y="1568048"/>
                  <a:pt x="571192" y="1566789"/>
                </a:cubicBezTo>
                <a:lnTo>
                  <a:pt x="508573" y="1562941"/>
                </a:lnTo>
                <a:cubicBezTo>
                  <a:pt x="479608" y="1561262"/>
                  <a:pt x="457849" y="1560352"/>
                  <a:pt x="443576" y="1560352"/>
                </a:cubicBezTo>
                <a:cubicBezTo>
                  <a:pt x="425035" y="1560352"/>
                  <a:pt x="415800" y="1560842"/>
                  <a:pt x="392922" y="1562871"/>
                </a:cubicBezTo>
                <a:lnTo>
                  <a:pt x="745334" y="1091659"/>
                </a:lnTo>
                <a:lnTo>
                  <a:pt x="301828" y="1091659"/>
                </a:lnTo>
                <a:lnTo>
                  <a:pt x="267125" y="1225291"/>
                </a:lnTo>
                <a:lnTo>
                  <a:pt x="287835" y="1229979"/>
                </a:lnTo>
                <a:cubicBezTo>
                  <a:pt x="290283" y="1224871"/>
                  <a:pt x="292242" y="1221303"/>
                  <a:pt x="293572" y="1218924"/>
                </a:cubicBezTo>
                <a:cubicBezTo>
                  <a:pt x="305116" y="1198285"/>
                  <a:pt x="322817" y="1177225"/>
                  <a:pt x="336950" y="1167361"/>
                </a:cubicBezTo>
                <a:cubicBezTo>
                  <a:pt x="348984" y="1158895"/>
                  <a:pt x="363746" y="1152948"/>
                  <a:pt x="380328" y="1149659"/>
                </a:cubicBezTo>
                <a:cubicBezTo>
                  <a:pt x="407684" y="1144342"/>
                  <a:pt x="445605" y="1141474"/>
                  <a:pt x="485975" y="1141474"/>
                </a:cubicBezTo>
                <a:lnTo>
                  <a:pt x="523755" y="1141544"/>
                </a:lnTo>
                <a:lnTo>
                  <a:pt x="561886" y="1141474"/>
                </a:lnTo>
                <a:lnTo>
                  <a:pt x="210943" y="1602681"/>
                </a:lnTo>
                <a:cubicBezTo>
                  <a:pt x="78920" y="1434276"/>
                  <a:pt x="0" y="1222213"/>
                  <a:pt x="0" y="991609"/>
                </a:cubicBezTo>
                <a:cubicBezTo>
                  <a:pt x="0" y="443996"/>
                  <a:pt x="443996" y="0"/>
                  <a:pt x="991609" y="0"/>
                </a:cubicBezTo>
                <a:close/>
              </a:path>
            </a:pathLst>
          </a:custGeom>
        </p:spPr>
        <p:txBody>
          <a:bodyPr wrap="square">
            <a:noAutofit/>
          </a:bodyPr>
          <a:lstStyle>
            <a:lvl1pPr marL="0" indent="0" algn="ctr">
              <a:buNone/>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Bild durch Klicken auf Symbol hinzufügen</a:t>
            </a:r>
            <a:endParaRPr lang="en-US"/>
          </a:p>
        </p:txBody>
      </p:sp>
      <p:sp>
        <p:nvSpPr>
          <p:cNvPr id="32" name="Slide Number Placeholder 5">
            <a:extLst>
              <a:ext uri="{FF2B5EF4-FFF2-40B4-BE49-F238E27FC236}">
                <a16:creationId xmlns:a16="http://schemas.microsoft.com/office/drawing/2014/main" id="{93FBEF06-3376-4805-93CA-9F93395D9603}"/>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84B6CFBF-971A-45D4-9A48-C535D13B975C}"/>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endParaRPr lang="en-US"/>
          </a:p>
        </p:txBody>
      </p:sp>
      <p:pic>
        <p:nvPicPr>
          <p:cNvPr id="2" name="ZRS Logo Horozontal">
            <a:extLst>
              <a:ext uri="{FF2B5EF4-FFF2-40B4-BE49-F238E27FC236}">
                <a16:creationId xmlns:a16="http://schemas.microsoft.com/office/drawing/2014/main" id="{C5080199-38AB-B6FB-333D-B31AD9699720}"/>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236455629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text box and 3 images ">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AEB982-48CE-5A7F-0C42-DAEB623D26A2}"/>
              </a:ext>
            </a:extLst>
          </p:cNvPr>
          <p:cNvGraphicFramePr>
            <a:graphicFrameLocks noChangeAspect="1"/>
          </p:cNvGraphicFramePr>
          <p:nvPr userDrawn="1">
            <p:custDataLst>
              <p:tags r:id="rId1"/>
            </p:custDataLst>
            <p:extLst>
              <p:ext uri="{D42A27DB-BD31-4B8C-83A1-F6EECF244321}">
                <p14:modId xmlns:p14="http://schemas.microsoft.com/office/powerpoint/2010/main" val="835337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think-cell data - do not delete" hidden="1">
                        <a:extLst>
                          <a:ext uri="{FF2B5EF4-FFF2-40B4-BE49-F238E27FC236}">
                            <a16:creationId xmlns:a16="http://schemas.microsoft.com/office/drawing/2014/main" id="{4CAEB982-48CE-5A7F-0C42-DAEB623D26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3">
            <a:extLst>
              <a:ext uri="{FF2B5EF4-FFF2-40B4-BE49-F238E27FC236}">
                <a16:creationId xmlns:a16="http://schemas.microsoft.com/office/drawing/2014/main" id="{240E76D1-56AB-41F8-8334-371CEAB4738C}"/>
              </a:ext>
            </a:extLst>
          </p:cNvPr>
          <p:cNvSpPr>
            <a:spLocks noGrp="1"/>
          </p:cNvSpPr>
          <p:nvPr>
            <p:ph type="pic" sz="quarter" idx="28" hasCustomPrompt="1"/>
          </p:nvPr>
        </p:nvSpPr>
        <p:spPr>
          <a:xfrm>
            <a:off x="959335" y="1654275"/>
            <a:ext cx="1920000" cy="1920000"/>
          </a:xfrm>
          <a:prstGeom prst="ellipse">
            <a:avLst/>
          </a:prstGeom>
        </p:spPr>
        <p:txBody>
          <a:bodyPr/>
          <a:lstStyle>
            <a:lvl1pPr marL="0" indent="0" algn="ctr">
              <a:buNone/>
              <a:defRPr sz="1333">
                <a:solidFill>
                  <a:srgbClr val="2167AE"/>
                </a:solidFill>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Photos here</a:t>
            </a:r>
            <a:endParaRPr lang="en-GB"/>
          </a:p>
        </p:txBody>
      </p:sp>
      <p:sp>
        <p:nvSpPr>
          <p:cNvPr id="17" name="Picture Placeholder 3">
            <a:extLst>
              <a:ext uri="{FF2B5EF4-FFF2-40B4-BE49-F238E27FC236}">
                <a16:creationId xmlns:a16="http://schemas.microsoft.com/office/drawing/2014/main" id="{BFDFBA93-64DC-4F26-953C-E4271D7A5F2C}"/>
              </a:ext>
            </a:extLst>
          </p:cNvPr>
          <p:cNvSpPr>
            <a:spLocks noGrp="1"/>
          </p:cNvSpPr>
          <p:nvPr>
            <p:ph type="pic" sz="quarter" idx="29"/>
          </p:nvPr>
        </p:nvSpPr>
        <p:spPr>
          <a:xfrm>
            <a:off x="4871864" y="1436992"/>
            <a:ext cx="1920000" cy="1920000"/>
          </a:xfrm>
          <a:prstGeom prst="ellipse">
            <a:avLst/>
          </a:prstGeom>
        </p:spPr>
        <p:txBody>
          <a:bodyPr/>
          <a:lstStyle>
            <a:lvl1pPr marL="0" indent="0" algn="ctr">
              <a:buNone/>
              <a:defRPr sz="1333">
                <a:solidFill>
                  <a:srgbClr val="2167AE"/>
                </a:solidFill>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Bild durch Klicken auf Symbol hinzufügen</a:t>
            </a:r>
            <a:endParaRPr lang="en-GB"/>
          </a:p>
        </p:txBody>
      </p:sp>
      <p:sp>
        <p:nvSpPr>
          <p:cNvPr id="18" name="Picture Placeholder 3">
            <a:extLst>
              <a:ext uri="{FF2B5EF4-FFF2-40B4-BE49-F238E27FC236}">
                <a16:creationId xmlns:a16="http://schemas.microsoft.com/office/drawing/2014/main" id="{33BE1813-D5B5-4415-BB63-F6AD5397276E}"/>
              </a:ext>
            </a:extLst>
          </p:cNvPr>
          <p:cNvSpPr>
            <a:spLocks noGrp="1"/>
          </p:cNvSpPr>
          <p:nvPr>
            <p:ph type="pic" sz="quarter" idx="30"/>
          </p:nvPr>
        </p:nvSpPr>
        <p:spPr>
          <a:xfrm>
            <a:off x="8688288" y="1436992"/>
            <a:ext cx="1920000" cy="1920000"/>
          </a:xfrm>
          <a:prstGeom prst="ellipse">
            <a:avLst/>
          </a:prstGeom>
        </p:spPr>
        <p:txBody>
          <a:bodyPr/>
          <a:lstStyle>
            <a:lvl1pPr marL="0" indent="0" algn="ctr">
              <a:buNone/>
              <a:defRPr sz="1333">
                <a:solidFill>
                  <a:srgbClr val="2167AE"/>
                </a:solidFill>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Bild durch Klicken auf Symbol hinzufügen</a:t>
            </a:r>
            <a:endParaRPr lang="en-GB"/>
          </a:p>
        </p:txBody>
      </p:sp>
      <p:sp>
        <p:nvSpPr>
          <p:cNvPr id="20" name="Title 1">
            <a:extLst>
              <a:ext uri="{FF2B5EF4-FFF2-40B4-BE49-F238E27FC236}">
                <a16:creationId xmlns:a16="http://schemas.microsoft.com/office/drawing/2014/main" id="{6E310D89-47FE-194B-8632-078ED6BD782F}"/>
              </a:ext>
            </a:extLst>
          </p:cNvPr>
          <p:cNvSpPr>
            <a:spLocks noGrp="1"/>
          </p:cNvSpPr>
          <p:nvPr>
            <p:ph type="title" hasCustomPrompt="1"/>
          </p:nvPr>
        </p:nvSpPr>
        <p:spPr>
          <a:xfrm>
            <a:off x="252659" y="260268"/>
            <a:ext cx="9586415" cy="332399"/>
          </a:xfrm>
        </p:spPr>
        <p:txBody>
          <a:bodyPr vert="horz">
            <a:spAutoFit/>
          </a:bodyPr>
          <a:lstStyle>
            <a:lvl1pPr>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Zurich Sans Light" panose="02000000000000000000" pitchFamily="2" charset="0"/>
                <a:cs typeface="Arial" panose="020B0604020202020204" pitchFamily="34" charset="0"/>
                <a:sym typeface="Zurich Sans Light" panose="02000000000000000000" pitchFamily="2"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Master-Untertitelformat bearbeiten</a:t>
            </a:r>
            <a:endParaRPr lang="en-GB" noProof="0"/>
          </a:p>
        </p:txBody>
      </p:sp>
      <p:sp>
        <p:nvSpPr>
          <p:cNvPr id="33" name="Slide Number Placeholder 5">
            <a:extLst>
              <a:ext uri="{FF2B5EF4-FFF2-40B4-BE49-F238E27FC236}">
                <a16:creationId xmlns:a16="http://schemas.microsoft.com/office/drawing/2014/main" id="{714EC8C7-A133-478F-BF8B-66FEF67BC793}"/>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sp>
        <p:nvSpPr>
          <p:cNvPr id="35" name="Footer Placeholder 3">
            <a:extLst>
              <a:ext uri="{FF2B5EF4-FFF2-40B4-BE49-F238E27FC236}">
                <a16:creationId xmlns:a16="http://schemas.microsoft.com/office/drawing/2014/main" id="{E5C41A63-DFB8-45B3-BA91-86A5B9928FC9}"/>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endParaRPr lang="en-US"/>
          </a:p>
        </p:txBody>
      </p:sp>
      <p:pic>
        <p:nvPicPr>
          <p:cNvPr id="2" name="ZRS Logo Horozontal">
            <a:extLst>
              <a:ext uri="{FF2B5EF4-FFF2-40B4-BE49-F238E27FC236}">
                <a16:creationId xmlns:a16="http://schemas.microsoft.com/office/drawing/2014/main" id="{67972E91-982F-BE0E-9DDE-D863558582E1}"/>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416917743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V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9DD719-2F19-F4F3-BFF4-BB6A15EFAA82}"/>
              </a:ext>
            </a:extLst>
          </p:cNvPr>
          <p:cNvGraphicFramePr>
            <a:graphicFrameLocks noChangeAspect="1"/>
          </p:cNvGraphicFramePr>
          <p:nvPr userDrawn="1">
            <p:custDataLst>
              <p:tags r:id="rId1"/>
            </p:custDataLst>
            <p:extLst>
              <p:ext uri="{D42A27DB-BD31-4B8C-83A1-F6EECF244321}">
                <p14:modId xmlns:p14="http://schemas.microsoft.com/office/powerpoint/2010/main" val="3316838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5" name="think-cell data - do not delete" hidden="1">
                        <a:extLst>
                          <a:ext uri="{FF2B5EF4-FFF2-40B4-BE49-F238E27FC236}">
                            <a16:creationId xmlns:a16="http://schemas.microsoft.com/office/drawing/2014/main" id="{9F9DD719-2F19-F4F3-BFF4-BB6A15EFA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0660FE9-7058-445A-A87D-587C9395E97C}"/>
              </a:ext>
            </a:extLst>
          </p:cNvPr>
          <p:cNvSpPr/>
          <p:nvPr userDrawn="1"/>
        </p:nvSpPr>
        <p:spPr>
          <a:xfrm>
            <a:off x="8234008" y="0"/>
            <a:ext cx="3960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000">
              <a:latin typeface="Zurich Sans Light" panose="02000000000000000000" pitchFamily="2" charset="0"/>
              <a:cs typeface="Arial" panose="020B0604020202020204" pitchFamily="34" charset="0"/>
              <a:sym typeface="Zurich Sans Light" panose="02000000000000000000" pitchFamily="2" charset="0"/>
            </a:endParaRPr>
          </a:p>
        </p:txBody>
      </p:sp>
      <p:sp>
        <p:nvSpPr>
          <p:cNvPr id="18" name="Picture Placeholder 3">
            <a:extLst>
              <a:ext uri="{FF2B5EF4-FFF2-40B4-BE49-F238E27FC236}">
                <a16:creationId xmlns:a16="http://schemas.microsoft.com/office/drawing/2014/main" id="{33BE1813-D5B5-4415-BB63-F6AD5397276E}"/>
              </a:ext>
            </a:extLst>
          </p:cNvPr>
          <p:cNvSpPr>
            <a:spLocks noGrp="1"/>
          </p:cNvSpPr>
          <p:nvPr>
            <p:ph type="pic" sz="quarter" idx="30"/>
          </p:nvPr>
        </p:nvSpPr>
        <p:spPr>
          <a:xfrm>
            <a:off x="9413053" y="1509000"/>
            <a:ext cx="1920000" cy="1920000"/>
          </a:xfrm>
          <a:prstGeom prst="ellipse">
            <a:avLst/>
          </a:prstGeom>
        </p:spPr>
        <p:txBody>
          <a:bodyPr/>
          <a:lstStyle>
            <a:lvl1pPr marL="0" indent="0" algn="ctr">
              <a:buNone/>
              <a:defRPr sz="1333">
                <a:solidFill>
                  <a:srgbClr val="2167AE"/>
                </a:solidFill>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Bild durch Klicken auf Symbol hinzufügen</a:t>
            </a:r>
            <a:endParaRPr lang="en-GB"/>
          </a:p>
        </p:txBody>
      </p:sp>
      <p:sp>
        <p:nvSpPr>
          <p:cNvPr id="20" name="Title 1">
            <a:extLst>
              <a:ext uri="{FF2B5EF4-FFF2-40B4-BE49-F238E27FC236}">
                <a16:creationId xmlns:a16="http://schemas.microsoft.com/office/drawing/2014/main" id="{6E310D89-47FE-194B-8632-078ED6BD782F}"/>
              </a:ext>
            </a:extLst>
          </p:cNvPr>
          <p:cNvSpPr>
            <a:spLocks noGrp="1"/>
          </p:cNvSpPr>
          <p:nvPr>
            <p:ph type="title" hasCustomPrompt="1"/>
          </p:nvPr>
        </p:nvSpPr>
        <p:spPr>
          <a:xfrm>
            <a:off x="252659" y="260268"/>
            <a:ext cx="7621515" cy="332399"/>
          </a:xfrm>
        </p:spPr>
        <p:txBody>
          <a:bodyPr vert="horz" wrap="square">
            <a:spAutoFit/>
          </a:bodyPr>
          <a:lstStyle>
            <a:lvl1pPr>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p:nvPr>
        </p:nvSpPr>
        <p:spPr>
          <a:xfrm>
            <a:off x="252658" y="610597"/>
            <a:ext cx="76215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Zurich Sans Light" panose="02000000000000000000" pitchFamily="2" charset="0"/>
                <a:cs typeface="Arial" panose="020B0604020202020204" pitchFamily="34" charset="0"/>
                <a:sym typeface="Zurich Sans Light" panose="02000000000000000000" pitchFamily="2"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Master-Untertitelformat bearbeiten</a:t>
            </a:r>
            <a:endParaRPr lang="en-GB" noProof="0"/>
          </a:p>
        </p:txBody>
      </p:sp>
      <p:sp>
        <p:nvSpPr>
          <p:cNvPr id="33" name="Content Placeholder 2">
            <a:extLst>
              <a:ext uri="{FF2B5EF4-FFF2-40B4-BE49-F238E27FC236}">
                <a16:creationId xmlns:a16="http://schemas.microsoft.com/office/drawing/2014/main" id="{22F76E53-ED3E-4712-828A-462700FD54D1}"/>
              </a:ext>
            </a:extLst>
          </p:cNvPr>
          <p:cNvSpPr>
            <a:spLocks noGrp="1"/>
          </p:cNvSpPr>
          <p:nvPr>
            <p:ph idx="1"/>
          </p:nvPr>
        </p:nvSpPr>
        <p:spPr>
          <a:xfrm>
            <a:off x="250824" y="1206178"/>
            <a:ext cx="7621515" cy="5040145"/>
          </a:xfrm>
        </p:spPr>
        <p:txBody>
          <a:bodyPr lIns="72000" tIns="72000" rIns="72000" bIns="72000"/>
          <a:lstStyle>
            <a:lvl1pPr>
              <a:defRPr sz="1800">
                <a:latin typeface="Zurich Sans Light" panose="02000000000000000000" pitchFamily="2" charset="0"/>
                <a:cs typeface="Arial" panose="020B0604020202020204" pitchFamily="34" charset="0"/>
                <a:sym typeface="Zurich Sans Light" panose="02000000000000000000" pitchFamily="2" charset="0"/>
              </a:defRPr>
            </a:lvl1pPr>
            <a:lvl2pPr>
              <a:defRPr sz="1600">
                <a:latin typeface="Zurich Sans Light" panose="02000000000000000000" pitchFamily="2" charset="0"/>
                <a:cs typeface="Arial" panose="020B0604020202020204" pitchFamily="34" charset="0"/>
                <a:sym typeface="Zurich Sans Light" panose="02000000000000000000" pitchFamily="2" charset="0"/>
              </a:defRPr>
            </a:lvl2pPr>
            <a:lvl3pPr>
              <a:defRPr sz="1400">
                <a:latin typeface="Zurich Sans Light" panose="02000000000000000000" pitchFamily="2" charset="0"/>
                <a:cs typeface="Arial" panose="020B0604020202020204" pitchFamily="34" charset="0"/>
                <a:sym typeface="Zurich Sans Light" panose="02000000000000000000" pitchFamily="2" charset="0"/>
              </a:defRPr>
            </a:lvl3pPr>
            <a:lvl4pPr>
              <a:defRPr sz="1200">
                <a:latin typeface="Zurich Sans Light" panose="02000000000000000000" pitchFamily="2" charset="0"/>
                <a:cs typeface="Arial" panose="020B0604020202020204" pitchFamily="34" charset="0"/>
                <a:sym typeface="Zurich Sans Light" panose="02000000000000000000" pitchFamily="2" charset="0"/>
              </a:defRPr>
            </a:lvl4pPr>
            <a:lvl5pPr>
              <a:defRPr sz="1200">
                <a:latin typeface="Zurich Sans Light" panose="02000000000000000000" pitchFamily="2" charset="0"/>
                <a:cs typeface="Arial" panose="020B0604020202020204" pitchFamily="34" charset="0"/>
                <a:sym typeface="Zurich Sans Light"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4" name="Slide Number Placeholder 5">
            <a:extLst>
              <a:ext uri="{FF2B5EF4-FFF2-40B4-BE49-F238E27FC236}">
                <a16:creationId xmlns:a16="http://schemas.microsoft.com/office/drawing/2014/main" id="{3E83A98D-348B-40D1-B8DE-954D062DE5ED}"/>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sp>
        <p:nvSpPr>
          <p:cNvPr id="35" name="TextBox 34">
            <a:extLst>
              <a:ext uri="{FF2B5EF4-FFF2-40B4-BE49-F238E27FC236}">
                <a16:creationId xmlns:a16="http://schemas.microsoft.com/office/drawing/2014/main" id="{20454A9A-E833-4775-8C2D-33EB42BCE6B5}"/>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Zurich Sans Light" panose="02000000000000000000" pitchFamily="2" charset="0"/>
                <a:cs typeface="Arial" panose="020B0604020202020204" pitchFamily="34" charset="0"/>
                <a:sym typeface="Zurich Sans Light" panose="02000000000000000000" pitchFamily="2" charset="0"/>
              </a:rPr>
              <a:t>© Zurich</a:t>
            </a:r>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endParaRPr lang="en-US"/>
          </a:p>
        </p:txBody>
      </p:sp>
      <p:pic>
        <p:nvPicPr>
          <p:cNvPr id="3" name="ZRS Logo Horozontal">
            <a:extLst>
              <a:ext uri="{FF2B5EF4-FFF2-40B4-BE49-F238E27FC236}">
                <a16:creationId xmlns:a16="http://schemas.microsoft.com/office/drawing/2014/main" id="{0D845FD1-57DC-C7F7-7EFE-50069DE82356}"/>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400365944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47835D-75EC-A62D-9B61-8A2BCD111B16}"/>
              </a:ext>
            </a:extLst>
          </p:cNvPr>
          <p:cNvGraphicFramePr>
            <a:graphicFrameLocks noChangeAspect="1"/>
          </p:cNvGraphicFramePr>
          <p:nvPr userDrawn="1">
            <p:custDataLst>
              <p:tags r:id="rId1"/>
            </p:custDataLst>
            <p:extLst>
              <p:ext uri="{D42A27DB-BD31-4B8C-83A1-F6EECF244321}">
                <p14:modId xmlns:p14="http://schemas.microsoft.com/office/powerpoint/2010/main" val="1582984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think-cell data - do not delete" hidden="1">
                        <a:extLst>
                          <a:ext uri="{FF2B5EF4-FFF2-40B4-BE49-F238E27FC236}">
                            <a16:creationId xmlns:a16="http://schemas.microsoft.com/office/drawing/2014/main" id="{3147835D-75EC-A62D-9B61-8A2BCD111B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9979B0B5-DCB0-844D-8724-1DB31C8A8C0B}"/>
              </a:ext>
            </a:extLst>
          </p:cNvPr>
          <p:cNvSpPr>
            <a:spLocks noGrp="1"/>
          </p:cNvSpPr>
          <p:nvPr>
            <p:ph type="title" hasCustomPrompt="1"/>
          </p:nvPr>
        </p:nvSpPr>
        <p:spPr>
          <a:xfrm>
            <a:off x="407988" y="260268"/>
            <a:ext cx="9418320" cy="332399"/>
          </a:xfrm>
        </p:spPr>
        <p:txBody>
          <a:bodyPr vert="horz">
            <a:spAutoFit/>
          </a:bodyPr>
          <a:lstStyle>
            <a:lvl1pPr>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28" name="Slide Number Placeholder 5">
            <a:extLst>
              <a:ext uri="{FF2B5EF4-FFF2-40B4-BE49-F238E27FC236}">
                <a16:creationId xmlns:a16="http://schemas.microsoft.com/office/drawing/2014/main" id="{54613BA4-3F37-477A-9F83-816FFC37569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sp>
        <p:nvSpPr>
          <p:cNvPr id="30" name="Footer Placeholder 3">
            <a:extLst>
              <a:ext uri="{FF2B5EF4-FFF2-40B4-BE49-F238E27FC236}">
                <a16:creationId xmlns:a16="http://schemas.microsoft.com/office/drawing/2014/main" id="{3866945B-F4D3-4972-8A47-C02C9E2AC957}"/>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endParaRPr lang="en-US"/>
          </a:p>
        </p:txBody>
      </p:sp>
      <p:pic>
        <p:nvPicPr>
          <p:cNvPr id="2" name="ZRS Logo Horozontal">
            <a:extLst>
              <a:ext uri="{FF2B5EF4-FFF2-40B4-BE49-F238E27FC236}">
                <a16:creationId xmlns:a16="http://schemas.microsoft.com/office/drawing/2014/main" id="{E596DD75-5364-10E9-B4FC-6AC8DEA13895}"/>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148859136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47835D-75EC-A62D-9B61-8A2BCD111B16}"/>
              </a:ext>
            </a:extLst>
          </p:cNvPr>
          <p:cNvGraphicFramePr>
            <a:graphicFrameLocks noChangeAspect="1"/>
          </p:cNvGraphicFramePr>
          <p:nvPr userDrawn="1">
            <p:custDataLst>
              <p:tags r:id="rId1"/>
            </p:custDataLst>
            <p:extLst>
              <p:ext uri="{D42A27DB-BD31-4B8C-83A1-F6EECF244321}">
                <p14:modId xmlns:p14="http://schemas.microsoft.com/office/powerpoint/2010/main" val="3510287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think-cell data - do not delete" hidden="1">
                        <a:extLst>
                          <a:ext uri="{FF2B5EF4-FFF2-40B4-BE49-F238E27FC236}">
                            <a16:creationId xmlns:a16="http://schemas.microsoft.com/office/drawing/2014/main" id="{3147835D-75EC-A62D-9B61-8A2BCD111B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9979B0B5-DCB0-844D-8724-1DB31C8A8C0B}"/>
              </a:ext>
            </a:extLst>
          </p:cNvPr>
          <p:cNvSpPr>
            <a:spLocks noGrp="1"/>
          </p:cNvSpPr>
          <p:nvPr>
            <p:ph type="title" hasCustomPrompt="1"/>
          </p:nvPr>
        </p:nvSpPr>
        <p:spPr>
          <a:xfrm>
            <a:off x="407988" y="260268"/>
            <a:ext cx="9418320" cy="332399"/>
          </a:xfrm>
        </p:spPr>
        <p:txBody>
          <a:bodyPr vert="horz">
            <a:spAutoFit/>
          </a:bodyPr>
          <a:lstStyle>
            <a:lvl1pPr>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28" name="Slide Number Placeholder 5">
            <a:extLst>
              <a:ext uri="{FF2B5EF4-FFF2-40B4-BE49-F238E27FC236}">
                <a16:creationId xmlns:a16="http://schemas.microsoft.com/office/drawing/2014/main" id="{54613BA4-3F37-477A-9F83-816FFC37569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sp>
        <p:nvSpPr>
          <p:cNvPr id="30" name="Footer Placeholder 3">
            <a:extLst>
              <a:ext uri="{FF2B5EF4-FFF2-40B4-BE49-F238E27FC236}">
                <a16:creationId xmlns:a16="http://schemas.microsoft.com/office/drawing/2014/main" id="{3866945B-F4D3-4972-8A47-C02C9E2AC957}"/>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endParaRPr lang="en-US"/>
          </a:p>
        </p:txBody>
      </p:sp>
      <p:pic>
        <p:nvPicPr>
          <p:cNvPr id="2" name="ZRS Logo Horozontal">
            <a:extLst>
              <a:ext uri="{FF2B5EF4-FFF2-40B4-BE49-F238E27FC236}">
                <a16:creationId xmlns:a16="http://schemas.microsoft.com/office/drawing/2014/main" id="{E596DD75-5364-10E9-B4FC-6AC8DEA13895}"/>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
        <p:nvSpPr>
          <p:cNvPr id="15" name="Picture Placeholder 9">
            <a:extLst>
              <a:ext uri="{FF2B5EF4-FFF2-40B4-BE49-F238E27FC236}">
                <a16:creationId xmlns:a16="http://schemas.microsoft.com/office/drawing/2014/main" id="{0241D74D-66AF-AD41-2A04-199712E90A3E}"/>
              </a:ext>
            </a:extLst>
          </p:cNvPr>
          <p:cNvSpPr>
            <a:spLocks noGrp="1"/>
          </p:cNvSpPr>
          <p:nvPr>
            <p:ph type="pic" sz="quarter" idx="10" hasCustomPrompt="1"/>
          </p:nvPr>
        </p:nvSpPr>
        <p:spPr>
          <a:xfrm>
            <a:off x="491501" y="1490521"/>
            <a:ext cx="978408" cy="978408"/>
          </a:xfrm>
          <a:prstGeom prst="ellipse">
            <a:avLst/>
          </a:prstGeom>
          <a:solidFill>
            <a:schemeClr val="accent2"/>
          </a:solidFill>
        </p:spPr>
        <p:txBody>
          <a:bodyPr/>
          <a:lstStyle>
            <a:lvl1pPr marL="0" indent="0" algn="ctr">
              <a:buFontTx/>
              <a:buNone/>
              <a:defRPr sz="1100"/>
            </a:lvl1pPr>
          </a:lstStyle>
          <a:p>
            <a:r>
              <a:rPr lang="en-US"/>
              <a:t>Photo</a:t>
            </a:r>
          </a:p>
        </p:txBody>
      </p:sp>
      <p:sp>
        <p:nvSpPr>
          <p:cNvPr id="17" name="Picture Placeholder 9">
            <a:extLst>
              <a:ext uri="{FF2B5EF4-FFF2-40B4-BE49-F238E27FC236}">
                <a16:creationId xmlns:a16="http://schemas.microsoft.com/office/drawing/2014/main" id="{C177198C-D6B2-2AE1-FD99-0C1AB81E9F13}"/>
              </a:ext>
            </a:extLst>
          </p:cNvPr>
          <p:cNvSpPr>
            <a:spLocks noGrp="1"/>
          </p:cNvSpPr>
          <p:nvPr>
            <p:ph type="pic" sz="quarter" idx="11" hasCustomPrompt="1"/>
          </p:nvPr>
        </p:nvSpPr>
        <p:spPr>
          <a:xfrm>
            <a:off x="491501" y="2754799"/>
            <a:ext cx="978408" cy="978408"/>
          </a:xfrm>
          <a:prstGeom prst="ellipse">
            <a:avLst/>
          </a:prstGeom>
          <a:solidFill>
            <a:schemeClr val="accent2"/>
          </a:solidFill>
        </p:spPr>
        <p:txBody>
          <a:bodyPr/>
          <a:lstStyle>
            <a:lvl1pPr marL="0" indent="0" algn="ctr">
              <a:buFontTx/>
              <a:buNone/>
              <a:defRPr sz="1100"/>
            </a:lvl1pPr>
          </a:lstStyle>
          <a:p>
            <a:r>
              <a:rPr lang="en-US"/>
              <a:t>Photo</a:t>
            </a:r>
          </a:p>
        </p:txBody>
      </p:sp>
      <p:sp>
        <p:nvSpPr>
          <p:cNvPr id="18" name="Picture Placeholder 9">
            <a:extLst>
              <a:ext uri="{FF2B5EF4-FFF2-40B4-BE49-F238E27FC236}">
                <a16:creationId xmlns:a16="http://schemas.microsoft.com/office/drawing/2014/main" id="{3CB5F2FC-3552-920C-E3A7-A7F17EA822C9}"/>
              </a:ext>
            </a:extLst>
          </p:cNvPr>
          <p:cNvSpPr>
            <a:spLocks noGrp="1"/>
          </p:cNvSpPr>
          <p:nvPr>
            <p:ph type="pic" sz="quarter" idx="12" hasCustomPrompt="1"/>
          </p:nvPr>
        </p:nvSpPr>
        <p:spPr>
          <a:xfrm>
            <a:off x="491501" y="4039675"/>
            <a:ext cx="978408" cy="978408"/>
          </a:xfrm>
          <a:prstGeom prst="ellipse">
            <a:avLst/>
          </a:prstGeom>
          <a:solidFill>
            <a:schemeClr val="accent2"/>
          </a:solidFill>
        </p:spPr>
        <p:txBody>
          <a:bodyPr/>
          <a:lstStyle>
            <a:lvl1pPr marL="0" indent="0" algn="ctr">
              <a:buFontTx/>
              <a:buNone/>
              <a:defRPr sz="1100"/>
            </a:lvl1pPr>
          </a:lstStyle>
          <a:p>
            <a:r>
              <a:rPr lang="en-US"/>
              <a:t>Photo</a:t>
            </a:r>
          </a:p>
        </p:txBody>
      </p:sp>
      <p:sp>
        <p:nvSpPr>
          <p:cNvPr id="19" name="Picture Placeholder 9">
            <a:extLst>
              <a:ext uri="{FF2B5EF4-FFF2-40B4-BE49-F238E27FC236}">
                <a16:creationId xmlns:a16="http://schemas.microsoft.com/office/drawing/2014/main" id="{D0BF60BB-1C1A-7ACF-F327-659CC9BF4CC1}"/>
              </a:ext>
            </a:extLst>
          </p:cNvPr>
          <p:cNvSpPr>
            <a:spLocks noGrp="1"/>
          </p:cNvSpPr>
          <p:nvPr>
            <p:ph type="pic" sz="quarter" idx="13" hasCustomPrompt="1"/>
          </p:nvPr>
        </p:nvSpPr>
        <p:spPr>
          <a:xfrm>
            <a:off x="4217202" y="1490521"/>
            <a:ext cx="978408" cy="978408"/>
          </a:xfrm>
          <a:prstGeom prst="ellipse">
            <a:avLst/>
          </a:prstGeom>
          <a:solidFill>
            <a:schemeClr val="accent2"/>
          </a:solidFill>
        </p:spPr>
        <p:txBody>
          <a:bodyPr/>
          <a:lstStyle>
            <a:lvl1pPr marL="0" indent="0" algn="ctr">
              <a:buFontTx/>
              <a:buNone/>
              <a:defRPr sz="1100"/>
            </a:lvl1pPr>
          </a:lstStyle>
          <a:p>
            <a:r>
              <a:rPr lang="en-US"/>
              <a:t>Photo</a:t>
            </a:r>
          </a:p>
        </p:txBody>
      </p:sp>
      <p:sp>
        <p:nvSpPr>
          <p:cNvPr id="20" name="Picture Placeholder 9">
            <a:extLst>
              <a:ext uri="{FF2B5EF4-FFF2-40B4-BE49-F238E27FC236}">
                <a16:creationId xmlns:a16="http://schemas.microsoft.com/office/drawing/2014/main" id="{88B8E987-FE8B-C925-8157-B35D7E0B7C5D}"/>
              </a:ext>
            </a:extLst>
          </p:cNvPr>
          <p:cNvSpPr>
            <a:spLocks noGrp="1"/>
          </p:cNvSpPr>
          <p:nvPr>
            <p:ph type="pic" sz="quarter" idx="14" hasCustomPrompt="1"/>
          </p:nvPr>
        </p:nvSpPr>
        <p:spPr>
          <a:xfrm>
            <a:off x="4217202" y="2754799"/>
            <a:ext cx="978408" cy="978408"/>
          </a:xfrm>
          <a:prstGeom prst="ellipse">
            <a:avLst/>
          </a:prstGeom>
          <a:solidFill>
            <a:schemeClr val="accent2"/>
          </a:solidFill>
        </p:spPr>
        <p:txBody>
          <a:bodyPr/>
          <a:lstStyle>
            <a:lvl1pPr marL="0" indent="0" algn="ctr">
              <a:buFontTx/>
              <a:buNone/>
              <a:defRPr sz="1100"/>
            </a:lvl1pPr>
          </a:lstStyle>
          <a:p>
            <a:r>
              <a:rPr lang="en-US"/>
              <a:t>Photo</a:t>
            </a:r>
          </a:p>
        </p:txBody>
      </p:sp>
    </p:spTree>
    <p:extLst>
      <p:ext uri="{BB962C8B-B14F-4D97-AF65-F5344CB8AC3E}">
        <p14:creationId xmlns:p14="http://schemas.microsoft.com/office/powerpoint/2010/main" val="272372867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no Logo">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D0F269E-E5D9-CD45-5CB4-AA6E9DD79DB9}"/>
              </a:ext>
            </a:extLst>
          </p:cNvPr>
          <p:cNvGraphicFramePr>
            <a:graphicFrameLocks noChangeAspect="1"/>
          </p:cNvGraphicFramePr>
          <p:nvPr userDrawn="1">
            <p:custDataLst>
              <p:tags r:id="rId1"/>
            </p:custDataLst>
            <p:extLst>
              <p:ext uri="{D42A27DB-BD31-4B8C-83A1-F6EECF244321}">
                <p14:modId xmlns:p14="http://schemas.microsoft.com/office/powerpoint/2010/main" val="2472705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think-cell data - do not delete" hidden="1">
                        <a:extLst>
                          <a:ext uri="{FF2B5EF4-FFF2-40B4-BE49-F238E27FC236}">
                            <a16:creationId xmlns:a16="http://schemas.microsoft.com/office/drawing/2014/main" id="{DD0F269E-E5D9-CD45-5CB4-AA6E9DD79D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9979B0B5-DCB0-844D-8724-1DB31C8A8C0B}"/>
              </a:ext>
            </a:extLst>
          </p:cNvPr>
          <p:cNvSpPr>
            <a:spLocks noGrp="1"/>
          </p:cNvSpPr>
          <p:nvPr>
            <p:ph type="title" hasCustomPrompt="1"/>
          </p:nvPr>
        </p:nvSpPr>
        <p:spPr>
          <a:xfrm>
            <a:off x="252659" y="260268"/>
            <a:ext cx="9586415" cy="332399"/>
          </a:xfrm>
        </p:spPr>
        <p:txBody>
          <a:bodyPr vert="horz">
            <a:spAutoFit/>
          </a:bodyPr>
          <a:lstStyle>
            <a:lvl1pPr>
              <a:defRPr>
                <a:latin typeface="Zurich Sans Light" panose="02000000000000000000" pitchFamily="2" charset="0"/>
                <a:sym typeface="Zurich Sans Light" panose="02000000000000000000" pitchFamily="2" charset="0"/>
              </a:defRPr>
            </a:lvl1pPr>
          </a:lstStyle>
          <a:p>
            <a:r>
              <a:rPr lang="de-DE"/>
              <a:t>Mastertitelformat bearbeiten</a:t>
            </a:r>
            <a:endParaRPr lang="en-US"/>
          </a:p>
        </p:txBody>
      </p:sp>
      <p:sp>
        <p:nvSpPr>
          <p:cNvPr id="6" name="Slide Number Placeholder 5">
            <a:extLst>
              <a:ext uri="{FF2B5EF4-FFF2-40B4-BE49-F238E27FC236}">
                <a16:creationId xmlns:a16="http://schemas.microsoft.com/office/drawing/2014/main" id="{6E1B8922-F046-4949-89A1-82828F430E98}"/>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sym typeface="Zurich Sans Light" panose="02000000000000000000" pitchFamily="2" charset="0"/>
              </a:defRPr>
            </a:lvl1pPr>
          </a:lstStyle>
          <a:p>
            <a:fld id="{FA58F0B4-6BC7-4BFB-804F-EE9B892902C7}" type="slidenum">
              <a:rPr lang="en-US" smtClean="0"/>
              <a:pPr/>
              <a:t>‹nr.›</a:t>
            </a:fld>
            <a:endParaRPr lang="en-US"/>
          </a:p>
        </p:txBody>
      </p:sp>
      <p:sp>
        <p:nvSpPr>
          <p:cNvPr id="8" name="Footer Placeholder 3">
            <a:extLst>
              <a:ext uri="{FF2B5EF4-FFF2-40B4-BE49-F238E27FC236}">
                <a16:creationId xmlns:a16="http://schemas.microsoft.com/office/drawing/2014/main" id="{A51A83C0-E586-4207-B521-E42A4141A04B}"/>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Zurich Sans Light" panose="02000000000000000000" pitchFamily="2" charset="0"/>
                <a:sym typeface="Zurich Sans Light" panose="02000000000000000000" pitchFamily="2" charset="0"/>
              </a:defRPr>
            </a:lvl1pPr>
          </a:lstStyle>
          <a:p>
            <a:endParaRPr lang="en-US"/>
          </a:p>
        </p:txBody>
      </p:sp>
      <p:pic>
        <p:nvPicPr>
          <p:cNvPr id="2" name="ZRS Logo Horozontal">
            <a:extLst>
              <a:ext uri="{FF2B5EF4-FFF2-40B4-BE49-F238E27FC236}">
                <a16:creationId xmlns:a16="http://schemas.microsoft.com/office/drawing/2014/main" id="{FDD10737-89FB-5D11-9E93-231A5BA812E9}"/>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376600315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Image">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0A0EA14-7EF9-1E14-EEDE-91FE229C8B45}"/>
              </a:ext>
            </a:extLst>
          </p:cNvPr>
          <p:cNvGraphicFramePr>
            <a:graphicFrameLocks noChangeAspect="1"/>
          </p:cNvGraphicFramePr>
          <p:nvPr userDrawn="1">
            <p:custDataLst>
              <p:tags r:id="rId1"/>
            </p:custDataLst>
            <p:extLst>
              <p:ext uri="{D42A27DB-BD31-4B8C-83A1-F6EECF244321}">
                <p14:modId xmlns:p14="http://schemas.microsoft.com/office/powerpoint/2010/main" val="3775269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5" name="think-cell data - do not delete" hidden="1">
                        <a:extLst>
                          <a:ext uri="{FF2B5EF4-FFF2-40B4-BE49-F238E27FC236}">
                            <a16:creationId xmlns:a16="http://schemas.microsoft.com/office/drawing/2014/main" id="{F0A0EA14-7EF9-1E14-EEDE-91FE229C8B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2">
            <a:extLst>
              <a:ext uri="{FF2B5EF4-FFF2-40B4-BE49-F238E27FC236}">
                <a16:creationId xmlns:a16="http://schemas.microsoft.com/office/drawing/2014/main" id="{E1605E3C-D76A-4678-9277-BF9E20857561}"/>
              </a:ext>
            </a:extLst>
          </p:cNvPr>
          <p:cNvSpPr>
            <a:spLocks noGrp="1" noChangeAspect="1"/>
          </p:cNvSpPr>
          <p:nvPr>
            <p:ph type="pic" sz="quarter" idx="13"/>
          </p:nvPr>
        </p:nvSpPr>
        <p:spPr>
          <a:xfrm>
            <a:off x="7248128" y="1442037"/>
            <a:ext cx="4320000" cy="4320000"/>
          </a:xfrm>
          <a:prstGeom prst="ellipse">
            <a:avLst/>
          </a:prstGeom>
        </p:spPr>
        <p:txBody>
          <a:bodyPr/>
          <a:lstStyle>
            <a:lvl1pPr algn="ctr">
              <a:buNone/>
              <a:defRPr b="0" i="0">
                <a:solidFill>
                  <a:srgbClr val="1C67AF"/>
                </a:solidFill>
                <a:latin typeface="Zurich Sans Light" panose="02000000000000000000" pitchFamily="2" charset="0"/>
                <a:cs typeface="Arial" panose="020B0604020202020204" pitchFamily="34" charset="0"/>
                <a:sym typeface="Zurich Sans Light" panose="02000000000000000000" pitchFamily="2" charset="0"/>
              </a:defRPr>
            </a:lvl1pPr>
          </a:lstStyle>
          <a:p>
            <a:r>
              <a:rPr lang="de-DE" noProof="0"/>
              <a:t>Bild durch Klicken auf Symbol hinzufügen</a:t>
            </a:r>
            <a:endParaRPr lang="en-US" noProof="0"/>
          </a:p>
        </p:txBody>
      </p:sp>
      <p:sp>
        <p:nvSpPr>
          <p:cNvPr id="22" name="Slide Number Placeholder 5">
            <a:extLst>
              <a:ext uri="{FF2B5EF4-FFF2-40B4-BE49-F238E27FC236}">
                <a16:creationId xmlns:a16="http://schemas.microsoft.com/office/drawing/2014/main" id="{A6366AC5-1BE2-4E7D-B883-89CAF96B327D}"/>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sp>
        <p:nvSpPr>
          <p:cNvPr id="23" name="Title 1">
            <a:extLst>
              <a:ext uri="{FF2B5EF4-FFF2-40B4-BE49-F238E27FC236}">
                <a16:creationId xmlns:a16="http://schemas.microsoft.com/office/drawing/2014/main" id="{FC885360-8473-4699-801C-9B04E3D233C8}"/>
              </a:ext>
            </a:extLst>
          </p:cNvPr>
          <p:cNvSpPr>
            <a:spLocks noGrp="1"/>
          </p:cNvSpPr>
          <p:nvPr>
            <p:ph type="ctrTitle" hasCustomPrompt="1"/>
          </p:nvPr>
        </p:nvSpPr>
        <p:spPr>
          <a:xfrm>
            <a:off x="250825" y="2490259"/>
            <a:ext cx="6722148" cy="2242079"/>
          </a:xfrm>
        </p:spPr>
        <p:txBody>
          <a:bodyPr vert="horz" anchor="b">
            <a:noAutofit/>
          </a:bodyPr>
          <a:lstStyle>
            <a:lvl1pPr algn="l">
              <a:defRPr sz="36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24" name="Subtitle 2">
            <a:extLst>
              <a:ext uri="{FF2B5EF4-FFF2-40B4-BE49-F238E27FC236}">
                <a16:creationId xmlns:a16="http://schemas.microsoft.com/office/drawing/2014/main" id="{A57272B1-D4B7-4B27-9A7A-1EB4697DECEC}"/>
              </a:ext>
            </a:extLst>
          </p:cNvPr>
          <p:cNvSpPr>
            <a:spLocks noGrp="1"/>
          </p:cNvSpPr>
          <p:nvPr>
            <p:ph type="subTitle" idx="14"/>
          </p:nvPr>
        </p:nvSpPr>
        <p:spPr>
          <a:xfrm>
            <a:off x="250825" y="4911725"/>
            <a:ext cx="6719063" cy="1283999"/>
          </a:xfrm>
        </p:spPr>
        <p:txBody>
          <a:bodyPr>
            <a:normAutofit/>
          </a:bodyPr>
          <a:lstStyle>
            <a:lvl1pPr marL="0" indent="0" algn="l">
              <a:buNone/>
              <a:defRPr sz="20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Master-Untertitelformat bearbeiten</a:t>
            </a:r>
            <a:endParaRPr lang="en-US"/>
          </a:p>
        </p:txBody>
      </p:sp>
      <p:pic>
        <p:nvPicPr>
          <p:cNvPr id="3" name="ZRS Logo Horozontal">
            <a:extLst>
              <a:ext uri="{FF2B5EF4-FFF2-40B4-BE49-F238E27FC236}">
                <a16:creationId xmlns:a16="http://schemas.microsoft.com/office/drawing/2014/main" id="{BF57B82F-807A-526E-F11B-D669F0B745A6}"/>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258941" y="317500"/>
            <a:ext cx="1510791" cy="520700"/>
          </a:xfrm>
          <a:prstGeom prst="rect">
            <a:avLst/>
          </a:prstGeom>
        </p:spPr>
      </p:pic>
    </p:spTree>
    <p:extLst>
      <p:ext uri="{BB962C8B-B14F-4D97-AF65-F5344CB8AC3E}">
        <p14:creationId xmlns:p14="http://schemas.microsoft.com/office/powerpoint/2010/main" val="2115894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V sli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6B8AF0C-8068-A9A7-24FD-79A419F32BEF}"/>
              </a:ext>
            </a:extLst>
          </p:cNvPr>
          <p:cNvGraphicFramePr>
            <a:graphicFrameLocks noChangeAspect="1"/>
          </p:cNvGraphicFramePr>
          <p:nvPr userDrawn="1">
            <p:custDataLst>
              <p:tags r:id="rId1"/>
            </p:custDataLst>
            <p:extLst>
              <p:ext uri="{D42A27DB-BD31-4B8C-83A1-F6EECF244321}">
                <p14:modId xmlns:p14="http://schemas.microsoft.com/office/powerpoint/2010/main" val="151641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06B8AF0C-8068-A9A7-24FD-79A419F32B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0660FE9-7058-445A-A87D-587C9395E97C}"/>
              </a:ext>
            </a:extLst>
          </p:cNvPr>
          <p:cNvSpPr/>
          <p:nvPr userDrawn="1"/>
        </p:nvSpPr>
        <p:spPr>
          <a:xfrm>
            <a:off x="8234008" y="0"/>
            <a:ext cx="3960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a:endParaRPr lang="de-DE" sz="1000">
              <a:latin typeface="+mn-lt"/>
              <a:cs typeface="Arial" panose="020B0604020202020204" pitchFamily="34" charset="0"/>
            </a:endParaRPr>
          </a:p>
        </p:txBody>
      </p:sp>
      <p:sp>
        <p:nvSpPr>
          <p:cNvPr id="18" name="Picture Placeholder 3">
            <a:extLst>
              <a:ext uri="{FF2B5EF4-FFF2-40B4-BE49-F238E27FC236}">
                <a16:creationId xmlns:a16="http://schemas.microsoft.com/office/drawing/2014/main" id="{33BE1813-D5B5-4415-BB63-F6AD5397276E}"/>
              </a:ext>
            </a:extLst>
          </p:cNvPr>
          <p:cNvSpPr>
            <a:spLocks noGrp="1"/>
          </p:cNvSpPr>
          <p:nvPr>
            <p:ph type="pic" sz="quarter" idx="30" hasCustomPrompt="1"/>
          </p:nvPr>
        </p:nvSpPr>
        <p:spPr>
          <a:xfrm>
            <a:off x="9413053" y="1509000"/>
            <a:ext cx="1920000" cy="1920000"/>
          </a:xfrm>
          <a:prstGeom prst="ellipse">
            <a:avLst/>
          </a:prstGeom>
        </p:spPr>
        <p:txBody>
          <a:bodyPr/>
          <a:lstStyle>
            <a:lvl1pPr marL="0" indent="0" algn="ctr" rtl="0">
              <a:buNone/>
              <a:defRPr sz="1333">
                <a:solidFill>
                  <a:srgbClr val="2167AE"/>
                </a:solidFill>
                <a:latin typeface="+mn-lt"/>
                <a:cs typeface="Arial" panose="020B0604020202020204" pitchFamily="34" charset="0"/>
              </a:defRPr>
            </a:lvl1pPr>
          </a:lstStyle>
          <a:p>
            <a:r>
              <a:rPr lang="de-DE"/>
              <a:t>Add picture here</a:t>
            </a:r>
          </a:p>
        </p:txBody>
      </p:sp>
      <p:sp>
        <p:nvSpPr>
          <p:cNvPr id="20" name="Title 1">
            <a:extLst>
              <a:ext uri="{FF2B5EF4-FFF2-40B4-BE49-F238E27FC236}">
                <a16:creationId xmlns:a16="http://schemas.microsoft.com/office/drawing/2014/main" id="{6E310D89-47FE-194B-8632-078ED6BD782F}"/>
              </a:ext>
            </a:extLst>
          </p:cNvPr>
          <p:cNvSpPr>
            <a:spLocks noGrp="1"/>
          </p:cNvSpPr>
          <p:nvPr>
            <p:ph type="title" hasCustomPrompt="1"/>
          </p:nvPr>
        </p:nvSpPr>
        <p:spPr>
          <a:xfrm>
            <a:off x="334800" y="260268"/>
            <a:ext cx="7621515" cy="332399"/>
          </a:xfrm>
        </p:spPr>
        <p:txBody>
          <a:bodyPr vert="horz" wrap="square">
            <a:spAutoFit/>
          </a:bodyPr>
          <a:lstStyle>
            <a:lvl1pPr rtl="0">
              <a:defRPr>
                <a:latin typeface="+mj-lt"/>
                <a:cs typeface="Arial" panose="020B0604020202020204" pitchFamily="34" charset="0"/>
              </a:defRPr>
            </a:lvl1pPr>
          </a:lstStyle>
          <a:p>
            <a:r>
              <a:rPr lang="de-DE"/>
              <a:t>Click to edit Master title style</a:t>
            </a:r>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hasCustomPrompt="1"/>
          </p:nvPr>
        </p:nvSpPr>
        <p:spPr>
          <a:xfrm>
            <a:off x="334800" y="610597"/>
            <a:ext cx="7621515" cy="332399"/>
          </a:xfrm>
          <a:prstGeom prst="rect">
            <a:avLst/>
          </a:prstGeom>
        </p:spPr>
        <p:txBody>
          <a:bodyPr anchor="t">
            <a:normAutofit/>
          </a:bodyPr>
          <a:lstStyle>
            <a:lvl1pPr marL="0" indent="0" algn="l" rtl="0">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Click to edit Master subtitle style</a:t>
            </a:r>
            <a:endParaRPr lang="de-DE" noProof="0"/>
          </a:p>
        </p:txBody>
      </p:sp>
      <p:sp>
        <p:nvSpPr>
          <p:cNvPr id="33" name="Content Placeholder 2">
            <a:extLst>
              <a:ext uri="{FF2B5EF4-FFF2-40B4-BE49-F238E27FC236}">
                <a16:creationId xmlns:a16="http://schemas.microsoft.com/office/drawing/2014/main" id="{22F76E53-ED3E-4712-828A-462700FD54D1}"/>
              </a:ext>
            </a:extLst>
          </p:cNvPr>
          <p:cNvSpPr>
            <a:spLocks noGrp="1"/>
          </p:cNvSpPr>
          <p:nvPr>
            <p:ph idx="1" hasCustomPrompt="1"/>
          </p:nvPr>
        </p:nvSpPr>
        <p:spPr>
          <a:xfrm>
            <a:off x="334800" y="1206178"/>
            <a:ext cx="7621515" cy="5040145"/>
          </a:xfrm>
        </p:spPr>
        <p:txBody>
          <a:bodyPr lIns="72000" tIns="72000" rIns="72000" bIns="72000"/>
          <a:lstStyle>
            <a:lvl1pPr rtl="0">
              <a:defRPr sz="1800">
                <a:latin typeface="+mn-lt"/>
                <a:cs typeface="Arial" panose="020B0604020202020204" pitchFamily="34" charset="0"/>
              </a:defRPr>
            </a:lvl1pPr>
            <a:lvl2pPr rtl="0">
              <a:defRPr sz="1600">
                <a:latin typeface="+mn-lt"/>
                <a:cs typeface="Arial" panose="020B0604020202020204" pitchFamily="34" charset="0"/>
              </a:defRPr>
            </a:lvl2pPr>
            <a:lvl3pPr rtl="0">
              <a:defRPr sz="1400">
                <a:latin typeface="+mn-lt"/>
                <a:cs typeface="Arial" panose="020B0604020202020204" pitchFamily="34" charset="0"/>
              </a:defRPr>
            </a:lvl3pPr>
            <a:lvl4pPr rtl="0">
              <a:defRPr sz="1200">
                <a:latin typeface="+mn-lt"/>
                <a:cs typeface="Arial" panose="020B0604020202020204" pitchFamily="34" charset="0"/>
              </a:defRPr>
            </a:lvl4pPr>
            <a:lvl5pPr rtl="0">
              <a:defRPr sz="1200">
                <a:latin typeface="+mn-lt"/>
                <a:cs typeface="Arial" panose="020B0604020202020204" pitchFamily="34" charset="0"/>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34" name="Slide Number Placeholder 5">
            <a:extLst>
              <a:ext uri="{FF2B5EF4-FFF2-40B4-BE49-F238E27FC236}">
                <a16:creationId xmlns:a16="http://schemas.microsoft.com/office/drawing/2014/main" id="{3E83A98D-348B-40D1-B8DE-954D062DE5ED}"/>
              </a:ext>
            </a:extLst>
          </p:cNvPr>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35" name="TextBox 34">
            <a:extLst>
              <a:ext uri="{FF2B5EF4-FFF2-40B4-BE49-F238E27FC236}">
                <a16:creationId xmlns:a16="http://schemas.microsoft.com/office/drawing/2014/main" id="{20454A9A-E833-4775-8C2D-33EB42BCE6B5}"/>
              </a:ext>
            </a:extLst>
          </p:cNvPr>
          <p:cNvSpPr txBox="1"/>
          <p:nvPr userDrawn="1"/>
        </p:nvSpPr>
        <p:spPr>
          <a:xfrm>
            <a:off x="11158230" y="6531715"/>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rtl="0"/>
            <a:r>
              <a:rPr lang="de-DE" sz="900">
                <a:latin typeface="+mn-lt"/>
                <a:cs typeface="Arial" panose="020B0604020202020204" pitchFamily="34" charset="0"/>
              </a:rPr>
              <a:t>© Zurich</a:t>
            </a:r>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31715"/>
            <a:ext cx="8112000" cy="181960"/>
          </a:xfrm>
          <a:prstGeom prst="rect">
            <a:avLst/>
          </a:prstGeom>
        </p:spPr>
        <p:txBody>
          <a:bodyPr lIns="0" tIns="0" rIns="0" bIns="0"/>
          <a:lstStyle>
            <a:lvl1pPr algn="r" rtl="0">
              <a:defRPr sz="900">
                <a:solidFill>
                  <a:schemeClr val="accent1"/>
                </a:solidFill>
                <a:latin typeface="+mn-lt"/>
                <a:cs typeface="Arial" panose="020B0604020202020204" pitchFamily="34" charset="0"/>
              </a:defRPr>
            </a:lvl1pPr>
          </a:lstStyle>
          <a:p>
            <a:endParaRPr lang="de-DE"/>
          </a:p>
        </p:txBody>
      </p:sp>
      <p:pic>
        <p:nvPicPr>
          <p:cNvPr id="37" name="Graphic 36">
            <a:extLst>
              <a:ext uri="{FF2B5EF4-FFF2-40B4-BE49-F238E27FC236}">
                <a16:creationId xmlns:a16="http://schemas.microsoft.com/office/drawing/2014/main" id="{C8B466E6-A668-4046-A75F-AB1CFB0F8F1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353690" y="306000"/>
            <a:ext cx="1500250" cy="498141"/>
          </a:xfrm>
          <a:prstGeom prst="rect">
            <a:avLst/>
          </a:prstGeom>
        </p:spPr>
      </p:pic>
    </p:spTree>
    <p:extLst>
      <p:ext uri="{BB962C8B-B14F-4D97-AF65-F5344CB8AC3E}">
        <p14:creationId xmlns:p14="http://schemas.microsoft.com/office/powerpoint/2010/main" val="42199290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p:bg>
      <p:bgPr>
        <a:solidFill>
          <a:schemeClr val="accent6"/>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72E41D-48A1-B7E9-24EC-824C740C1138}"/>
              </a:ext>
            </a:extLst>
          </p:cNvPr>
          <p:cNvGraphicFramePr>
            <a:graphicFrameLocks noChangeAspect="1"/>
          </p:cNvGraphicFramePr>
          <p:nvPr userDrawn="1">
            <p:custDataLst>
              <p:tags r:id="rId1"/>
            </p:custDataLst>
            <p:extLst>
              <p:ext uri="{D42A27DB-BD31-4B8C-83A1-F6EECF244321}">
                <p14:modId xmlns:p14="http://schemas.microsoft.com/office/powerpoint/2010/main" val="3530836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think-cell data - do not delete" hidden="1">
                        <a:extLst>
                          <a:ext uri="{FF2B5EF4-FFF2-40B4-BE49-F238E27FC236}">
                            <a16:creationId xmlns:a16="http://schemas.microsoft.com/office/drawing/2014/main" id="{5872E41D-48A1-B7E9-24EC-824C740C1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250825" y="2490259"/>
            <a:ext cx="6722148" cy="2242079"/>
          </a:xfrm>
        </p:spPr>
        <p:txBody>
          <a:bodyPr vert="horz" anchor="b">
            <a:noAutofit/>
          </a:bodyPr>
          <a:lstStyle>
            <a:lvl1pPr algn="l">
              <a:defRPr sz="36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9" name="Subtitle 2">
            <a:extLst>
              <a:ext uri="{FF2B5EF4-FFF2-40B4-BE49-F238E27FC236}">
                <a16:creationId xmlns:a16="http://schemas.microsoft.com/office/drawing/2014/main" id="{5D52D574-4430-4847-B932-BA1C1DC56322}"/>
              </a:ext>
            </a:extLst>
          </p:cNvPr>
          <p:cNvSpPr>
            <a:spLocks noGrp="1"/>
          </p:cNvSpPr>
          <p:nvPr>
            <p:ph type="subTitle" idx="13"/>
          </p:nvPr>
        </p:nvSpPr>
        <p:spPr>
          <a:xfrm>
            <a:off x="250825" y="4911725"/>
            <a:ext cx="6719063" cy="1283999"/>
          </a:xfrm>
        </p:spPr>
        <p:txBody>
          <a:bodyPr>
            <a:normAutofit/>
          </a:bodyPr>
          <a:lstStyle>
            <a:lvl1pPr marL="0" indent="0" algn="l">
              <a:buNone/>
              <a:defRPr sz="20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Master-Untertitelformat bearbeiten</a:t>
            </a:r>
            <a:endParaRPr lang="en-US"/>
          </a:p>
        </p:txBody>
      </p:sp>
      <p:sp>
        <p:nvSpPr>
          <p:cNvPr id="18" name="Slide Number Placeholder 5">
            <a:extLst>
              <a:ext uri="{FF2B5EF4-FFF2-40B4-BE49-F238E27FC236}">
                <a16:creationId xmlns:a16="http://schemas.microsoft.com/office/drawing/2014/main" id="{6C2690B3-34BA-4DEA-AD15-F9112DF4223E}"/>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pic>
        <p:nvPicPr>
          <p:cNvPr id="2" name="ZRS Logo Horozontal">
            <a:extLst>
              <a:ext uri="{FF2B5EF4-FFF2-40B4-BE49-F238E27FC236}">
                <a16:creationId xmlns:a16="http://schemas.microsoft.com/office/drawing/2014/main" id="{A848C4F6-34D6-C7BF-A71E-01F751C865FA}"/>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258941" y="317500"/>
            <a:ext cx="1510791" cy="520700"/>
          </a:xfrm>
          <a:prstGeom prst="rect">
            <a:avLst/>
          </a:prstGeom>
        </p:spPr>
      </p:pic>
    </p:spTree>
    <p:extLst>
      <p:ext uri="{BB962C8B-B14F-4D97-AF65-F5344CB8AC3E}">
        <p14:creationId xmlns:p14="http://schemas.microsoft.com/office/powerpoint/2010/main" val="108205223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80E5F56-3A76-E03E-8D92-36D6BA248780}"/>
              </a:ext>
            </a:extLst>
          </p:cNvPr>
          <p:cNvGraphicFramePr>
            <a:graphicFrameLocks noChangeAspect="1"/>
          </p:cNvGraphicFramePr>
          <p:nvPr userDrawn="1">
            <p:custDataLst>
              <p:tags r:id="rId1"/>
            </p:custDataLst>
            <p:extLst>
              <p:ext uri="{D42A27DB-BD31-4B8C-83A1-F6EECF244321}">
                <p14:modId xmlns:p14="http://schemas.microsoft.com/office/powerpoint/2010/main" val="3204503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think-cell data - do not delete" hidden="1">
                        <a:extLst>
                          <a:ext uri="{FF2B5EF4-FFF2-40B4-BE49-F238E27FC236}">
                            <a16:creationId xmlns:a16="http://schemas.microsoft.com/office/drawing/2014/main" id="{480E5F56-3A76-E03E-8D92-36D6BA2487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250825" y="2490259"/>
            <a:ext cx="6722148" cy="2242079"/>
          </a:xfrm>
        </p:spPr>
        <p:txBody>
          <a:bodyPr vert="horz" anchor="b">
            <a:noAutofit/>
          </a:bodyPr>
          <a:lstStyle>
            <a:lvl1pPr algn="l">
              <a:defRPr sz="3600">
                <a:solidFill>
                  <a:schemeClr val="accent6"/>
                </a:solidFill>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9" name="Subtitle 2">
            <a:extLst>
              <a:ext uri="{FF2B5EF4-FFF2-40B4-BE49-F238E27FC236}">
                <a16:creationId xmlns:a16="http://schemas.microsoft.com/office/drawing/2014/main" id="{5D52D574-4430-4847-B932-BA1C1DC56322}"/>
              </a:ext>
            </a:extLst>
          </p:cNvPr>
          <p:cNvSpPr>
            <a:spLocks noGrp="1"/>
          </p:cNvSpPr>
          <p:nvPr>
            <p:ph type="subTitle" idx="13"/>
          </p:nvPr>
        </p:nvSpPr>
        <p:spPr>
          <a:xfrm>
            <a:off x="250825" y="4911725"/>
            <a:ext cx="6719063" cy="1283999"/>
          </a:xfrm>
        </p:spPr>
        <p:txBody>
          <a:bodyPr>
            <a:normAutofit/>
          </a:bodyPr>
          <a:lstStyle>
            <a:lvl1pPr marL="0" indent="0" algn="l">
              <a:buNone/>
              <a:defRPr sz="2000">
                <a:solidFill>
                  <a:schemeClr val="accent6"/>
                </a:solidFill>
                <a:latin typeface="Zurich Sans Light" panose="02000000000000000000" pitchFamily="2" charset="0"/>
                <a:cs typeface="Arial" panose="020B0604020202020204" pitchFamily="34" charset="0"/>
                <a:sym typeface="Zurich Sans Light" panose="02000000000000000000"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Master-Untertitelformat bearbeiten</a:t>
            </a:r>
            <a:endParaRPr lang="en-US"/>
          </a:p>
        </p:txBody>
      </p:sp>
      <p:sp>
        <p:nvSpPr>
          <p:cNvPr id="15" name="Picture Placeholder 2">
            <a:extLst>
              <a:ext uri="{FF2B5EF4-FFF2-40B4-BE49-F238E27FC236}">
                <a16:creationId xmlns:a16="http://schemas.microsoft.com/office/drawing/2014/main" id="{207E0EDD-CE7D-485D-90AA-EB92659F4C2E}"/>
              </a:ext>
            </a:extLst>
          </p:cNvPr>
          <p:cNvSpPr>
            <a:spLocks noGrp="1" noChangeAspect="1"/>
          </p:cNvSpPr>
          <p:nvPr>
            <p:ph type="pic" sz="quarter" idx="14"/>
          </p:nvPr>
        </p:nvSpPr>
        <p:spPr>
          <a:xfrm>
            <a:off x="9061251" y="1902437"/>
            <a:ext cx="3120000" cy="3120000"/>
          </a:xfrm>
          <a:prstGeom prst="ellipse">
            <a:avLst/>
          </a:prstGeom>
        </p:spPr>
        <p:txBody>
          <a:bodyPr/>
          <a:lstStyle>
            <a:lvl1pPr algn="ctr">
              <a:buNone/>
              <a:defRPr b="0" i="0">
                <a:solidFill>
                  <a:schemeClr val="accent6"/>
                </a:solidFill>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Bild durch Klicken auf Symbol hinzufügen</a:t>
            </a:r>
            <a:endParaRPr lang="en-GB"/>
          </a:p>
        </p:txBody>
      </p:sp>
      <p:sp>
        <p:nvSpPr>
          <p:cNvPr id="16" name="Freeform 12">
            <a:extLst>
              <a:ext uri="{FF2B5EF4-FFF2-40B4-BE49-F238E27FC236}">
                <a16:creationId xmlns:a16="http://schemas.microsoft.com/office/drawing/2014/main" id="{CDD94F9F-17AF-4158-8273-144D6BB8BFBA}"/>
              </a:ext>
            </a:extLst>
          </p:cNvPr>
          <p:cNvSpPr/>
          <p:nvPr userDrawn="1"/>
        </p:nvSpPr>
        <p:spPr bwMode="auto">
          <a:xfrm rot="735038">
            <a:off x="9719774" y="4974386"/>
            <a:ext cx="933047" cy="469973"/>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Zurich Sans Light" panose="02000000000000000000" pitchFamily="2" charset="0"/>
              <a:cs typeface="Arial" panose="020B0604020202020204" pitchFamily="34" charset="0"/>
              <a:sym typeface="Zurich Sans Light" panose="02000000000000000000" pitchFamily="2" charset="0"/>
            </a:endParaRPr>
          </a:p>
        </p:txBody>
      </p:sp>
      <p:sp>
        <p:nvSpPr>
          <p:cNvPr id="17" name="Freeform 17">
            <a:extLst>
              <a:ext uri="{FF2B5EF4-FFF2-40B4-BE49-F238E27FC236}">
                <a16:creationId xmlns:a16="http://schemas.microsoft.com/office/drawing/2014/main" id="{03EA52F0-9F47-4C1A-A653-1F060850BB16}"/>
              </a:ext>
            </a:extLst>
          </p:cNvPr>
          <p:cNvSpPr/>
          <p:nvPr userDrawn="1"/>
        </p:nvSpPr>
        <p:spPr bwMode="auto">
          <a:xfrm rot="8315714" flipH="1">
            <a:off x="9180227" y="5547933"/>
            <a:ext cx="1677271" cy="86330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Zurich Sans Light" panose="02000000000000000000" pitchFamily="2" charset="0"/>
              <a:cs typeface="Arial" panose="020B0604020202020204" pitchFamily="34" charset="0"/>
              <a:sym typeface="Zurich Sans Light" panose="02000000000000000000" pitchFamily="2" charset="0"/>
            </a:endParaRPr>
          </a:p>
        </p:txBody>
      </p:sp>
      <p:sp>
        <p:nvSpPr>
          <p:cNvPr id="18" name="Oval 17">
            <a:extLst>
              <a:ext uri="{FF2B5EF4-FFF2-40B4-BE49-F238E27FC236}">
                <a16:creationId xmlns:a16="http://schemas.microsoft.com/office/drawing/2014/main" id="{6AED791D-1518-403F-BA5A-79F94E7CDCCB}"/>
              </a:ext>
            </a:extLst>
          </p:cNvPr>
          <p:cNvSpPr>
            <a:spLocks noChangeAspect="1"/>
          </p:cNvSpPr>
          <p:nvPr userDrawn="1"/>
        </p:nvSpPr>
        <p:spPr bwMode="auto">
          <a:xfrm rot="5400000">
            <a:off x="10403602" y="5983124"/>
            <a:ext cx="875301" cy="874456"/>
          </a:xfrm>
          <a:prstGeom prst="ellips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Zurich Sans Light" panose="02000000000000000000" pitchFamily="2" charset="0"/>
              <a:cs typeface="Arial" panose="020B0604020202020204" pitchFamily="34" charset="0"/>
              <a:sym typeface="Zurich Sans Light" panose="02000000000000000000" pitchFamily="2" charset="0"/>
            </a:endParaRPr>
          </a:p>
        </p:txBody>
      </p:sp>
      <p:sp>
        <p:nvSpPr>
          <p:cNvPr id="26" name="TextBox 25">
            <a:extLst>
              <a:ext uri="{FF2B5EF4-FFF2-40B4-BE49-F238E27FC236}">
                <a16:creationId xmlns:a16="http://schemas.microsoft.com/office/drawing/2014/main" id="{964649C4-0FE0-4E4D-B386-F39D40C28AE9}"/>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Zurich Sans Light" panose="02000000000000000000" pitchFamily="2" charset="0"/>
                <a:cs typeface="Arial" panose="020B0604020202020204" pitchFamily="34" charset="0"/>
                <a:sym typeface="Zurich Sans Light" panose="02000000000000000000" pitchFamily="2" charset="0"/>
              </a:rPr>
              <a:t>© Zurich</a:t>
            </a:r>
          </a:p>
        </p:txBody>
      </p:sp>
      <p:pic>
        <p:nvPicPr>
          <p:cNvPr id="2" name="ZRS Logo Horozontal">
            <a:extLst>
              <a:ext uri="{FF2B5EF4-FFF2-40B4-BE49-F238E27FC236}">
                <a16:creationId xmlns:a16="http://schemas.microsoft.com/office/drawing/2014/main" id="{3B7D8FB7-89B2-2AE2-D2FC-4A3FA0CA74CF}"/>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63044" y="297022"/>
            <a:ext cx="1700701" cy="564698"/>
          </a:xfrm>
          <a:prstGeom prst="rect">
            <a:avLst/>
          </a:prstGeom>
        </p:spPr>
      </p:pic>
    </p:spTree>
    <p:extLst>
      <p:ext uri="{BB962C8B-B14F-4D97-AF65-F5344CB8AC3E}">
        <p14:creationId xmlns:p14="http://schemas.microsoft.com/office/powerpoint/2010/main" val="130605833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1406EC-9BFF-3460-49A6-84F969C645E2}"/>
              </a:ext>
            </a:extLst>
          </p:cNvPr>
          <p:cNvGraphicFramePr>
            <a:graphicFrameLocks noChangeAspect="1"/>
          </p:cNvGraphicFramePr>
          <p:nvPr userDrawn="1">
            <p:custDataLst>
              <p:tags r:id="rId1"/>
            </p:custDataLst>
            <p:extLst>
              <p:ext uri="{D42A27DB-BD31-4B8C-83A1-F6EECF244321}">
                <p14:modId xmlns:p14="http://schemas.microsoft.com/office/powerpoint/2010/main" val="30831695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2F1406EC-9BFF-3460-49A6-84F969C645E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251999" y="1198800"/>
            <a:ext cx="11678400" cy="5040000"/>
          </a:xfrm>
        </p:spPr>
        <p:txBody>
          <a:bodyPr/>
          <a:lstStyle>
            <a:lvl1pPr>
              <a:defRPr sz="1800">
                <a:latin typeface="Zurich Sans Light" panose="02000000000000000000" pitchFamily="2" charset="0"/>
                <a:cs typeface="Arial" panose="020B0604020202020204" pitchFamily="34" charset="0"/>
                <a:sym typeface="Zurich Sans Light" panose="02000000000000000000" pitchFamily="2" charset="0"/>
              </a:defRPr>
            </a:lvl1pPr>
            <a:lvl2pPr>
              <a:defRPr sz="1600">
                <a:latin typeface="Zurich Sans Light" panose="02000000000000000000" pitchFamily="2" charset="0"/>
                <a:cs typeface="Arial" panose="020B0604020202020204" pitchFamily="34" charset="0"/>
                <a:sym typeface="Zurich Sans Light" panose="02000000000000000000" pitchFamily="2" charset="0"/>
              </a:defRPr>
            </a:lvl2pPr>
            <a:lvl3pPr>
              <a:defRPr sz="1400">
                <a:latin typeface="Zurich Sans Light" panose="02000000000000000000" pitchFamily="2" charset="0"/>
                <a:cs typeface="Arial" panose="020B0604020202020204" pitchFamily="34" charset="0"/>
                <a:sym typeface="Zurich Sans Light" panose="02000000000000000000" pitchFamily="2" charset="0"/>
              </a:defRPr>
            </a:lvl3pPr>
            <a:lvl4pPr>
              <a:defRPr sz="1200">
                <a:latin typeface="Zurich Sans Light" panose="02000000000000000000" pitchFamily="2" charset="0"/>
                <a:cs typeface="Arial" panose="020B0604020202020204" pitchFamily="34" charset="0"/>
                <a:sym typeface="Zurich Sans Light" panose="02000000000000000000" pitchFamily="2" charset="0"/>
              </a:defRPr>
            </a:lvl4pPr>
            <a:lvl5pPr>
              <a:defRPr sz="1200">
                <a:latin typeface="Zurich Sans Light" panose="02000000000000000000" pitchFamily="2" charset="0"/>
                <a:cs typeface="Arial" panose="020B0604020202020204" pitchFamily="34" charset="0"/>
                <a:sym typeface="Zurich Sans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endParaRPr lang="en-US"/>
          </a:p>
        </p:txBody>
      </p:sp>
      <p:sp>
        <p:nvSpPr>
          <p:cNvPr id="6" name="Title Placeholder 1">
            <a:extLst>
              <a:ext uri="{FF2B5EF4-FFF2-40B4-BE49-F238E27FC236}">
                <a16:creationId xmlns:a16="http://schemas.microsoft.com/office/drawing/2014/main" id="{18E30B75-9CF0-0775-B941-FE7D212DB476}"/>
              </a:ext>
            </a:extLst>
          </p:cNvPr>
          <p:cNvSpPr>
            <a:spLocks noGrp="1"/>
          </p:cNvSpPr>
          <p:nvPr>
            <p:ph type="title"/>
          </p:nvPr>
        </p:nvSpPr>
        <p:spPr>
          <a:xfrm>
            <a:off x="250826" y="249926"/>
            <a:ext cx="9583200" cy="332399"/>
          </a:xfrm>
          <a:prstGeom prst="rect">
            <a:avLst/>
          </a:prstGeom>
        </p:spPr>
        <p:txBody>
          <a:bodyPr vert="horz" lIns="0" tIns="0" rIns="0" bIns="0" rtlCol="0" anchor="t" anchorCtr="0">
            <a:spAutoFit/>
          </a:bodyPr>
          <a:lstStyle>
            <a:lvl1pPr>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en-US"/>
              <a:t>Click to edit Master title style</a:t>
            </a:r>
          </a:p>
        </p:txBody>
      </p:sp>
      <p:sp>
        <p:nvSpPr>
          <p:cNvPr id="15" name="Content Placeholder 14">
            <a:extLst>
              <a:ext uri="{FF2B5EF4-FFF2-40B4-BE49-F238E27FC236}">
                <a16:creationId xmlns:a16="http://schemas.microsoft.com/office/drawing/2014/main" id="{5EE267CE-325C-462B-BBBE-BB1B3ABD1F8D}"/>
              </a:ext>
            </a:extLst>
          </p:cNvPr>
          <p:cNvSpPr>
            <a:spLocks noGrp="1"/>
          </p:cNvSpPr>
          <p:nvPr>
            <p:ph sz="quarter" idx="10" hasCustomPrompt="1"/>
          </p:nvPr>
        </p:nvSpPr>
        <p:spPr>
          <a:xfrm>
            <a:off x="250825" y="666073"/>
            <a:ext cx="9583200" cy="276999"/>
          </a:xfrm>
        </p:spPr>
        <p:txBody>
          <a:bodyPr wrap="square">
            <a:spAutoFit/>
          </a:bodyPr>
          <a:lstStyle>
            <a:lvl1pPr marL="0" indent="0">
              <a:buNone/>
              <a:defRPr sz="18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vl2pPr marL="239712" indent="0">
              <a:buNone/>
              <a:defRPr sz="1800">
                <a:solidFill>
                  <a:schemeClr val="accent1"/>
                </a:solidFill>
              </a:defRPr>
            </a:lvl2pPr>
            <a:lvl3pPr marL="538163" indent="0">
              <a:buNone/>
              <a:defRPr sz="1800">
                <a:solidFill>
                  <a:schemeClr val="accent1"/>
                </a:solidFill>
              </a:defRPr>
            </a:lvl3pPr>
            <a:lvl4pPr marL="719138" indent="0">
              <a:buNone/>
              <a:defRPr sz="1800">
                <a:solidFill>
                  <a:schemeClr val="accent1"/>
                </a:solidFill>
              </a:defRPr>
            </a:lvl4pPr>
            <a:lvl5pPr marL="985837" indent="0">
              <a:buNone/>
              <a:defRPr sz="1800">
                <a:solidFill>
                  <a:schemeClr val="accent1"/>
                </a:solidFill>
              </a:defRPr>
            </a:lvl5pPr>
          </a:lstStyle>
          <a:p>
            <a:pPr lvl="0"/>
            <a:r>
              <a:rPr lang="en-GB"/>
              <a:t>Click to edit Master title style</a:t>
            </a:r>
          </a:p>
        </p:txBody>
      </p:sp>
      <p:sp>
        <p:nvSpPr>
          <p:cNvPr id="7" name="Slide Number Placeholder 5">
            <a:extLst>
              <a:ext uri="{FF2B5EF4-FFF2-40B4-BE49-F238E27FC236}">
                <a16:creationId xmlns:a16="http://schemas.microsoft.com/office/drawing/2014/main" id="{CBCFE06F-DD5B-B55B-1E6F-F2554A1DBA01}"/>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pic>
        <p:nvPicPr>
          <p:cNvPr id="5" name="ZRS Logo Horozontal">
            <a:extLst>
              <a:ext uri="{FF2B5EF4-FFF2-40B4-BE49-F238E27FC236}">
                <a16:creationId xmlns:a16="http://schemas.microsoft.com/office/drawing/2014/main" id="{F79FC48A-D7AA-C099-2064-4D84E52EF06E}"/>
              </a:ext>
            </a:extLst>
          </p:cNvPr>
          <p:cNvPicPr>
            <a:picLocks noChangeAspect="1"/>
          </p:cNvPicPr>
          <p:nvPr userDrawn="1"/>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33252351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161B374-B994-2C1B-6C78-A9017A6000BA}"/>
              </a:ext>
            </a:extLst>
          </p:cNvPr>
          <p:cNvGraphicFramePr>
            <a:graphicFrameLocks noChangeAspect="1"/>
          </p:cNvGraphicFramePr>
          <p:nvPr userDrawn="1">
            <p:custDataLst>
              <p:tags r:id="rId1"/>
            </p:custDataLst>
            <p:extLst>
              <p:ext uri="{D42A27DB-BD31-4B8C-83A1-F6EECF244321}">
                <p14:modId xmlns:p14="http://schemas.microsoft.com/office/powerpoint/2010/main" val="888233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7" name="think-cell data - do not delete" hidden="1">
                        <a:extLst>
                          <a:ext uri="{FF2B5EF4-FFF2-40B4-BE49-F238E27FC236}">
                            <a16:creationId xmlns:a16="http://schemas.microsoft.com/office/drawing/2014/main" id="{3161B374-B994-2C1B-6C78-A9017A6000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08B7CC5-E206-49B7-8DAB-D820D5041428}"/>
              </a:ext>
            </a:extLst>
          </p:cNvPr>
          <p:cNvSpPr>
            <a:spLocks noGrp="1"/>
          </p:cNvSpPr>
          <p:nvPr>
            <p:ph type="title"/>
          </p:nvPr>
        </p:nvSpPr>
        <p:spPr/>
        <p:txBody>
          <a:bodyPr vert="horz"/>
          <a:lstStyle>
            <a:lvl1pPr>
              <a:defRPr>
                <a:latin typeface="Zurich Sans Light" panose="02000000000000000000" pitchFamily="2" charset="0"/>
                <a:sym typeface="Zurich Sans Light" panose="02000000000000000000" pitchFamily="2" charset="0"/>
              </a:defRPr>
            </a:lvl1pPr>
          </a:lstStyle>
          <a:p>
            <a:r>
              <a:rPr lang="en-US"/>
              <a:t>Click to edit Master title style</a:t>
            </a:r>
          </a:p>
        </p:txBody>
      </p:sp>
      <p:sp>
        <p:nvSpPr>
          <p:cNvPr id="3" name="Content Placeholder 2">
            <a:extLst>
              <a:ext uri="{FF2B5EF4-FFF2-40B4-BE49-F238E27FC236}">
                <a16:creationId xmlns:a16="http://schemas.microsoft.com/office/drawing/2014/main" id="{08C05DA1-1C27-4AC2-B3D2-7014C5309878}"/>
              </a:ext>
            </a:extLst>
          </p:cNvPr>
          <p:cNvSpPr>
            <a:spLocks noGrp="1"/>
          </p:cNvSpPr>
          <p:nvPr>
            <p:ph idx="1"/>
          </p:nvPr>
        </p:nvSpPr>
        <p:spPr/>
        <p:txBody>
          <a:bodyPr/>
          <a:lstStyle>
            <a:lvl1pPr>
              <a:defRPr>
                <a:latin typeface="Zurich Sans Light" panose="02000000000000000000" pitchFamily="2" charset="0"/>
                <a:sym typeface="Zurich Sans Light" panose="02000000000000000000" pitchFamily="2" charset="0"/>
              </a:defRPr>
            </a:lvl1pPr>
            <a:lvl2pPr>
              <a:defRPr>
                <a:latin typeface="Zurich Sans Light" panose="02000000000000000000" pitchFamily="2" charset="0"/>
                <a:sym typeface="Zurich Sans Light" panose="02000000000000000000" pitchFamily="2" charset="0"/>
              </a:defRPr>
            </a:lvl2pPr>
            <a:lvl3pPr>
              <a:defRPr>
                <a:latin typeface="Zurich Sans Light" panose="02000000000000000000" pitchFamily="2" charset="0"/>
                <a:sym typeface="Zurich Sans Light" panose="02000000000000000000" pitchFamily="2" charset="0"/>
              </a:defRPr>
            </a:lvl3pPr>
            <a:lvl4pPr>
              <a:defRPr>
                <a:latin typeface="Zurich Sans Light" panose="02000000000000000000" pitchFamily="2" charset="0"/>
                <a:sym typeface="Zurich Sans Light" panose="02000000000000000000" pitchFamily="2" charset="0"/>
              </a:defRPr>
            </a:lvl4pPr>
            <a:lvl5pPr>
              <a:defRPr>
                <a:latin typeface="Zurich Sans Light" panose="02000000000000000000" pitchFamily="2" charset="0"/>
                <a:sym typeface="Zurich Sans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3">
            <a:extLst>
              <a:ext uri="{FF2B5EF4-FFF2-40B4-BE49-F238E27FC236}">
                <a16:creationId xmlns:a16="http://schemas.microsoft.com/office/drawing/2014/main" id="{70325670-E080-31A6-FF91-D7B405CB586A}"/>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endParaRPr lang="en-US"/>
          </a:p>
        </p:txBody>
      </p:sp>
      <p:sp>
        <p:nvSpPr>
          <p:cNvPr id="6" name="Slide Number Placeholder 5">
            <a:extLst>
              <a:ext uri="{FF2B5EF4-FFF2-40B4-BE49-F238E27FC236}">
                <a16:creationId xmlns:a16="http://schemas.microsoft.com/office/drawing/2014/main" id="{CBE28F7E-29B6-2343-EC46-64D3F20C44EF}"/>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pic>
        <p:nvPicPr>
          <p:cNvPr id="5" name="ZRS Logo Horozontal">
            <a:extLst>
              <a:ext uri="{FF2B5EF4-FFF2-40B4-BE49-F238E27FC236}">
                <a16:creationId xmlns:a16="http://schemas.microsoft.com/office/drawing/2014/main" id="{963E355A-D09B-8BE1-E25E-2C03AEE0001B}"/>
              </a:ext>
            </a:extLst>
          </p:cNvPr>
          <p:cNvPicPr>
            <a:picLocks noChangeAspect="1"/>
          </p:cNvPicPr>
          <p:nvPr userDrawn="1"/>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25828364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pic>
        <p:nvPicPr>
          <p:cNvPr id="2" name="ZRS Logo Horozontal">
            <a:extLst>
              <a:ext uri="{FF2B5EF4-FFF2-40B4-BE49-F238E27FC236}">
                <a16:creationId xmlns:a16="http://schemas.microsoft.com/office/drawing/2014/main" id="{AD6B03EA-B1F5-E5B3-E991-0F57E0753F4B}"/>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194" t="5628" b="28088"/>
          <a:stretch/>
        </p:blipFill>
        <p:spPr>
          <a:xfrm>
            <a:off x="10342650" y="317500"/>
            <a:ext cx="1510791" cy="520700"/>
          </a:xfrm>
          <a:prstGeom prst="rect">
            <a:avLst/>
          </a:prstGeom>
        </p:spPr>
      </p:pic>
      <p:sp>
        <p:nvSpPr>
          <p:cNvPr id="3" name="Content Placeholder 2"/>
          <p:cNvSpPr>
            <a:spLocks noGrp="1"/>
          </p:cNvSpPr>
          <p:nvPr>
            <p:ph idx="1"/>
          </p:nvPr>
        </p:nvSpPr>
        <p:spPr>
          <a:xfrm>
            <a:off x="259451" y="1205994"/>
            <a:ext cx="11669024" cy="5040145"/>
          </a:xfrm>
        </p:spPr>
        <p:txBody>
          <a:bodyPr/>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21" name="Title 1">
            <a:extLst>
              <a:ext uri="{FF2B5EF4-FFF2-40B4-BE49-F238E27FC236}">
                <a16:creationId xmlns:a16="http://schemas.microsoft.com/office/drawing/2014/main" id="{29FBF581-E754-574B-A309-6F2FB382E481}"/>
              </a:ext>
            </a:extLst>
          </p:cNvPr>
          <p:cNvSpPr>
            <a:spLocks noGrp="1"/>
          </p:cNvSpPr>
          <p:nvPr>
            <p:ph type="title"/>
          </p:nvPr>
        </p:nvSpPr>
        <p:spPr>
          <a:xfrm>
            <a:off x="252659" y="260268"/>
            <a:ext cx="9586415" cy="332399"/>
          </a:xfrm>
        </p:spPr>
        <p:txBody>
          <a:bodyPr>
            <a:spAutoFit/>
          </a:bodyPr>
          <a:lstStyle>
            <a:lvl1pPr>
              <a:defRPr>
                <a:latin typeface="+mn-lt"/>
                <a:cs typeface="Arial" panose="020B0604020202020204" pitchFamily="34" charset="0"/>
              </a:defRPr>
            </a:lvl1pPr>
          </a:lstStyle>
          <a:p>
            <a:r>
              <a:rPr lang="es-ES"/>
              <a:t>Haga clic para modificar el estilo de título del patrón</a:t>
            </a:r>
            <a:endParaRPr lang="en-US"/>
          </a:p>
        </p:txBody>
      </p:sp>
      <p:sp>
        <p:nvSpPr>
          <p:cNvPr id="22" name="Subtitle 2">
            <a:extLst>
              <a:ext uri="{FF2B5EF4-FFF2-40B4-BE49-F238E27FC236}">
                <a16:creationId xmlns:a16="http://schemas.microsoft.com/office/drawing/2014/main" id="{60580A64-4AC1-D547-A7C8-FF2A5434D2C5}"/>
              </a:ext>
            </a:extLst>
          </p:cNvPr>
          <p:cNvSpPr>
            <a:spLocks noGrp="1"/>
          </p:cNvSpPr>
          <p:nvPr>
            <p:ph type="subTitle" idx="13"/>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s-ES"/>
              <a:t>Haga clic para modificar el estilo de subtítulo del patrón</a:t>
            </a:r>
            <a:endParaRPr lang="en-GB" noProof="0"/>
          </a:p>
        </p:txBody>
      </p:sp>
      <p:sp>
        <p:nvSpPr>
          <p:cNvPr id="18" name="Slide Number Placeholder 5">
            <a:extLst>
              <a:ext uri="{FF2B5EF4-FFF2-40B4-BE49-F238E27FC236}">
                <a16:creationId xmlns:a16="http://schemas.microsoft.com/office/drawing/2014/main" id="{9DEE29F2-F280-4686-A9A8-3959443731C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4163103071"/>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hank you">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A9E0DE-846D-FF38-B2EC-DA3678E2E7E9}"/>
              </a:ext>
            </a:extLst>
          </p:cNvPr>
          <p:cNvGraphicFramePr>
            <a:graphicFrameLocks noChangeAspect="1"/>
          </p:cNvGraphicFramePr>
          <p:nvPr userDrawn="1">
            <p:custDataLst>
              <p:tags r:id="rId1"/>
            </p:custDataLst>
            <p:extLst>
              <p:ext uri="{D42A27DB-BD31-4B8C-83A1-F6EECF244321}">
                <p14:modId xmlns:p14="http://schemas.microsoft.com/office/powerpoint/2010/main" val="2099657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8A9E0DE-846D-FF38-B2EC-DA3678E2E7E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6" name="Freeform 12">
            <a:extLst>
              <a:ext uri="{FF2B5EF4-FFF2-40B4-BE49-F238E27FC236}">
                <a16:creationId xmlns:a16="http://schemas.microsoft.com/office/drawing/2014/main" id="{CDD94F9F-17AF-4158-8273-144D6BB8BFBA}"/>
              </a:ext>
            </a:extLst>
          </p:cNvPr>
          <p:cNvSpPr/>
          <p:nvPr userDrawn="1"/>
        </p:nvSpPr>
        <p:spPr bwMode="auto">
          <a:xfrm rot="735038">
            <a:off x="9520516" y="4974388"/>
            <a:ext cx="933047" cy="469973"/>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7" name="Freeform 17">
            <a:extLst>
              <a:ext uri="{FF2B5EF4-FFF2-40B4-BE49-F238E27FC236}">
                <a16:creationId xmlns:a16="http://schemas.microsoft.com/office/drawing/2014/main" id="{03EA52F0-9F47-4C1A-A653-1F060850BB16}"/>
              </a:ext>
            </a:extLst>
          </p:cNvPr>
          <p:cNvSpPr/>
          <p:nvPr userDrawn="1"/>
        </p:nvSpPr>
        <p:spPr bwMode="auto">
          <a:xfrm rot="8315714" flipH="1">
            <a:off x="8980969" y="5547935"/>
            <a:ext cx="1677271" cy="86330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8" name="Oval 17">
            <a:extLst>
              <a:ext uri="{FF2B5EF4-FFF2-40B4-BE49-F238E27FC236}">
                <a16:creationId xmlns:a16="http://schemas.microsoft.com/office/drawing/2014/main" id="{6AED791D-1518-403F-BA5A-79F94E7CDCCB}"/>
              </a:ext>
            </a:extLst>
          </p:cNvPr>
          <p:cNvSpPr>
            <a:spLocks noChangeAspect="1"/>
          </p:cNvSpPr>
          <p:nvPr userDrawn="1"/>
        </p:nvSpPr>
        <p:spPr bwMode="auto">
          <a:xfrm rot="5400000">
            <a:off x="10194296" y="5983126"/>
            <a:ext cx="875301" cy="874456"/>
          </a:xfrm>
          <a:prstGeom prst="ellips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26" name="TextBox 25">
            <a:extLst>
              <a:ext uri="{FF2B5EF4-FFF2-40B4-BE49-F238E27FC236}">
                <a16:creationId xmlns:a16="http://schemas.microsoft.com/office/drawing/2014/main" id="{964649C4-0FE0-4E4D-B386-F39D40C28AE9}"/>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mn-lt"/>
                <a:cs typeface="Arial" panose="020B0604020202020204" pitchFamily="34" charset="0"/>
              </a:rPr>
              <a:t>© Zurich</a:t>
            </a:r>
          </a:p>
        </p:txBody>
      </p:sp>
      <p:sp>
        <p:nvSpPr>
          <p:cNvPr id="2" name="Oval 1">
            <a:extLst>
              <a:ext uri="{FF2B5EF4-FFF2-40B4-BE49-F238E27FC236}">
                <a16:creationId xmlns:a16="http://schemas.microsoft.com/office/drawing/2014/main" id="{25770D62-4A62-49A3-BF3C-16AD104D2A7C}"/>
              </a:ext>
            </a:extLst>
          </p:cNvPr>
          <p:cNvSpPr>
            <a:spLocks noChangeAspect="1"/>
          </p:cNvSpPr>
          <p:nvPr userDrawn="1"/>
        </p:nvSpPr>
        <p:spPr bwMode="auto">
          <a:xfrm rot="5400000">
            <a:off x="9613144" y="4552884"/>
            <a:ext cx="374075" cy="373714"/>
          </a:xfrm>
          <a:prstGeom prst="ellipse">
            <a:avLst/>
          </a:prstGeom>
          <a:solidFill>
            <a:schemeClr val="accent5"/>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pic>
        <p:nvPicPr>
          <p:cNvPr id="4" name="ZRS Logo Horozontal">
            <a:extLst>
              <a:ext uri="{FF2B5EF4-FFF2-40B4-BE49-F238E27FC236}">
                <a16:creationId xmlns:a16="http://schemas.microsoft.com/office/drawing/2014/main" id="{A4DD89D5-A755-5011-C974-467330A5684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152740" y="297022"/>
            <a:ext cx="1700701" cy="564698"/>
          </a:xfrm>
          <a:prstGeom prst="rect">
            <a:avLst/>
          </a:prstGeom>
        </p:spPr>
      </p:pic>
    </p:spTree>
    <p:extLst>
      <p:ext uri="{BB962C8B-B14F-4D97-AF65-F5344CB8AC3E}">
        <p14:creationId xmlns:p14="http://schemas.microsoft.com/office/powerpoint/2010/main" val="7148452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EE01A2-AB1F-7B92-609C-7CDCC5EE4FD0}"/>
              </a:ext>
            </a:extLst>
          </p:cNvPr>
          <p:cNvGraphicFramePr>
            <a:graphicFrameLocks noChangeAspect="1"/>
          </p:cNvGraphicFramePr>
          <p:nvPr userDrawn="1">
            <p:custDataLst>
              <p:tags r:id="rId1"/>
            </p:custDataLst>
            <p:extLst>
              <p:ext uri="{D42A27DB-BD31-4B8C-83A1-F6EECF244321}">
                <p14:modId xmlns:p14="http://schemas.microsoft.com/office/powerpoint/2010/main" val="3265654105"/>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56EE01A2-AB1F-7B92-609C-7CDCC5EE4FD0}"/>
                          </a:ext>
                        </a:extLst>
                      </p:cNvPr>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28" name="Slide Number Placeholder 5">
            <a:extLst>
              <a:ext uri="{FF2B5EF4-FFF2-40B4-BE49-F238E27FC236}">
                <a16:creationId xmlns:a16="http://schemas.microsoft.com/office/drawing/2014/main" id="{54613BA4-3F37-477A-9F83-816FFC375697}"/>
              </a:ext>
            </a:extLst>
          </p:cNvPr>
          <p:cNvSpPr>
            <a:spLocks noGrp="1"/>
          </p:cNvSpPr>
          <p:nvPr>
            <p:ph type="sldNum" sz="quarter" idx="4"/>
          </p:nvPr>
        </p:nvSpPr>
        <p:spPr>
          <a:xfrm>
            <a:off x="10704514" y="6548967"/>
            <a:ext cx="551115" cy="181960"/>
          </a:xfrm>
          <a:prstGeom prst="rect">
            <a:avLst/>
          </a:prstGeom>
        </p:spPr>
        <p:txBody>
          <a:bodyPr vert="horz" lIns="0" tIns="0" rIns="0" bIns="0" rtlCol="0" anchor="t" anchorCtr="0"/>
          <a:lstStyle>
            <a:lvl1pPr algn="r">
              <a:defRPr sz="1067">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0" name="Footer Placeholder 3">
            <a:extLst>
              <a:ext uri="{FF2B5EF4-FFF2-40B4-BE49-F238E27FC236}">
                <a16:creationId xmlns:a16="http://schemas.microsoft.com/office/drawing/2014/main" id="{3866945B-F4D3-4972-8A47-C02C9E2AC957}"/>
              </a:ext>
            </a:extLst>
          </p:cNvPr>
          <p:cNvSpPr>
            <a:spLocks noGrp="1"/>
          </p:cNvSpPr>
          <p:nvPr>
            <p:ph type="ftr" sz="quarter" idx="3"/>
          </p:nvPr>
        </p:nvSpPr>
        <p:spPr>
          <a:xfrm>
            <a:off x="353936" y="6548967"/>
            <a:ext cx="8112000" cy="181960"/>
          </a:xfrm>
          <a:prstGeom prst="rect">
            <a:avLst/>
          </a:prstGeom>
        </p:spPr>
        <p:txBody>
          <a:bodyPr lIns="0" tIns="0" rIns="0" bIns="0"/>
          <a:lstStyle>
            <a:lvl1pPr algn="l">
              <a:defRPr sz="1067">
                <a:solidFill>
                  <a:schemeClr val="accent1"/>
                </a:solidFill>
                <a:latin typeface="+mn-lt"/>
                <a:cs typeface="Arial" panose="020B0604020202020204" pitchFamily="34" charset="0"/>
              </a:defRPr>
            </a:lvl1pPr>
          </a:lstStyle>
          <a:p>
            <a:endParaRPr lang="en-US"/>
          </a:p>
        </p:txBody>
      </p:sp>
      <p:sp>
        <p:nvSpPr>
          <p:cNvPr id="4" name="Title 1">
            <a:extLst>
              <a:ext uri="{FF2B5EF4-FFF2-40B4-BE49-F238E27FC236}">
                <a16:creationId xmlns:a16="http://schemas.microsoft.com/office/drawing/2014/main" id="{8ED329BA-D18E-88F4-9583-67EADF4E1A52}"/>
              </a:ext>
            </a:extLst>
          </p:cNvPr>
          <p:cNvSpPr>
            <a:spLocks noGrp="1"/>
          </p:cNvSpPr>
          <p:nvPr>
            <p:ph type="title"/>
          </p:nvPr>
        </p:nvSpPr>
        <p:spPr>
          <a:xfrm>
            <a:off x="353935" y="323960"/>
            <a:ext cx="9485140" cy="332399"/>
          </a:xfrm>
        </p:spPr>
        <p:txBody>
          <a:bodyPr vert="horz" wrap="square">
            <a:spAutoFit/>
          </a:bodyPr>
          <a:lstStyle>
            <a:lvl1pPr algn="l">
              <a:defRPr>
                <a:latin typeface="+mj-lt"/>
                <a:cs typeface="Arial" panose="020B0604020202020204" pitchFamily="34" charset="0"/>
              </a:defRPr>
            </a:lvl1pPr>
          </a:lstStyle>
          <a:p>
            <a:r>
              <a:rPr lang="en-US"/>
              <a:t>Click to edit Master title style</a:t>
            </a:r>
          </a:p>
        </p:txBody>
      </p:sp>
      <p:sp>
        <p:nvSpPr>
          <p:cNvPr id="5" name="Subtitle 2">
            <a:extLst>
              <a:ext uri="{FF2B5EF4-FFF2-40B4-BE49-F238E27FC236}">
                <a16:creationId xmlns:a16="http://schemas.microsoft.com/office/drawing/2014/main" id="{E0E21DD1-0F19-FD1A-C970-95367BECE896}"/>
              </a:ext>
            </a:extLst>
          </p:cNvPr>
          <p:cNvSpPr>
            <a:spLocks noGrp="1"/>
          </p:cNvSpPr>
          <p:nvPr>
            <p:ph type="subTitle" idx="14"/>
          </p:nvPr>
        </p:nvSpPr>
        <p:spPr>
          <a:xfrm>
            <a:off x="353934" y="674291"/>
            <a:ext cx="9485140" cy="332399"/>
          </a:xfrm>
          <a:prstGeom prst="rect">
            <a:avLst/>
          </a:prstGeom>
        </p:spPr>
        <p:txBody>
          <a:bodyPr anchor="t">
            <a:normAutofit/>
          </a:bodyPr>
          <a:lstStyle>
            <a:lvl1pPr marL="0" indent="0" algn="l">
              <a:buFont typeface="Arial" panose="020B0604020202020204" pitchFamily="34" charset="0"/>
              <a:buNone/>
              <a:defRPr sz="1867" b="0" i="0">
                <a:solidFill>
                  <a:srgbClr val="2167AE"/>
                </a:solidFill>
                <a:latin typeface="+mn-lt"/>
                <a:cs typeface="Arial" panose="020B0604020202020204" pitchFamily="34" charset="0"/>
              </a:defRPr>
            </a:lvl1pPr>
            <a:lvl2pPr marL="342812" indent="0" algn="ctr">
              <a:buNone/>
              <a:defRPr>
                <a:solidFill>
                  <a:schemeClr val="tx1">
                    <a:tint val="75000"/>
                  </a:schemeClr>
                </a:solidFill>
              </a:defRPr>
            </a:lvl2pPr>
            <a:lvl3pPr marL="685623" indent="0" algn="ctr">
              <a:buNone/>
              <a:defRPr>
                <a:solidFill>
                  <a:schemeClr val="tx1">
                    <a:tint val="75000"/>
                  </a:schemeClr>
                </a:solidFill>
              </a:defRPr>
            </a:lvl3pPr>
            <a:lvl4pPr marL="1028434" indent="0" algn="ctr">
              <a:buNone/>
              <a:defRPr>
                <a:solidFill>
                  <a:schemeClr val="tx1">
                    <a:tint val="75000"/>
                  </a:schemeClr>
                </a:solidFill>
              </a:defRPr>
            </a:lvl4pPr>
            <a:lvl5pPr marL="1371246" indent="0" algn="ctr">
              <a:buNone/>
              <a:defRPr>
                <a:solidFill>
                  <a:schemeClr val="tx1">
                    <a:tint val="75000"/>
                  </a:schemeClr>
                </a:solidFill>
              </a:defRPr>
            </a:lvl5pPr>
            <a:lvl6pPr marL="1714057" indent="0" algn="ctr">
              <a:buNone/>
              <a:defRPr>
                <a:solidFill>
                  <a:schemeClr val="tx1">
                    <a:tint val="75000"/>
                  </a:schemeClr>
                </a:solidFill>
              </a:defRPr>
            </a:lvl6pPr>
            <a:lvl7pPr marL="2056869" indent="0" algn="ctr">
              <a:buNone/>
              <a:defRPr>
                <a:solidFill>
                  <a:schemeClr val="tx1">
                    <a:tint val="75000"/>
                  </a:schemeClr>
                </a:solidFill>
              </a:defRPr>
            </a:lvl7pPr>
            <a:lvl8pPr marL="2399680" indent="0" algn="ctr">
              <a:buNone/>
              <a:defRPr>
                <a:solidFill>
                  <a:schemeClr val="tx1">
                    <a:tint val="75000"/>
                  </a:schemeClr>
                </a:solidFill>
              </a:defRPr>
            </a:lvl8pPr>
            <a:lvl9pPr marL="2742492" indent="0" algn="ctr">
              <a:buNone/>
              <a:defRPr>
                <a:solidFill>
                  <a:schemeClr val="tx1">
                    <a:tint val="75000"/>
                  </a:schemeClr>
                </a:solidFill>
              </a:defRPr>
            </a:lvl9pPr>
          </a:lstStyle>
          <a:p>
            <a:r>
              <a:rPr lang="en-US"/>
              <a:t>Click to edit Master subtitle style</a:t>
            </a:r>
            <a:endParaRPr lang="en-GB" noProof="0"/>
          </a:p>
        </p:txBody>
      </p:sp>
      <p:pic>
        <p:nvPicPr>
          <p:cNvPr id="12" name="ZRS Logo Horozontal">
            <a:extLst>
              <a:ext uri="{FF2B5EF4-FFF2-40B4-BE49-F238E27FC236}">
                <a16:creationId xmlns:a16="http://schemas.microsoft.com/office/drawing/2014/main" id="{51E834F6-FBC5-06A0-0479-DD853878D34F}"/>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47701" y="324918"/>
            <a:ext cx="1527403" cy="507156"/>
          </a:xfrm>
          <a:prstGeom prst="rect">
            <a:avLst/>
          </a:prstGeom>
        </p:spPr>
      </p:pic>
    </p:spTree>
    <p:extLst>
      <p:ext uri="{BB962C8B-B14F-4D97-AF65-F5344CB8AC3E}">
        <p14:creationId xmlns:p14="http://schemas.microsoft.com/office/powerpoint/2010/main" val="20733373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59451" y="1205994"/>
            <a:ext cx="11669024" cy="5040145"/>
          </a:xfrm>
        </p:spPr>
        <p:txBody>
          <a:bodyPr/>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9FBF581-E754-574B-A309-6F2FB382E481}"/>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en-US"/>
              <a:t>Click to edit Master title style</a:t>
            </a:r>
          </a:p>
        </p:txBody>
      </p:sp>
      <p:sp>
        <p:nvSpPr>
          <p:cNvPr id="22" name="Subtitle 2">
            <a:extLst>
              <a:ext uri="{FF2B5EF4-FFF2-40B4-BE49-F238E27FC236}">
                <a16:creationId xmlns:a16="http://schemas.microsoft.com/office/drawing/2014/main" id="{60580A64-4AC1-D547-A7C8-FF2A5434D2C5}"/>
              </a:ext>
            </a:extLst>
          </p:cNvPr>
          <p:cNvSpPr>
            <a:spLocks noGrp="1"/>
          </p:cNvSpPr>
          <p:nvPr>
            <p:ph type="subTitle" idx="13"/>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US"/>
              <a:t>Click to edit Master subtitle style</a:t>
            </a:r>
            <a:endParaRPr lang="en-GB" noProof="0"/>
          </a:p>
        </p:txBody>
      </p:sp>
      <p:sp>
        <p:nvSpPr>
          <p:cNvPr id="18" name="Slide Number Placeholder 5">
            <a:extLst>
              <a:ext uri="{FF2B5EF4-FFF2-40B4-BE49-F238E27FC236}">
                <a16:creationId xmlns:a16="http://schemas.microsoft.com/office/drawing/2014/main" id="{9DEE29F2-F280-4686-A9A8-3959443731C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19" name="ZRS Logo Horozontal">
            <a:extLst>
              <a:ext uri="{FF2B5EF4-FFF2-40B4-BE49-F238E27FC236}">
                <a16:creationId xmlns:a16="http://schemas.microsoft.com/office/drawing/2014/main" id="{22B5E1A2-EB83-48AE-BF13-41D1919E04B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47446" y="325479"/>
            <a:ext cx="1501200" cy="498456"/>
          </a:xfrm>
          <a:prstGeom prst="rect">
            <a:avLst/>
          </a:prstGeom>
        </p:spPr>
      </p:pic>
    </p:spTree>
    <p:extLst>
      <p:ext uri="{BB962C8B-B14F-4D97-AF65-F5344CB8AC3E}">
        <p14:creationId xmlns:p14="http://schemas.microsoft.com/office/powerpoint/2010/main" val="203002762"/>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Content_one box">
    <p:bg>
      <p:bgPr>
        <a:solidFill>
          <a:srgbClr val="FFFFFF"/>
        </a:solidFill>
        <a:effectLst/>
      </p:bgPr>
    </p:bg>
    <p:spTree>
      <p:nvGrpSpPr>
        <p:cNvPr id="1" name=""/>
        <p:cNvGrpSpPr/>
        <p:nvPr/>
      </p:nvGrpSpPr>
      <p:grpSpPr>
        <a:xfrm>
          <a:off x="0" y="0"/>
          <a:ext cx="0" cy="0"/>
          <a:chOff x="0" y="0"/>
          <a:chExt cx="0" cy="0"/>
        </a:xfrm>
      </p:grpSpPr>
      <p:sp>
        <p:nvSpPr>
          <p:cNvPr id="15" name="Subtitle 2">
            <a:extLst>
              <a:ext uri="{FF2B5EF4-FFF2-40B4-BE49-F238E27FC236}">
                <a16:creationId xmlns:a16="http://schemas.microsoft.com/office/drawing/2014/main" id="{EBEC7CCE-A39D-4C41-B1AA-B285B26D9952}"/>
              </a:ext>
            </a:extLst>
          </p:cNvPr>
          <p:cNvSpPr>
            <a:spLocks noGrp="1"/>
          </p:cNvSpPr>
          <p:nvPr>
            <p:ph type="subTitle" idx="13" hasCustomPrompt="1"/>
          </p:nvPr>
        </p:nvSpPr>
        <p:spPr>
          <a:xfrm>
            <a:off x="334434" y="718071"/>
            <a:ext cx="8189383" cy="255596"/>
          </a:xfrm>
          <a:prstGeom prst="rect">
            <a:avLst/>
          </a:prstGeom>
        </p:spPr>
        <p:txBody>
          <a:bodyPr anchor="t">
            <a:noAutofit/>
          </a:bodyPr>
          <a:lstStyle>
            <a:lvl1pPr marL="0" indent="0" algn="l">
              <a:buNone/>
              <a:defRPr sz="1600" b="0" i="0">
                <a:solidFill>
                  <a:srgbClr val="2167AE"/>
                </a:solidFill>
                <a:latin typeface="Zurich Sans Light" panose="02000000000000000000" pitchFamily="2" charset="0"/>
                <a:cs typeface="Arial" panose="020B0604020202020204" pitchFamily="34" charset="0"/>
              </a:defRPr>
            </a:lvl1pPr>
            <a:lvl2pPr marL="457127" indent="0" algn="ctr">
              <a:buNone/>
              <a:defRPr>
                <a:solidFill>
                  <a:schemeClr val="tx1">
                    <a:tint val="75000"/>
                  </a:schemeClr>
                </a:solidFill>
              </a:defRPr>
            </a:lvl2pPr>
            <a:lvl3pPr marL="914256" indent="0" algn="ctr">
              <a:buNone/>
              <a:defRPr>
                <a:solidFill>
                  <a:schemeClr val="tx1">
                    <a:tint val="75000"/>
                  </a:schemeClr>
                </a:solidFill>
              </a:defRPr>
            </a:lvl3pPr>
            <a:lvl4pPr marL="1371383" indent="0" algn="ctr">
              <a:buNone/>
              <a:defRPr>
                <a:solidFill>
                  <a:schemeClr val="tx1">
                    <a:tint val="75000"/>
                  </a:schemeClr>
                </a:solidFill>
              </a:defRPr>
            </a:lvl4pPr>
            <a:lvl5pPr marL="1828510" indent="0" algn="ctr">
              <a:buNone/>
              <a:defRPr>
                <a:solidFill>
                  <a:schemeClr val="tx1">
                    <a:tint val="75000"/>
                  </a:schemeClr>
                </a:solidFill>
              </a:defRPr>
            </a:lvl5pPr>
            <a:lvl6pPr marL="2285638" indent="0" algn="ctr">
              <a:buNone/>
              <a:defRPr>
                <a:solidFill>
                  <a:schemeClr val="tx1">
                    <a:tint val="75000"/>
                  </a:schemeClr>
                </a:solidFill>
              </a:defRPr>
            </a:lvl6pPr>
            <a:lvl7pPr marL="2742766" indent="0" algn="ctr">
              <a:buNone/>
              <a:defRPr>
                <a:solidFill>
                  <a:schemeClr val="tx1">
                    <a:tint val="75000"/>
                  </a:schemeClr>
                </a:solidFill>
              </a:defRPr>
            </a:lvl7pPr>
            <a:lvl8pPr marL="3199893" indent="0" algn="ctr">
              <a:buNone/>
              <a:defRPr>
                <a:solidFill>
                  <a:schemeClr val="tx1">
                    <a:tint val="75000"/>
                  </a:schemeClr>
                </a:solidFill>
              </a:defRPr>
            </a:lvl8pPr>
            <a:lvl9pPr marL="3657021" indent="0" algn="ctr">
              <a:buNone/>
              <a:defRPr>
                <a:solidFill>
                  <a:schemeClr val="tx1">
                    <a:tint val="75000"/>
                  </a:schemeClr>
                </a:solidFill>
              </a:defRPr>
            </a:lvl9pPr>
          </a:lstStyle>
          <a:p>
            <a:r>
              <a:rPr lang="en-GB" noProof="0"/>
              <a:t>Subtitle goes here</a:t>
            </a:r>
          </a:p>
        </p:txBody>
      </p:sp>
      <p:sp>
        <p:nvSpPr>
          <p:cNvPr id="5" name="Title 4">
            <a:extLst>
              <a:ext uri="{FF2B5EF4-FFF2-40B4-BE49-F238E27FC236}">
                <a16:creationId xmlns:a16="http://schemas.microsoft.com/office/drawing/2014/main" id="{47736004-DEE1-EA44-A367-43336F87EDA5}"/>
              </a:ext>
            </a:extLst>
          </p:cNvPr>
          <p:cNvSpPr>
            <a:spLocks noGrp="1"/>
          </p:cNvSpPr>
          <p:nvPr>
            <p:ph type="title" hasCustomPrompt="1"/>
          </p:nvPr>
        </p:nvSpPr>
        <p:spPr>
          <a:xfrm>
            <a:off x="334434" y="325967"/>
            <a:ext cx="8189383" cy="392104"/>
          </a:xfrm>
          <a:prstGeom prst="rect">
            <a:avLst/>
          </a:prstGeom>
        </p:spPr>
        <p:txBody>
          <a:bodyPr anchor="t">
            <a:normAutofit/>
          </a:bodyPr>
          <a:lstStyle>
            <a:lvl1pPr>
              <a:defRPr b="0" i="0">
                <a:solidFill>
                  <a:srgbClr val="2167AE"/>
                </a:solidFill>
              </a:defRPr>
            </a:lvl1pPr>
          </a:lstStyle>
          <a:p>
            <a:r>
              <a:rPr lang="en-GB" noProof="0"/>
              <a:t>Add title here</a:t>
            </a:r>
          </a:p>
        </p:txBody>
      </p:sp>
      <p:sp>
        <p:nvSpPr>
          <p:cNvPr id="2" name="Footer Placeholder 1">
            <a:extLst>
              <a:ext uri="{FF2B5EF4-FFF2-40B4-BE49-F238E27FC236}">
                <a16:creationId xmlns:a16="http://schemas.microsoft.com/office/drawing/2014/main" id="{910EC3A2-833D-B34A-8519-327DC26231F0}"/>
              </a:ext>
            </a:extLst>
          </p:cNvPr>
          <p:cNvSpPr>
            <a:spLocks noGrp="1"/>
          </p:cNvSpPr>
          <p:nvPr>
            <p:ph type="ftr" sz="quarter" idx="22"/>
          </p:nvPr>
        </p:nvSpPr>
        <p:spPr/>
        <p:txBody>
          <a:bodyPr/>
          <a:lstStyle>
            <a:lvl1pPr algn="r">
              <a:defRPr b="0" i="0">
                <a:solidFill>
                  <a:srgbClr val="2167AE"/>
                </a:solidFill>
              </a:defRPr>
            </a:lvl1pPr>
          </a:lstStyle>
          <a:p>
            <a:endParaRPr lang="en-GB"/>
          </a:p>
        </p:txBody>
      </p:sp>
      <p:sp>
        <p:nvSpPr>
          <p:cNvPr id="6" name="Slide Number Placeholder 5">
            <a:extLst>
              <a:ext uri="{FF2B5EF4-FFF2-40B4-BE49-F238E27FC236}">
                <a16:creationId xmlns:a16="http://schemas.microsoft.com/office/drawing/2014/main" id="{728A3554-0C44-3B47-BD3B-F8AF6A7272B3}"/>
              </a:ext>
            </a:extLst>
          </p:cNvPr>
          <p:cNvSpPr>
            <a:spLocks noGrp="1"/>
          </p:cNvSpPr>
          <p:nvPr>
            <p:ph type="sldNum" sz="quarter" idx="23"/>
          </p:nvPr>
        </p:nvSpPr>
        <p:spPr/>
        <p:txBody>
          <a:bodyPr/>
          <a:lstStyle>
            <a:lvl1pPr>
              <a:defRPr b="0" i="0">
                <a:solidFill>
                  <a:srgbClr val="2167AE"/>
                </a:solidFill>
              </a:defRPr>
            </a:lvl1pPr>
          </a:lstStyle>
          <a:p>
            <a:fld id="{D691331D-A62F-41F8-BAEC-0A7727B7C525}" type="slidenum">
              <a:rPr lang="en-GB" smtClean="0"/>
              <a:pPr/>
              <a:t>‹nr.›</a:t>
            </a:fld>
            <a:endParaRPr lang="en-GB"/>
          </a:p>
        </p:txBody>
      </p:sp>
      <p:pic>
        <p:nvPicPr>
          <p:cNvPr id="7" name="ZRS Logo Horozontal">
            <a:extLst>
              <a:ext uri="{FF2B5EF4-FFF2-40B4-BE49-F238E27FC236}">
                <a16:creationId xmlns:a16="http://schemas.microsoft.com/office/drawing/2014/main" id="{B06F7093-2F9D-4F03-BE39-7BE7D7573D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47447" y="325479"/>
            <a:ext cx="1501200" cy="498456"/>
          </a:xfrm>
          <a:prstGeom prst="rect">
            <a:avLst/>
          </a:prstGeom>
        </p:spPr>
      </p:pic>
    </p:spTree>
    <p:extLst>
      <p:ext uri="{BB962C8B-B14F-4D97-AF65-F5344CB8AC3E}">
        <p14:creationId xmlns:p14="http://schemas.microsoft.com/office/powerpoint/2010/main" val="11462912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81049D2-44D6-EE81-1B54-920C4EF25646}"/>
              </a:ext>
            </a:extLst>
          </p:cNvPr>
          <p:cNvGraphicFramePr>
            <a:graphicFrameLocks noChangeAspect="1"/>
          </p:cNvGraphicFramePr>
          <p:nvPr userDrawn="1">
            <p:custDataLst>
              <p:tags r:id="rId1"/>
            </p:custDataLst>
            <p:extLst>
              <p:ext uri="{D42A27DB-BD31-4B8C-83A1-F6EECF244321}">
                <p14:modId xmlns:p14="http://schemas.microsoft.com/office/powerpoint/2010/main" val="33984211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81049D2-44D6-EE81-1B54-920C4EF2564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1" name="Title 1">
            <a:extLst>
              <a:ext uri="{FF2B5EF4-FFF2-40B4-BE49-F238E27FC236}">
                <a16:creationId xmlns:a16="http://schemas.microsoft.com/office/drawing/2014/main" id="{29FBF581-E754-574B-A309-6F2FB382E481}"/>
              </a:ext>
            </a:extLst>
          </p:cNvPr>
          <p:cNvSpPr>
            <a:spLocks noGrp="1"/>
          </p:cNvSpPr>
          <p:nvPr>
            <p:ph type="title"/>
          </p:nvPr>
        </p:nvSpPr>
        <p:spPr>
          <a:xfrm>
            <a:off x="252659" y="260268"/>
            <a:ext cx="6976277" cy="553998"/>
          </a:xfrm>
        </p:spPr>
        <p:txBody>
          <a:bodyPr vert="horz" wrap="square">
            <a:spAutoFit/>
          </a:bodyPr>
          <a:lstStyle>
            <a:lvl1pPr>
              <a:defRPr>
                <a:latin typeface="+mn-lt"/>
                <a:cs typeface="Arial" panose="020B0604020202020204" pitchFamily="34" charset="0"/>
              </a:defRPr>
            </a:lvl1pPr>
          </a:lstStyle>
          <a:p>
            <a:r>
              <a:rPr lang="en-US"/>
              <a:t>Click to edit Master title style</a:t>
            </a:r>
          </a:p>
        </p:txBody>
      </p:sp>
      <p:sp>
        <p:nvSpPr>
          <p:cNvPr id="2" name="Slide Number Placeholder 5">
            <a:extLst>
              <a:ext uri="{FF2B5EF4-FFF2-40B4-BE49-F238E27FC236}">
                <a16:creationId xmlns:a16="http://schemas.microsoft.com/office/drawing/2014/main" id="{DDCAB3EC-3D1A-AD8A-DD01-39240AE79F71}"/>
              </a:ext>
            </a:extLst>
          </p:cNvPr>
          <p:cNvSpPr>
            <a:spLocks noGrp="1"/>
          </p:cNvSpPr>
          <p:nvPr>
            <p:ph type="sldNum" sz="quarter" idx="4"/>
          </p:nvPr>
        </p:nvSpPr>
        <p:spPr>
          <a:xfrm>
            <a:off x="11092731" y="6549343"/>
            <a:ext cx="302424"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Tree>
    <p:extLst>
      <p:ext uri="{BB962C8B-B14F-4D97-AF65-F5344CB8AC3E}">
        <p14:creationId xmlns:p14="http://schemas.microsoft.com/office/powerpoint/2010/main" val="115249152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estion left">
    <p:bg>
      <p:bgPr>
        <a:solidFill>
          <a:schemeClr val="accent6"/>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8AF77BE-89C3-4A5B-4CC4-72B7908A17AB}"/>
              </a:ext>
            </a:extLst>
          </p:cNvPr>
          <p:cNvGraphicFramePr>
            <a:graphicFrameLocks noChangeAspect="1"/>
          </p:cNvGraphicFramePr>
          <p:nvPr userDrawn="1">
            <p:custDataLst>
              <p:tags r:id="rId1"/>
            </p:custDataLst>
            <p:extLst>
              <p:ext uri="{D42A27DB-BD31-4B8C-83A1-F6EECF244321}">
                <p14:modId xmlns:p14="http://schemas.microsoft.com/office/powerpoint/2010/main" val="2428929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68AF77BE-89C3-4A5B-4CC4-72B7908A17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0660FE9-7058-445A-A87D-587C9395E97C}"/>
              </a:ext>
            </a:extLst>
          </p:cNvPr>
          <p:cNvSpPr/>
          <p:nvPr userDrawn="1"/>
        </p:nvSpPr>
        <p:spPr>
          <a:xfrm flipH="1">
            <a:off x="3960000" y="0"/>
            <a:ext cx="823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a:endParaRPr lang="de-DE" sz="1000">
              <a:latin typeface="+mn-lt"/>
              <a:cs typeface="Arial" panose="020B0604020202020204" pitchFamily="34" charset="0"/>
            </a:endParaRPr>
          </a:p>
        </p:txBody>
      </p:sp>
      <p:sp>
        <p:nvSpPr>
          <p:cNvPr id="33" name="Content Placeholder 2">
            <a:extLst>
              <a:ext uri="{FF2B5EF4-FFF2-40B4-BE49-F238E27FC236}">
                <a16:creationId xmlns:a16="http://schemas.microsoft.com/office/drawing/2014/main" id="{22F76E53-ED3E-4712-828A-462700FD54D1}"/>
              </a:ext>
            </a:extLst>
          </p:cNvPr>
          <p:cNvSpPr>
            <a:spLocks noGrp="1"/>
          </p:cNvSpPr>
          <p:nvPr>
            <p:ph idx="1" hasCustomPrompt="1"/>
          </p:nvPr>
        </p:nvSpPr>
        <p:spPr>
          <a:xfrm>
            <a:off x="4235523" y="1206178"/>
            <a:ext cx="7621515" cy="5040145"/>
          </a:xfrm>
        </p:spPr>
        <p:txBody>
          <a:bodyPr lIns="72000" tIns="72000" rIns="72000" bIns="72000"/>
          <a:lstStyle>
            <a:lvl1pPr rtl="0">
              <a:defRPr sz="1800">
                <a:latin typeface="+mn-lt"/>
                <a:cs typeface="Arial" panose="020B0604020202020204" pitchFamily="34" charset="0"/>
              </a:defRPr>
            </a:lvl1pPr>
            <a:lvl2pPr rtl="0">
              <a:defRPr sz="1600">
                <a:latin typeface="+mn-lt"/>
                <a:cs typeface="Arial" panose="020B0604020202020204" pitchFamily="34" charset="0"/>
              </a:defRPr>
            </a:lvl2pPr>
            <a:lvl3pPr rtl="0">
              <a:defRPr sz="1400">
                <a:latin typeface="+mn-lt"/>
                <a:cs typeface="Arial" panose="020B0604020202020204" pitchFamily="34" charset="0"/>
              </a:defRPr>
            </a:lvl3pPr>
            <a:lvl4pPr rtl="0">
              <a:defRPr sz="1200">
                <a:latin typeface="+mn-lt"/>
                <a:cs typeface="Arial" panose="020B0604020202020204" pitchFamily="34" charset="0"/>
              </a:defRPr>
            </a:lvl4pPr>
            <a:lvl5pPr rtl="0">
              <a:defRPr sz="1200">
                <a:latin typeface="+mn-lt"/>
                <a:cs typeface="Arial" panose="020B0604020202020204" pitchFamily="34" charset="0"/>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20" name="Title 1">
            <a:extLst>
              <a:ext uri="{FF2B5EF4-FFF2-40B4-BE49-F238E27FC236}">
                <a16:creationId xmlns:a16="http://schemas.microsoft.com/office/drawing/2014/main" id="{6E310D89-47FE-194B-8632-078ED6BD782F}"/>
              </a:ext>
            </a:extLst>
          </p:cNvPr>
          <p:cNvSpPr>
            <a:spLocks noGrp="1"/>
          </p:cNvSpPr>
          <p:nvPr>
            <p:ph type="title" hasCustomPrompt="1"/>
          </p:nvPr>
        </p:nvSpPr>
        <p:spPr>
          <a:xfrm>
            <a:off x="334800" y="260268"/>
            <a:ext cx="7621515" cy="332399"/>
          </a:xfrm>
        </p:spPr>
        <p:txBody>
          <a:bodyPr vert="horz" wrap="square">
            <a:spAutoFit/>
          </a:bodyPr>
          <a:lstStyle>
            <a:lvl1pPr rtl="0">
              <a:defRPr>
                <a:latin typeface="+mj-lt"/>
                <a:cs typeface="Arial" panose="020B0604020202020204" pitchFamily="34" charset="0"/>
              </a:defRPr>
            </a:lvl1pPr>
          </a:lstStyle>
          <a:p>
            <a:r>
              <a:rPr lang="de-DE"/>
              <a:t>Click to edit Master title style</a:t>
            </a:r>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hasCustomPrompt="1"/>
          </p:nvPr>
        </p:nvSpPr>
        <p:spPr>
          <a:xfrm>
            <a:off x="334800" y="610597"/>
            <a:ext cx="7621515" cy="332399"/>
          </a:xfrm>
          <a:prstGeom prst="rect">
            <a:avLst/>
          </a:prstGeom>
        </p:spPr>
        <p:txBody>
          <a:bodyPr anchor="t">
            <a:normAutofit/>
          </a:bodyPr>
          <a:lstStyle>
            <a:lvl1pPr marL="0" indent="0" algn="l" rtl="0">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Click to edit Master subtitle style</a:t>
            </a:r>
            <a:endParaRPr lang="de-DE" noProof="0"/>
          </a:p>
        </p:txBody>
      </p:sp>
      <p:sp>
        <p:nvSpPr>
          <p:cNvPr id="34" name="Slide Number Placeholder 5">
            <a:extLst>
              <a:ext uri="{FF2B5EF4-FFF2-40B4-BE49-F238E27FC236}">
                <a16:creationId xmlns:a16="http://schemas.microsoft.com/office/drawing/2014/main" id="{3E83A98D-348B-40D1-B8DE-954D062DE5ED}"/>
              </a:ext>
            </a:extLst>
          </p:cNvPr>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31715"/>
            <a:ext cx="8112000" cy="181960"/>
          </a:xfrm>
          <a:prstGeom prst="rect">
            <a:avLst/>
          </a:prstGeom>
        </p:spPr>
        <p:txBody>
          <a:bodyPr lIns="0" tIns="0" rIns="0" bIns="0"/>
          <a:lstStyle>
            <a:lvl1pPr algn="r" rtl="0">
              <a:defRPr sz="900">
                <a:solidFill>
                  <a:schemeClr val="accent1"/>
                </a:solidFill>
                <a:latin typeface="+mn-lt"/>
                <a:cs typeface="Arial" panose="020B0604020202020204" pitchFamily="34" charset="0"/>
              </a:defRPr>
            </a:lvl1pPr>
          </a:lstStyle>
          <a:p>
            <a:endParaRPr lang="de-DE"/>
          </a:p>
        </p:txBody>
      </p:sp>
      <p:sp>
        <p:nvSpPr>
          <p:cNvPr id="48" name="TextBox 47">
            <a:extLst>
              <a:ext uri="{FF2B5EF4-FFF2-40B4-BE49-F238E27FC236}">
                <a16:creationId xmlns:a16="http://schemas.microsoft.com/office/drawing/2014/main" id="{C3A15D67-CC48-49A2-A452-9F407AE67A61}"/>
              </a:ext>
            </a:extLst>
          </p:cNvPr>
          <p:cNvSpPr txBox="1"/>
          <p:nvPr userDrawn="1"/>
        </p:nvSpPr>
        <p:spPr>
          <a:xfrm>
            <a:off x="11158230" y="6531715"/>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rtl="0"/>
            <a:r>
              <a:rPr lang="de-DE" sz="900">
                <a:latin typeface="+mn-lt"/>
                <a:cs typeface="Arial" panose="020B0604020202020204" pitchFamily="34" charset="0"/>
              </a:rPr>
              <a:t>© Zurich</a:t>
            </a:r>
          </a:p>
        </p:txBody>
      </p:sp>
      <p:sp>
        <p:nvSpPr>
          <p:cNvPr id="49" name="Content Placeholder 3">
            <a:extLst>
              <a:ext uri="{FF2B5EF4-FFF2-40B4-BE49-F238E27FC236}">
                <a16:creationId xmlns:a16="http://schemas.microsoft.com/office/drawing/2014/main" id="{9F3E414F-C821-4DD9-91FC-CF7C8D1A8CF4}"/>
              </a:ext>
            </a:extLst>
          </p:cNvPr>
          <p:cNvSpPr>
            <a:spLocks noGrp="1" noChangeAspect="1"/>
          </p:cNvSpPr>
          <p:nvPr>
            <p:ph sz="quarter" idx="31" hasCustomPrompt="1"/>
          </p:nvPr>
        </p:nvSpPr>
        <p:spPr>
          <a:xfrm>
            <a:off x="536915" y="1206178"/>
            <a:ext cx="2880000" cy="2880000"/>
          </a:xfrm>
          <a:prstGeom prst="ellipse">
            <a:avLst/>
          </a:prstGeom>
          <a:solidFill>
            <a:schemeClr val="accent5"/>
          </a:solidFill>
        </p:spPr>
        <p:txBody>
          <a:bodyPr tIns="180000" anchor="t" anchorCtr="0"/>
          <a:lstStyle>
            <a:lvl1pPr marL="0" indent="0" algn="ctr" rtl="0">
              <a:buNone/>
              <a:defRPr sz="2000"/>
            </a:lvl1pPr>
            <a:lvl2pPr marL="239712" indent="0" algn="ctr" rtl="0">
              <a:buNone/>
              <a:defRPr/>
            </a:lvl2pPr>
            <a:lvl3pPr marL="538163" indent="0" algn="ctr" rtl="0">
              <a:buNone/>
              <a:defRPr/>
            </a:lvl3pPr>
            <a:lvl4pPr marL="719138" indent="0" algn="ctr" rtl="0">
              <a:buNone/>
              <a:defRPr/>
            </a:lvl4pPr>
            <a:lvl5pPr marL="985837" indent="0" algn="ctr" rtl="0">
              <a:buNone/>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pic>
        <p:nvPicPr>
          <p:cNvPr id="22" name="Graphic 21">
            <a:extLst>
              <a:ext uri="{FF2B5EF4-FFF2-40B4-BE49-F238E27FC236}">
                <a16:creationId xmlns:a16="http://schemas.microsoft.com/office/drawing/2014/main" id="{DBAB1416-1A98-41FB-8B79-9355E463BDC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353690" y="306000"/>
            <a:ext cx="1500250" cy="498141"/>
          </a:xfrm>
          <a:prstGeom prst="rect">
            <a:avLst/>
          </a:prstGeom>
        </p:spPr>
      </p:pic>
    </p:spTree>
    <p:extLst>
      <p:ext uri="{BB962C8B-B14F-4D97-AF65-F5344CB8AC3E}">
        <p14:creationId xmlns:p14="http://schemas.microsoft.com/office/powerpoint/2010/main" val="18716577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COVER">
    <p:bg>
      <p:bgPr>
        <a:solidFill>
          <a:schemeClr val="accent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2C794D6-BF66-8BB7-8061-42C2614F735C}"/>
              </a:ext>
            </a:extLst>
          </p:cNvPr>
          <p:cNvGraphicFramePr>
            <a:graphicFrameLocks noChangeAspect="1"/>
          </p:cNvGraphicFramePr>
          <p:nvPr userDrawn="1">
            <p:custDataLst>
              <p:tags r:id="rId1"/>
            </p:custDataLst>
            <p:extLst>
              <p:ext uri="{D42A27DB-BD31-4B8C-83A1-F6EECF244321}">
                <p14:modId xmlns:p14="http://schemas.microsoft.com/office/powerpoint/2010/main" val="2722305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F2C794D6-BF66-8BB7-8061-42C2614F735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3" name="ZRS Logo Horozontal">
            <a:extLst>
              <a:ext uri="{FF2B5EF4-FFF2-40B4-BE49-F238E27FC236}">
                <a16:creationId xmlns:a16="http://schemas.microsoft.com/office/drawing/2014/main" id="{0C3B1431-2B20-9F2A-0D61-92ABCBA647F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09594" y="6034904"/>
            <a:ext cx="1501200" cy="498456"/>
          </a:xfrm>
          <a:prstGeom prst="rect">
            <a:avLst/>
          </a:prstGeom>
        </p:spPr>
      </p:pic>
      <p:sp>
        <p:nvSpPr>
          <p:cNvPr id="7" name="Title 1">
            <a:extLst>
              <a:ext uri="{FF2B5EF4-FFF2-40B4-BE49-F238E27FC236}">
                <a16:creationId xmlns:a16="http://schemas.microsoft.com/office/drawing/2014/main" id="{CDE34324-70AA-4FD6-D646-C8822D819C11}"/>
              </a:ext>
            </a:extLst>
          </p:cNvPr>
          <p:cNvSpPr>
            <a:spLocks noGrp="1"/>
          </p:cNvSpPr>
          <p:nvPr>
            <p:ph type="ctrTitle"/>
          </p:nvPr>
        </p:nvSpPr>
        <p:spPr>
          <a:xfrm>
            <a:off x="265426" y="1314963"/>
            <a:ext cx="6202281" cy="2242079"/>
          </a:xfrm>
        </p:spPr>
        <p:txBody>
          <a:bodyPr vert="horz" anchor="b">
            <a:normAutofit/>
          </a:bodyPr>
          <a:lstStyle>
            <a:lvl1pPr algn="l">
              <a:defRPr sz="6600">
                <a:solidFill>
                  <a:schemeClr val="accent5"/>
                </a:solidFill>
                <a:latin typeface="+mn-lt"/>
                <a:cs typeface="Arial" panose="020B0604020202020204" pitchFamily="34" charset="0"/>
              </a:defRPr>
            </a:lvl1pPr>
          </a:lstStyle>
          <a:p>
            <a:r>
              <a:rPr lang="en-US"/>
              <a:t>Click to edit Master title style</a:t>
            </a:r>
          </a:p>
        </p:txBody>
      </p:sp>
      <p:sp>
        <p:nvSpPr>
          <p:cNvPr id="8" name="Subtitle 2">
            <a:extLst>
              <a:ext uri="{FF2B5EF4-FFF2-40B4-BE49-F238E27FC236}">
                <a16:creationId xmlns:a16="http://schemas.microsoft.com/office/drawing/2014/main" id="{A801E996-C03D-8E71-B967-F218B21FE8E1}"/>
              </a:ext>
            </a:extLst>
          </p:cNvPr>
          <p:cNvSpPr>
            <a:spLocks noGrp="1"/>
          </p:cNvSpPr>
          <p:nvPr>
            <p:ph type="subTitle" idx="1"/>
          </p:nvPr>
        </p:nvSpPr>
        <p:spPr>
          <a:xfrm>
            <a:off x="265426" y="3649117"/>
            <a:ext cx="5761567" cy="1283999"/>
          </a:xfrm>
          <a:prstGeom prst="rect">
            <a:avLst/>
          </a:prstGeom>
        </p:spPr>
        <p:txBody>
          <a:bodyPr>
            <a:normAutofit/>
          </a:bodyPr>
          <a:lstStyle>
            <a:lvl1pPr marL="0" indent="0" algn="l">
              <a:buNone/>
              <a:defRPr sz="2000">
                <a:solidFill>
                  <a:schemeClr val="accent5"/>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70783966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_Dark">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65426" y="1103215"/>
            <a:ext cx="6722148" cy="2242079"/>
          </a:xfrm>
        </p:spPr>
        <p:txBody>
          <a:bodyPr anchor="b">
            <a:normAutofit/>
          </a:bodyPr>
          <a:lstStyle>
            <a:lvl1pPr algn="l">
              <a:defRPr sz="3600">
                <a:solidFill>
                  <a:schemeClr val="accent6"/>
                </a:solidFill>
                <a:latin typeface="+mj-lt"/>
                <a:cs typeface="Arial" panose="020B0604020202020204" pitchFamily="34" charset="0"/>
              </a:defRPr>
            </a:lvl1pPr>
          </a:lstStyle>
          <a:p>
            <a:r>
              <a:rPr lang="nl-NL"/>
              <a:t>Klik om stijl te bewerken</a:t>
            </a:r>
            <a:endParaRPr lang="en-US"/>
          </a:p>
        </p:txBody>
      </p:sp>
      <p:sp>
        <p:nvSpPr>
          <p:cNvPr id="3" name="Subtitle 2"/>
          <p:cNvSpPr>
            <a:spLocks noGrp="1"/>
          </p:cNvSpPr>
          <p:nvPr>
            <p:ph type="subTitle" idx="1"/>
          </p:nvPr>
        </p:nvSpPr>
        <p:spPr>
          <a:xfrm>
            <a:off x="265426" y="3437369"/>
            <a:ext cx="5761567" cy="1283999"/>
          </a:xfrm>
        </p:spPr>
        <p:txBody>
          <a:bodyPr>
            <a:normAutofit/>
          </a:bodyPr>
          <a:lstStyle>
            <a:lvl1pPr marL="0" indent="0" algn="l">
              <a:buNone/>
              <a:defRPr sz="2000">
                <a:solidFill>
                  <a:schemeClr val="accent6"/>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10" name="Oval 9">
            <a:extLst>
              <a:ext uri="{FF2B5EF4-FFF2-40B4-BE49-F238E27FC236}">
                <a16:creationId xmlns:a16="http://schemas.microsoft.com/office/drawing/2014/main" id="{DCD6D046-9E8A-417B-B758-A6E20A0FE31C}"/>
              </a:ext>
            </a:extLst>
          </p:cNvPr>
          <p:cNvSpPr/>
          <p:nvPr userDrawn="1"/>
        </p:nvSpPr>
        <p:spPr bwMode="auto">
          <a:xfrm>
            <a:off x="6787133" y="5399389"/>
            <a:ext cx="547941" cy="547483"/>
          </a:xfrm>
          <a:prstGeom prst="ellipse">
            <a:avLst/>
          </a:pr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mn-lt"/>
              <a:cs typeface="Arial" panose="020B0604020202020204" pitchFamily="34" charset="0"/>
            </a:endParaRPr>
          </a:p>
        </p:txBody>
      </p:sp>
      <p:sp>
        <p:nvSpPr>
          <p:cNvPr id="11" name="Freeform 8">
            <a:extLst>
              <a:ext uri="{FF2B5EF4-FFF2-40B4-BE49-F238E27FC236}">
                <a16:creationId xmlns:a16="http://schemas.microsoft.com/office/drawing/2014/main" id="{977530C5-2DE6-44CA-8A8F-019E4D7C204F}"/>
              </a:ext>
            </a:extLst>
          </p:cNvPr>
          <p:cNvSpPr/>
          <p:nvPr userDrawn="1"/>
        </p:nvSpPr>
        <p:spPr bwMode="auto">
          <a:xfrm>
            <a:off x="5929176" y="5949896"/>
            <a:ext cx="1802643" cy="908104"/>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mn-lt"/>
              <a:cs typeface="Arial" panose="020B0604020202020204" pitchFamily="34" charset="0"/>
            </a:endParaRPr>
          </a:p>
        </p:txBody>
      </p:sp>
      <p:sp>
        <p:nvSpPr>
          <p:cNvPr id="12" name="Freeform 10">
            <a:extLst>
              <a:ext uri="{FF2B5EF4-FFF2-40B4-BE49-F238E27FC236}">
                <a16:creationId xmlns:a16="http://schemas.microsoft.com/office/drawing/2014/main" id="{CBDF7E11-8F3D-4306-A7C9-3CBBFA98620F}"/>
              </a:ext>
            </a:extLst>
          </p:cNvPr>
          <p:cNvSpPr/>
          <p:nvPr userDrawn="1"/>
        </p:nvSpPr>
        <p:spPr bwMode="auto">
          <a:xfrm rot="7933215">
            <a:off x="6018217" y="4998607"/>
            <a:ext cx="1201179" cy="604951"/>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mn-lt"/>
              <a:cs typeface="Arial" panose="020B0604020202020204" pitchFamily="34" charset="0"/>
            </a:endParaRPr>
          </a:p>
        </p:txBody>
      </p:sp>
      <p:sp>
        <p:nvSpPr>
          <p:cNvPr id="22" name="Picture Placeholder 2">
            <a:extLst>
              <a:ext uri="{FF2B5EF4-FFF2-40B4-BE49-F238E27FC236}">
                <a16:creationId xmlns:a16="http://schemas.microsoft.com/office/drawing/2014/main" id="{8C38856E-DF0D-49BD-A0AF-37F515F1D5FF}"/>
              </a:ext>
            </a:extLst>
          </p:cNvPr>
          <p:cNvSpPr>
            <a:spLocks noGrp="1"/>
          </p:cNvSpPr>
          <p:nvPr>
            <p:ph type="pic" sz="quarter" idx="13"/>
          </p:nvPr>
        </p:nvSpPr>
        <p:spPr>
          <a:xfrm>
            <a:off x="7145996" y="1810817"/>
            <a:ext cx="5040000" cy="5040000"/>
          </a:xfrm>
          <a:prstGeom prst="ellipse">
            <a:avLst/>
          </a:prstGeom>
        </p:spPr>
        <p:txBody>
          <a:bodyPr/>
          <a:lstStyle>
            <a:lvl1pPr algn="ctr">
              <a:buNone/>
              <a:defRPr b="0" i="0">
                <a:solidFill>
                  <a:schemeClr val="accent6"/>
                </a:solidFill>
                <a:latin typeface="+mn-lt"/>
                <a:cs typeface="Arial" panose="020B0604020202020204" pitchFamily="34" charset="0"/>
              </a:defRPr>
            </a:lvl1pPr>
          </a:lstStyle>
          <a:p>
            <a:r>
              <a:rPr lang="nl-NL" noProof="0"/>
              <a:t>Klik op het pictogram als u een afbeelding wilt toevoegen</a:t>
            </a:r>
            <a:endParaRPr lang="en-US" noProof="0"/>
          </a:p>
        </p:txBody>
      </p:sp>
      <p:sp>
        <p:nvSpPr>
          <p:cNvPr id="20" name="Date Name Organization">
            <a:extLst>
              <a:ext uri="{FF2B5EF4-FFF2-40B4-BE49-F238E27FC236}">
                <a16:creationId xmlns:a16="http://schemas.microsoft.com/office/drawing/2014/main" id="{B679C166-F3F4-4469-BDA4-0521529C846E}"/>
              </a:ext>
            </a:extLst>
          </p:cNvPr>
          <p:cNvSpPr>
            <a:spLocks noGrp="1"/>
          </p:cNvSpPr>
          <p:nvPr>
            <p:ph type="body" sz="quarter" idx="14"/>
          </p:nvPr>
        </p:nvSpPr>
        <p:spPr>
          <a:xfrm>
            <a:off x="265425" y="4913252"/>
            <a:ext cx="5251984" cy="1056000"/>
          </a:xfrm>
        </p:spPr>
        <p:txBody>
          <a:bodyPr anchor="b"/>
          <a:lstStyle>
            <a:lvl1pPr marL="0" indent="0">
              <a:spcAft>
                <a:spcPts val="133"/>
              </a:spcAft>
              <a:buNone/>
              <a:defRPr sz="1200">
                <a:solidFill>
                  <a:schemeClr val="accent6"/>
                </a:solidFill>
                <a:latin typeface="+mn-lt"/>
                <a:cs typeface="Arial" panose="020B0604020202020204" pitchFamily="34" charset="0"/>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nl-NL"/>
              <a:t>Klikken om de tekststijl van het model te bewerken</a:t>
            </a:r>
          </a:p>
        </p:txBody>
      </p:sp>
      <p:sp>
        <p:nvSpPr>
          <p:cNvPr id="23" name="TextBox 22">
            <a:extLst>
              <a:ext uri="{FF2B5EF4-FFF2-40B4-BE49-F238E27FC236}">
                <a16:creationId xmlns:a16="http://schemas.microsoft.com/office/drawing/2014/main" id="{F693D7AA-4B02-44F3-849A-D51D7F7A9CD0}"/>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mn-lt"/>
                <a:cs typeface="Arial" panose="020B0604020202020204" pitchFamily="34" charset="0"/>
              </a:rPr>
              <a:t>© Zurich</a:t>
            </a:r>
          </a:p>
        </p:txBody>
      </p:sp>
      <p:pic>
        <p:nvPicPr>
          <p:cNvPr id="13" name="Picture 12" descr="Logo&#10;&#10;Description automatically generated">
            <a:extLst>
              <a:ext uri="{FF2B5EF4-FFF2-40B4-BE49-F238E27FC236}">
                <a16:creationId xmlns:a16="http://schemas.microsoft.com/office/drawing/2014/main" id="{EE62961D-FD32-4853-B26D-281814937F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607" y="157397"/>
            <a:ext cx="1779965" cy="684000"/>
          </a:xfrm>
          <a:prstGeom prst="rect">
            <a:avLst/>
          </a:prstGeom>
        </p:spPr>
      </p:pic>
    </p:spTree>
    <p:extLst>
      <p:ext uri="{BB962C8B-B14F-4D97-AF65-F5344CB8AC3E}">
        <p14:creationId xmlns:p14="http://schemas.microsoft.com/office/powerpoint/2010/main" val="282961463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_Light">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59451" y="1118717"/>
            <a:ext cx="6722148" cy="2242079"/>
          </a:xfrm>
        </p:spPr>
        <p:txBody>
          <a:bodyPr anchor="b">
            <a:normAutofit/>
          </a:bodyPr>
          <a:lstStyle>
            <a:lvl1pPr algn="l">
              <a:defRPr sz="3600">
                <a:solidFill>
                  <a:schemeClr val="accent1"/>
                </a:solidFill>
                <a:latin typeface="+mj-lt"/>
                <a:cs typeface="Arial" panose="020B0604020202020204" pitchFamily="34" charset="0"/>
              </a:defRPr>
            </a:lvl1pPr>
          </a:lstStyle>
          <a:p>
            <a:r>
              <a:rPr lang="nl-NL"/>
              <a:t>Klik om stijl te bewerken</a:t>
            </a:r>
            <a:endParaRPr lang="en-US"/>
          </a:p>
        </p:txBody>
      </p:sp>
      <p:sp>
        <p:nvSpPr>
          <p:cNvPr id="3" name="Subtitle 2"/>
          <p:cNvSpPr>
            <a:spLocks noGrp="1"/>
          </p:cNvSpPr>
          <p:nvPr>
            <p:ph type="subTitle" idx="1"/>
          </p:nvPr>
        </p:nvSpPr>
        <p:spPr>
          <a:xfrm>
            <a:off x="259451" y="3452871"/>
            <a:ext cx="5761567" cy="1283999"/>
          </a:xfrm>
        </p:spPr>
        <p:txBody>
          <a:bodyPr>
            <a:normAutofit/>
          </a:bodyPr>
          <a:lstStyle>
            <a:lvl1pPr marL="0" indent="0" algn="l">
              <a:buNone/>
              <a:defRPr sz="2000">
                <a:solidFill>
                  <a:schemeClr val="accent1"/>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10" name="Oval 9">
            <a:extLst>
              <a:ext uri="{FF2B5EF4-FFF2-40B4-BE49-F238E27FC236}">
                <a16:creationId xmlns:a16="http://schemas.microsoft.com/office/drawing/2014/main" id="{DCD6D046-9E8A-417B-B758-A6E20A0FE31C}"/>
              </a:ext>
            </a:extLst>
          </p:cNvPr>
          <p:cNvSpPr/>
          <p:nvPr userDrawn="1"/>
        </p:nvSpPr>
        <p:spPr bwMode="auto">
          <a:xfrm>
            <a:off x="6803245" y="5407445"/>
            <a:ext cx="547941" cy="547483"/>
          </a:xfrm>
          <a:prstGeom prst="ellipse">
            <a:avLst/>
          </a:pr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1"/>
              </a:solidFill>
              <a:effectLst/>
              <a:latin typeface="+mn-lt"/>
              <a:cs typeface="Arial" panose="020B0604020202020204" pitchFamily="34" charset="0"/>
            </a:endParaRPr>
          </a:p>
        </p:txBody>
      </p:sp>
      <p:sp>
        <p:nvSpPr>
          <p:cNvPr id="11" name="Freeform 8">
            <a:extLst>
              <a:ext uri="{FF2B5EF4-FFF2-40B4-BE49-F238E27FC236}">
                <a16:creationId xmlns:a16="http://schemas.microsoft.com/office/drawing/2014/main" id="{977530C5-2DE6-44CA-8A8F-019E4D7C204F}"/>
              </a:ext>
            </a:extLst>
          </p:cNvPr>
          <p:cNvSpPr/>
          <p:nvPr userDrawn="1"/>
        </p:nvSpPr>
        <p:spPr bwMode="auto">
          <a:xfrm>
            <a:off x="5945288" y="5953924"/>
            <a:ext cx="1802643" cy="908104"/>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1"/>
              </a:solidFill>
              <a:effectLst/>
              <a:latin typeface="+mn-lt"/>
              <a:cs typeface="Arial" panose="020B0604020202020204" pitchFamily="34" charset="0"/>
            </a:endParaRPr>
          </a:p>
        </p:txBody>
      </p:sp>
      <p:sp>
        <p:nvSpPr>
          <p:cNvPr id="12" name="Freeform 10">
            <a:extLst>
              <a:ext uri="{FF2B5EF4-FFF2-40B4-BE49-F238E27FC236}">
                <a16:creationId xmlns:a16="http://schemas.microsoft.com/office/drawing/2014/main" id="{CBDF7E11-8F3D-4306-A7C9-3CBBFA98620F}"/>
              </a:ext>
            </a:extLst>
          </p:cNvPr>
          <p:cNvSpPr/>
          <p:nvPr userDrawn="1"/>
        </p:nvSpPr>
        <p:spPr bwMode="auto">
          <a:xfrm rot="7933215">
            <a:off x="6034329" y="5006663"/>
            <a:ext cx="1201179" cy="604951"/>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1"/>
              </a:solidFill>
              <a:effectLst/>
              <a:latin typeface="+mn-lt"/>
              <a:cs typeface="Arial" panose="020B0604020202020204" pitchFamily="34" charset="0"/>
            </a:endParaRPr>
          </a:p>
        </p:txBody>
      </p:sp>
      <p:sp>
        <p:nvSpPr>
          <p:cNvPr id="22" name="Picture Placeholder 2">
            <a:extLst>
              <a:ext uri="{FF2B5EF4-FFF2-40B4-BE49-F238E27FC236}">
                <a16:creationId xmlns:a16="http://schemas.microsoft.com/office/drawing/2014/main" id="{8C38856E-DF0D-49BD-A0AF-37F515F1D5FF}"/>
              </a:ext>
            </a:extLst>
          </p:cNvPr>
          <p:cNvSpPr>
            <a:spLocks noGrp="1"/>
          </p:cNvSpPr>
          <p:nvPr>
            <p:ph type="pic" sz="quarter" idx="13"/>
          </p:nvPr>
        </p:nvSpPr>
        <p:spPr>
          <a:xfrm>
            <a:off x="7154052" y="1818873"/>
            <a:ext cx="5040000" cy="5040000"/>
          </a:xfrm>
          <a:prstGeom prst="ellipse">
            <a:avLst/>
          </a:prstGeom>
        </p:spPr>
        <p:txBody>
          <a:bodyPr/>
          <a:lstStyle>
            <a:lvl1pPr algn="ctr">
              <a:buNone/>
              <a:defRPr b="0" i="0">
                <a:solidFill>
                  <a:schemeClr val="accent1"/>
                </a:solidFill>
                <a:latin typeface="+mn-lt"/>
                <a:cs typeface="Arial" panose="020B0604020202020204" pitchFamily="34" charset="0"/>
              </a:defRPr>
            </a:lvl1pPr>
          </a:lstStyle>
          <a:p>
            <a:r>
              <a:rPr lang="nl-NL" noProof="0"/>
              <a:t>Klik op het pictogram als u een afbeelding wilt toevoegen</a:t>
            </a:r>
            <a:endParaRPr lang="en-US" noProof="0"/>
          </a:p>
        </p:txBody>
      </p:sp>
      <p:sp>
        <p:nvSpPr>
          <p:cNvPr id="20" name="Date Name Organization">
            <a:extLst>
              <a:ext uri="{FF2B5EF4-FFF2-40B4-BE49-F238E27FC236}">
                <a16:creationId xmlns:a16="http://schemas.microsoft.com/office/drawing/2014/main" id="{B679C166-F3F4-4469-BDA4-0521529C846E}"/>
              </a:ext>
            </a:extLst>
          </p:cNvPr>
          <p:cNvSpPr>
            <a:spLocks noGrp="1"/>
          </p:cNvSpPr>
          <p:nvPr>
            <p:ph type="body" sz="quarter" idx="14"/>
          </p:nvPr>
        </p:nvSpPr>
        <p:spPr>
          <a:xfrm>
            <a:off x="250825" y="4923646"/>
            <a:ext cx="5251984" cy="1056000"/>
          </a:xfrm>
        </p:spPr>
        <p:txBody>
          <a:bodyPr anchor="b"/>
          <a:lstStyle>
            <a:lvl1pPr marL="0" indent="0">
              <a:spcAft>
                <a:spcPts val="133"/>
              </a:spcAft>
              <a:buNone/>
              <a:defRPr sz="1200">
                <a:solidFill>
                  <a:schemeClr val="accent1"/>
                </a:solidFill>
                <a:latin typeface="+mn-lt"/>
                <a:cs typeface="Arial" panose="020B0604020202020204" pitchFamily="34" charset="0"/>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nl-NL"/>
              <a:t>Klikken om de tekststijl van het model te bewerken</a:t>
            </a:r>
          </a:p>
        </p:txBody>
      </p:sp>
      <p:grpSp>
        <p:nvGrpSpPr>
          <p:cNvPr id="21" name="Group 4">
            <a:extLst>
              <a:ext uri="{FF2B5EF4-FFF2-40B4-BE49-F238E27FC236}">
                <a16:creationId xmlns:a16="http://schemas.microsoft.com/office/drawing/2014/main" id="{E7C094BA-E50D-4DFD-BE64-FCB71B6B5D57}"/>
              </a:ext>
            </a:extLst>
          </p:cNvPr>
          <p:cNvGrpSpPr>
            <a:grpSpLocks noChangeAspect="1"/>
          </p:cNvGrpSpPr>
          <p:nvPr userDrawn="1"/>
        </p:nvGrpSpPr>
        <p:grpSpPr bwMode="auto">
          <a:xfrm>
            <a:off x="91989" y="158751"/>
            <a:ext cx="1773767" cy="683683"/>
            <a:chOff x="79" y="75"/>
            <a:chExt cx="838" cy="323"/>
          </a:xfrm>
          <a:solidFill>
            <a:schemeClr val="accent1"/>
          </a:solidFill>
        </p:grpSpPr>
        <p:sp>
          <p:nvSpPr>
            <p:cNvPr id="24" name="AutoShape 3">
              <a:extLst>
                <a:ext uri="{FF2B5EF4-FFF2-40B4-BE49-F238E27FC236}">
                  <a16:creationId xmlns:a16="http://schemas.microsoft.com/office/drawing/2014/main" id="{2922DC61-2E78-484E-B2FE-2A325A97027E}"/>
                </a:ext>
              </a:extLst>
            </p:cNvPr>
            <p:cNvSpPr>
              <a:spLocks noChangeAspect="1" noChangeArrowheads="1" noTextEdit="1"/>
            </p:cNvSpPr>
            <p:nvPr userDrawn="1"/>
          </p:nvSpPr>
          <p:spPr bwMode="auto">
            <a:xfrm>
              <a:off x="79" y="75"/>
              <a:ext cx="838" cy="32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5" name="Freeform 5">
              <a:extLst>
                <a:ext uri="{FF2B5EF4-FFF2-40B4-BE49-F238E27FC236}">
                  <a16:creationId xmlns:a16="http://schemas.microsoft.com/office/drawing/2014/main" id="{C69F7F3D-E7A2-4FF7-A9CA-8C2F44CF188F}"/>
                </a:ext>
              </a:extLst>
            </p:cNvPr>
            <p:cNvSpPr>
              <a:spLocks/>
            </p:cNvSpPr>
            <p:nvPr userDrawn="1"/>
          </p:nvSpPr>
          <p:spPr bwMode="auto">
            <a:xfrm>
              <a:off x="159" y="155"/>
              <a:ext cx="163" cy="164"/>
            </a:xfrm>
            <a:custGeom>
              <a:avLst/>
              <a:gdLst>
                <a:gd name="T0" fmla="*/ 920 w 1841"/>
                <a:gd name="T1" fmla="*/ 0 h 1842"/>
                <a:gd name="T2" fmla="*/ 920 w 1841"/>
                <a:gd name="T3" fmla="*/ 0 h 1842"/>
                <a:gd name="T4" fmla="*/ 0 w 1841"/>
                <a:gd name="T5" fmla="*/ 921 h 1842"/>
                <a:gd name="T6" fmla="*/ 0 w 1841"/>
                <a:gd name="T7" fmla="*/ 921 h 1842"/>
                <a:gd name="T8" fmla="*/ 188 w 1841"/>
                <a:gd name="T9" fmla="*/ 1479 h 1842"/>
                <a:gd name="T10" fmla="*/ 954 w 1841"/>
                <a:gd name="T11" fmla="*/ 473 h 1842"/>
                <a:gd name="T12" fmla="*/ 871 w 1841"/>
                <a:gd name="T13" fmla="*/ 474 h 1842"/>
                <a:gd name="T14" fmla="*/ 790 w 1841"/>
                <a:gd name="T15" fmla="*/ 473 h 1842"/>
                <a:gd name="T16" fmla="*/ 561 w 1841"/>
                <a:gd name="T17" fmla="*/ 491 h 1842"/>
                <a:gd name="T18" fmla="*/ 467 w 1841"/>
                <a:gd name="T19" fmla="*/ 530 h 1842"/>
                <a:gd name="T20" fmla="*/ 374 w 1841"/>
                <a:gd name="T21" fmla="*/ 641 h 1842"/>
                <a:gd name="T22" fmla="*/ 361 w 1841"/>
                <a:gd name="T23" fmla="*/ 665 h 1842"/>
                <a:gd name="T24" fmla="*/ 316 w 1841"/>
                <a:gd name="T25" fmla="*/ 655 h 1842"/>
                <a:gd name="T26" fmla="*/ 392 w 1841"/>
                <a:gd name="T27" fmla="*/ 366 h 1842"/>
                <a:gd name="T28" fmla="*/ 1350 w 1841"/>
                <a:gd name="T29" fmla="*/ 366 h 1842"/>
                <a:gd name="T30" fmla="*/ 588 w 1841"/>
                <a:gd name="T31" fmla="*/ 1385 h 1842"/>
                <a:gd name="T32" fmla="*/ 698 w 1841"/>
                <a:gd name="T33" fmla="*/ 1379 h 1842"/>
                <a:gd name="T34" fmla="*/ 839 w 1841"/>
                <a:gd name="T35" fmla="*/ 1385 h 1842"/>
                <a:gd name="T36" fmla="*/ 974 w 1841"/>
                <a:gd name="T37" fmla="*/ 1393 h 1842"/>
                <a:gd name="T38" fmla="*/ 1095 w 1841"/>
                <a:gd name="T39" fmla="*/ 1397 h 1842"/>
                <a:gd name="T40" fmla="*/ 1255 w 1841"/>
                <a:gd name="T41" fmla="*/ 1378 h 1842"/>
                <a:gd name="T42" fmla="*/ 1354 w 1841"/>
                <a:gd name="T43" fmla="*/ 1331 h 1842"/>
                <a:gd name="T44" fmla="*/ 1491 w 1841"/>
                <a:gd name="T45" fmla="*/ 1175 h 1842"/>
                <a:gd name="T46" fmla="*/ 1504 w 1841"/>
                <a:gd name="T47" fmla="*/ 1147 h 1842"/>
                <a:gd name="T48" fmla="*/ 1545 w 1841"/>
                <a:gd name="T49" fmla="*/ 1158 h 1842"/>
                <a:gd name="T50" fmla="*/ 1505 w 1841"/>
                <a:gd name="T51" fmla="*/ 1273 h 1842"/>
                <a:gd name="T52" fmla="*/ 1354 w 1841"/>
                <a:gd name="T53" fmla="*/ 1472 h 1842"/>
                <a:gd name="T54" fmla="*/ 1131 w 1841"/>
                <a:gd name="T55" fmla="*/ 1546 h 1842"/>
                <a:gd name="T56" fmla="*/ 1118 w 1841"/>
                <a:gd name="T57" fmla="*/ 1546 h 1842"/>
                <a:gd name="T58" fmla="*/ 854 w 1841"/>
                <a:gd name="T59" fmla="*/ 1518 h 1842"/>
                <a:gd name="T60" fmla="*/ 544 w 1841"/>
                <a:gd name="T61" fmla="*/ 1486 h 1842"/>
                <a:gd name="T62" fmla="*/ 394 w 1841"/>
                <a:gd name="T63" fmla="*/ 1498 h 1842"/>
                <a:gd name="T64" fmla="*/ 242 w 1841"/>
                <a:gd name="T65" fmla="*/ 1543 h 1842"/>
                <a:gd name="T66" fmla="*/ 920 w 1841"/>
                <a:gd name="T67" fmla="*/ 1842 h 1842"/>
                <a:gd name="T68" fmla="*/ 1841 w 1841"/>
                <a:gd name="T69" fmla="*/ 921 h 1842"/>
                <a:gd name="T70" fmla="*/ 920 w 1841"/>
                <a:gd name="T71" fmla="*/ 0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41" h="1842">
                  <a:moveTo>
                    <a:pt x="920" y="0"/>
                  </a:moveTo>
                  <a:lnTo>
                    <a:pt x="920" y="0"/>
                  </a:lnTo>
                  <a:cubicBezTo>
                    <a:pt x="412" y="0"/>
                    <a:pt x="0" y="412"/>
                    <a:pt x="0" y="921"/>
                  </a:cubicBezTo>
                  <a:lnTo>
                    <a:pt x="0" y="921"/>
                  </a:lnTo>
                  <a:cubicBezTo>
                    <a:pt x="0" y="1131"/>
                    <a:pt x="70" y="1325"/>
                    <a:pt x="188" y="1479"/>
                  </a:cubicBezTo>
                  <a:lnTo>
                    <a:pt x="954" y="473"/>
                  </a:lnTo>
                  <a:lnTo>
                    <a:pt x="871" y="474"/>
                  </a:lnTo>
                  <a:lnTo>
                    <a:pt x="790" y="473"/>
                  </a:lnTo>
                  <a:cubicBezTo>
                    <a:pt x="702" y="473"/>
                    <a:pt x="620" y="480"/>
                    <a:pt x="561" y="491"/>
                  </a:cubicBezTo>
                  <a:cubicBezTo>
                    <a:pt x="525" y="498"/>
                    <a:pt x="493" y="511"/>
                    <a:pt x="467" y="530"/>
                  </a:cubicBezTo>
                  <a:cubicBezTo>
                    <a:pt x="437" y="551"/>
                    <a:pt x="399" y="596"/>
                    <a:pt x="374" y="641"/>
                  </a:cubicBezTo>
                  <a:cubicBezTo>
                    <a:pt x="371" y="646"/>
                    <a:pt x="367" y="654"/>
                    <a:pt x="361" y="665"/>
                  </a:cubicBezTo>
                  <a:lnTo>
                    <a:pt x="316" y="655"/>
                  </a:lnTo>
                  <a:lnTo>
                    <a:pt x="392" y="366"/>
                  </a:lnTo>
                  <a:lnTo>
                    <a:pt x="1350" y="366"/>
                  </a:lnTo>
                  <a:lnTo>
                    <a:pt x="588" y="1385"/>
                  </a:lnTo>
                  <a:cubicBezTo>
                    <a:pt x="638" y="1380"/>
                    <a:pt x="658" y="1379"/>
                    <a:pt x="698" y="1379"/>
                  </a:cubicBezTo>
                  <a:cubicBezTo>
                    <a:pt x="729" y="1379"/>
                    <a:pt x="776" y="1381"/>
                    <a:pt x="839" y="1385"/>
                  </a:cubicBezTo>
                  <a:lnTo>
                    <a:pt x="974" y="1393"/>
                  </a:lnTo>
                  <a:cubicBezTo>
                    <a:pt x="1023" y="1396"/>
                    <a:pt x="1064" y="1397"/>
                    <a:pt x="1095" y="1397"/>
                  </a:cubicBezTo>
                  <a:cubicBezTo>
                    <a:pt x="1165" y="1397"/>
                    <a:pt x="1210" y="1392"/>
                    <a:pt x="1255" y="1378"/>
                  </a:cubicBezTo>
                  <a:cubicBezTo>
                    <a:pt x="1290" y="1367"/>
                    <a:pt x="1324" y="1351"/>
                    <a:pt x="1354" y="1331"/>
                  </a:cubicBezTo>
                  <a:cubicBezTo>
                    <a:pt x="1408" y="1293"/>
                    <a:pt x="1460" y="1234"/>
                    <a:pt x="1491" y="1175"/>
                  </a:cubicBezTo>
                  <a:cubicBezTo>
                    <a:pt x="1494" y="1169"/>
                    <a:pt x="1499" y="1160"/>
                    <a:pt x="1504" y="1147"/>
                  </a:cubicBezTo>
                  <a:lnTo>
                    <a:pt x="1545" y="1158"/>
                  </a:lnTo>
                  <a:cubicBezTo>
                    <a:pt x="1532" y="1208"/>
                    <a:pt x="1525" y="1228"/>
                    <a:pt x="1505" y="1273"/>
                  </a:cubicBezTo>
                  <a:cubicBezTo>
                    <a:pt x="1464" y="1364"/>
                    <a:pt x="1417" y="1425"/>
                    <a:pt x="1354" y="1472"/>
                  </a:cubicBezTo>
                  <a:cubicBezTo>
                    <a:pt x="1289" y="1521"/>
                    <a:pt x="1216" y="1544"/>
                    <a:pt x="1131" y="1546"/>
                  </a:cubicBezTo>
                  <a:lnTo>
                    <a:pt x="1118" y="1546"/>
                  </a:lnTo>
                  <a:cubicBezTo>
                    <a:pt x="1055" y="1546"/>
                    <a:pt x="1006" y="1541"/>
                    <a:pt x="854" y="1518"/>
                  </a:cubicBezTo>
                  <a:cubicBezTo>
                    <a:pt x="700" y="1494"/>
                    <a:pt x="621" y="1486"/>
                    <a:pt x="544" y="1486"/>
                  </a:cubicBezTo>
                  <a:cubicBezTo>
                    <a:pt x="492" y="1486"/>
                    <a:pt x="444" y="1490"/>
                    <a:pt x="394" y="1498"/>
                  </a:cubicBezTo>
                  <a:cubicBezTo>
                    <a:pt x="328" y="1508"/>
                    <a:pt x="302" y="1516"/>
                    <a:pt x="242" y="1543"/>
                  </a:cubicBezTo>
                  <a:cubicBezTo>
                    <a:pt x="410" y="1727"/>
                    <a:pt x="652" y="1842"/>
                    <a:pt x="920" y="1842"/>
                  </a:cubicBezTo>
                  <a:cubicBezTo>
                    <a:pt x="1429" y="1842"/>
                    <a:pt x="1841" y="1430"/>
                    <a:pt x="1841" y="921"/>
                  </a:cubicBezTo>
                  <a:cubicBezTo>
                    <a:pt x="1841" y="412"/>
                    <a:pt x="1429" y="0"/>
                    <a:pt x="9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6" name="Freeform 6">
              <a:extLst>
                <a:ext uri="{FF2B5EF4-FFF2-40B4-BE49-F238E27FC236}">
                  <a16:creationId xmlns:a16="http://schemas.microsoft.com/office/drawing/2014/main" id="{496DDDB6-B327-4BBA-A25A-A710AC69A0BA}"/>
                </a:ext>
              </a:extLst>
            </p:cNvPr>
            <p:cNvSpPr>
              <a:spLocks/>
            </p:cNvSpPr>
            <p:nvPr userDrawn="1"/>
          </p:nvSpPr>
          <p:spPr bwMode="auto">
            <a:xfrm>
              <a:off x="642" y="197"/>
              <a:ext cx="25" cy="80"/>
            </a:xfrm>
            <a:custGeom>
              <a:avLst/>
              <a:gdLst>
                <a:gd name="T0" fmla="*/ 232 w 288"/>
                <a:gd name="T1" fmla="*/ 166 h 897"/>
                <a:gd name="T2" fmla="*/ 232 w 288"/>
                <a:gd name="T3" fmla="*/ 166 h 897"/>
                <a:gd name="T4" fmla="*/ 241 w 288"/>
                <a:gd name="T5" fmla="*/ 65 h 897"/>
                <a:gd name="T6" fmla="*/ 254 w 288"/>
                <a:gd name="T7" fmla="*/ 37 h 897"/>
                <a:gd name="T8" fmla="*/ 288 w 288"/>
                <a:gd name="T9" fmla="*/ 0 h 897"/>
                <a:gd name="T10" fmla="*/ 0 w 288"/>
                <a:gd name="T11" fmla="*/ 0 h 897"/>
                <a:gd name="T12" fmla="*/ 33 w 288"/>
                <a:gd name="T13" fmla="*/ 35 h 897"/>
                <a:gd name="T14" fmla="*/ 47 w 288"/>
                <a:gd name="T15" fmla="*/ 64 h 897"/>
                <a:gd name="T16" fmla="*/ 56 w 288"/>
                <a:gd name="T17" fmla="*/ 161 h 897"/>
                <a:gd name="T18" fmla="*/ 56 w 288"/>
                <a:gd name="T19" fmla="*/ 215 h 897"/>
                <a:gd name="T20" fmla="*/ 56 w 288"/>
                <a:gd name="T21" fmla="*/ 752 h 897"/>
                <a:gd name="T22" fmla="*/ 42 w 288"/>
                <a:gd name="T23" fmla="*/ 839 h 897"/>
                <a:gd name="T24" fmla="*/ 28 w 288"/>
                <a:gd name="T25" fmla="*/ 865 h 897"/>
                <a:gd name="T26" fmla="*/ 1 w 288"/>
                <a:gd name="T27" fmla="*/ 897 h 897"/>
                <a:gd name="T28" fmla="*/ 285 w 288"/>
                <a:gd name="T29" fmla="*/ 897 h 897"/>
                <a:gd name="T30" fmla="*/ 258 w 288"/>
                <a:gd name="T31" fmla="*/ 865 h 897"/>
                <a:gd name="T32" fmla="*/ 243 w 288"/>
                <a:gd name="T33" fmla="*/ 838 h 897"/>
                <a:gd name="T34" fmla="*/ 231 w 288"/>
                <a:gd name="T35" fmla="*/ 759 h 897"/>
                <a:gd name="T36" fmla="*/ 231 w 288"/>
                <a:gd name="T37" fmla="*/ 218 h 897"/>
                <a:gd name="T38" fmla="*/ 232 w 288"/>
                <a:gd name="T39" fmla="*/ 16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897">
                  <a:moveTo>
                    <a:pt x="232" y="166"/>
                  </a:moveTo>
                  <a:lnTo>
                    <a:pt x="232" y="166"/>
                  </a:lnTo>
                  <a:cubicBezTo>
                    <a:pt x="232" y="106"/>
                    <a:pt x="233" y="89"/>
                    <a:pt x="241" y="65"/>
                  </a:cubicBezTo>
                  <a:cubicBezTo>
                    <a:pt x="244" y="55"/>
                    <a:pt x="248" y="46"/>
                    <a:pt x="254" y="37"/>
                  </a:cubicBezTo>
                  <a:cubicBezTo>
                    <a:pt x="263" y="22"/>
                    <a:pt x="270" y="14"/>
                    <a:pt x="288" y="0"/>
                  </a:cubicBezTo>
                  <a:lnTo>
                    <a:pt x="0" y="0"/>
                  </a:lnTo>
                  <a:cubicBezTo>
                    <a:pt x="18" y="16"/>
                    <a:pt x="24" y="22"/>
                    <a:pt x="33" y="35"/>
                  </a:cubicBezTo>
                  <a:cubicBezTo>
                    <a:pt x="39" y="44"/>
                    <a:pt x="44" y="54"/>
                    <a:pt x="47" y="64"/>
                  </a:cubicBezTo>
                  <a:cubicBezTo>
                    <a:pt x="53" y="86"/>
                    <a:pt x="56" y="108"/>
                    <a:pt x="56" y="161"/>
                  </a:cubicBezTo>
                  <a:cubicBezTo>
                    <a:pt x="56" y="188"/>
                    <a:pt x="56" y="206"/>
                    <a:pt x="56" y="215"/>
                  </a:cubicBezTo>
                  <a:lnTo>
                    <a:pt x="56" y="752"/>
                  </a:lnTo>
                  <a:cubicBezTo>
                    <a:pt x="56" y="784"/>
                    <a:pt x="51" y="817"/>
                    <a:pt x="42" y="839"/>
                  </a:cubicBezTo>
                  <a:cubicBezTo>
                    <a:pt x="39" y="848"/>
                    <a:pt x="34" y="857"/>
                    <a:pt x="28" y="865"/>
                  </a:cubicBezTo>
                  <a:cubicBezTo>
                    <a:pt x="21" y="875"/>
                    <a:pt x="16" y="880"/>
                    <a:pt x="1" y="897"/>
                  </a:cubicBezTo>
                  <a:lnTo>
                    <a:pt x="285" y="897"/>
                  </a:lnTo>
                  <a:cubicBezTo>
                    <a:pt x="271" y="885"/>
                    <a:pt x="266" y="879"/>
                    <a:pt x="258" y="865"/>
                  </a:cubicBezTo>
                  <a:cubicBezTo>
                    <a:pt x="252" y="856"/>
                    <a:pt x="247" y="847"/>
                    <a:pt x="243" y="838"/>
                  </a:cubicBezTo>
                  <a:cubicBezTo>
                    <a:pt x="236" y="817"/>
                    <a:pt x="231" y="787"/>
                    <a:pt x="231" y="759"/>
                  </a:cubicBezTo>
                  <a:lnTo>
                    <a:pt x="231" y="218"/>
                  </a:lnTo>
                  <a:lnTo>
                    <a:pt x="232" y="1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7" name="Freeform 7">
              <a:extLst>
                <a:ext uri="{FF2B5EF4-FFF2-40B4-BE49-F238E27FC236}">
                  <a16:creationId xmlns:a16="http://schemas.microsoft.com/office/drawing/2014/main" id="{A06C8070-A1C7-48BE-95DE-240B325C24B6}"/>
                </a:ext>
              </a:extLst>
            </p:cNvPr>
            <p:cNvSpPr>
              <a:spLocks/>
            </p:cNvSpPr>
            <p:nvPr userDrawn="1"/>
          </p:nvSpPr>
          <p:spPr bwMode="auto">
            <a:xfrm>
              <a:off x="761" y="197"/>
              <a:ext cx="77" cy="80"/>
            </a:xfrm>
            <a:custGeom>
              <a:avLst/>
              <a:gdLst>
                <a:gd name="T0" fmla="*/ 810 w 869"/>
                <a:gd name="T1" fmla="*/ 165 h 897"/>
                <a:gd name="T2" fmla="*/ 810 w 869"/>
                <a:gd name="T3" fmla="*/ 165 h 897"/>
                <a:gd name="T4" fmla="*/ 819 w 869"/>
                <a:gd name="T5" fmla="*/ 70 h 897"/>
                <a:gd name="T6" fmla="*/ 834 w 869"/>
                <a:gd name="T7" fmla="*/ 37 h 897"/>
                <a:gd name="T8" fmla="*/ 869 w 869"/>
                <a:gd name="T9" fmla="*/ 0 h 897"/>
                <a:gd name="T10" fmla="*/ 576 w 869"/>
                <a:gd name="T11" fmla="*/ 0 h 897"/>
                <a:gd name="T12" fmla="*/ 609 w 869"/>
                <a:gd name="T13" fmla="*/ 36 h 897"/>
                <a:gd name="T14" fmla="*/ 624 w 869"/>
                <a:gd name="T15" fmla="*/ 67 h 897"/>
                <a:gd name="T16" fmla="*/ 634 w 869"/>
                <a:gd name="T17" fmla="*/ 162 h 897"/>
                <a:gd name="T18" fmla="*/ 634 w 869"/>
                <a:gd name="T19" fmla="*/ 379 h 897"/>
                <a:gd name="T20" fmla="*/ 232 w 869"/>
                <a:gd name="T21" fmla="*/ 379 h 897"/>
                <a:gd name="T22" fmla="*/ 232 w 869"/>
                <a:gd name="T23" fmla="*/ 216 h 897"/>
                <a:gd name="T24" fmla="*/ 234 w 869"/>
                <a:gd name="T25" fmla="*/ 109 h 897"/>
                <a:gd name="T26" fmla="*/ 241 w 869"/>
                <a:gd name="T27" fmla="*/ 70 h 897"/>
                <a:gd name="T28" fmla="*/ 278 w 869"/>
                <a:gd name="T29" fmla="*/ 9 h 897"/>
                <a:gd name="T30" fmla="*/ 288 w 869"/>
                <a:gd name="T31" fmla="*/ 0 h 897"/>
                <a:gd name="T32" fmla="*/ 1 w 869"/>
                <a:gd name="T33" fmla="*/ 0 h 897"/>
                <a:gd name="T34" fmla="*/ 30 w 869"/>
                <a:gd name="T35" fmla="*/ 34 h 897"/>
                <a:gd name="T36" fmla="*/ 46 w 869"/>
                <a:gd name="T37" fmla="*/ 64 h 897"/>
                <a:gd name="T38" fmla="*/ 56 w 869"/>
                <a:gd name="T39" fmla="*/ 159 h 897"/>
                <a:gd name="T40" fmla="*/ 57 w 869"/>
                <a:gd name="T41" fmla="*/ 216 h 897"/>
                <a:gd name="T42" fmla="*/ 57 w 869"/>
                <a:gd name="T43" fmla="*/ 707 h 897"/>
                <a:gd name="T44" fmla="*/ 53 w 869"/>
                <a:gd name="T45" fmla="*/ 802 h 897"/>
                <a:gd name="T46" fmla="*/ 44 w 869"/>
                <a:gd name="T47" fmla="*/ 838 h 897"/>
                <a:gd name="T48" fmla="*/ 9 w 869"/>
                <a:gd name="T49" fmla="*/ 888 h 897"/>
                <a:gd name="T50" fmla="*/ 0 w 869"/>
                <a:gd name="T51" fmla="*/ 897 h 897"/>
                <a:gd name="T52" fmla="*/ 284 w 869"/>
                <a:gd name="T53" fmla="*/ 897 h 897"/>
                <a:gd name="T54" fmla="*/ 260 w 869"/>
                <a:gd name="T55" fmla="*/ 867 h 897"/>
                <a:gd name="T56" fmla="*/ 245 w 869"/>
                <a:gd name="T57" fmla="*/ 839 h 897"/>
                <a:gd name="T58" fmla="*/ 232 w 869"/>
                <a:gd name="T59" fmla="*/ 761 h 897"/>
                <a:gd name="T60" fmla="*/ 232 w 869"/>
                <a:gd name="T61" fmla="*/ 707 h 897"/>
                <a:gd name="T62" fmla="*/ 232 w 869"/>
                <a:gd name="T63" fmla="*/ 490 h 897"/>
                <a:gd name="T64" fmla="*/ 634 w 869"/>
                <a:gd name="T65" fmla="*/ 490 h 897"/>
                <a:gd name="T66" fmla="*/ 634 w 869"/>
                <a:gd name="T67" fmla="*/ 709 h 897"/>
                <a:gd name="T68" fmla="*/ 630 w 869"/>
                <a:gd name="T69" fmla="*/ 800 h 897"/>
                <a:gd name="T70" fmla="*/ 620 w 869"/>
                <a:gd name="T71" fmla="*/ 838 h 897"/>
                <a:gd name="T72" fmla="*/ 588 w 869"/>
                <a:gd name="T73" fmla="*/ 885 h 897"/>
                <a:gd name="T74" fmla="*/ 575 w 869"/>
                <a:gd name="T75" fmla="*/ 897 h 897"/>
                <a:gd name="T76" fmla="*/ 862 w 869"/>
                <a:gd name="T77" fmla="*/ 897 h 897"/>
                <a:gd name="T78" fmla="*/ 838 w 869"/>
                <a:gd name="T79" fmla="*/ 869 h 897"/>
                <a:gd name="T80" fmla="*/ 821 w 869"/>
                <a:gd name="T81" fmla="*/ 839 h 897"/>
                <a:gd name="T82" fmla="*/ 810 w 869"/>
                <a:gd name="T83" fmla="*/ 758 h 897"/>
                <a:gd name="T84" fmla="*/ 809 w 869"/>
                <a:gd name="T85" fmla="*/ 712 h 897"/>
                <a:gd name="T86" fmla="*/ 810 w 869"/>
                <a:gd name="T87" fmla="*/ 218 h 897"/>
                <a:gd name="T88" fmla="*/ 810 w 869"/>
                <a:gd name="T89" fmla="*/ 16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9" h="897">
                  <a:moveTo>
                    <a:pt x="810" y="165"/>
                  </a:moveTo>
                  <a:lnTo>
                    <a:pt x="810" y="165"/>
                  </a:lnTo>
                  <a:cubicBezTo>
                    <a:pt x="810" y="125"/>
                    <a:pt x="813" y="95"/>
                    <a:pt x="819" y="70"/>
                  </a:cubicBezTo>
                  <a:cubicBezTo>
                    <a:pt x="823" y="59"/>
                    <a:pt x="828" y="48"/>
                    <a:pt x="834" y="37"/>
                  </a:cubicBezTo>
                  <a:cubicBezTo>
                    <a:pt x="843" y="22"/>
                    <a:pt x="850" y="14"/>
                    <a:pt x="869" y="0"/>
                  </a:cubicBezTo>
                  <a:lnTo>
                    <a:pt x="576" y="0"/>
                  </a:lnTo>
                  <a:cubicBezTo>
                    <a:pt x="593" y="14"/>
                    <a:pt x="599" y="20"/>
                    <a:pt x="609" y="36"/>
                  </a:cubicBezTo>
                  <a:cubicBezTo>
                    <a:pt x="616" y="46"/>
                    <a:pt x="621" y="57"/>
                    <a:pt x="624" y="67"/>
                  </a:cubicBezTo>
                  <a:cubicBezTo>
                    <a:pt x="631" y="88"/>
                    <a:pt x="634" y="115"/>
                    <a:pt x="634" y="162"/>
                  </a:cubicBezTo>
                  <a:lnTo>
                    <a:pt x="634" y="379"/>
                  </a:lnTo>
                  <a:lnTo>
                    <a:pt x="232" y="379"/>
                  </a:lnTo>
                  <a:lnTo>
                    <a:pt x="232" y="216"/>
                  </a:lnTo>
                  <a:cubicBezTo>
                    <a:pt x="232" y="166"/>
                    <a:pt x="232" y="134"/>
                    <a:pt x="234" y="109"/>
                  </a:cubicBezTo>
                  <a:cubicBezTo>
                    <a:pt x="235" y="95"/>
                    <a:pt x="238" y="82"/>
                    <a:pt x="241" y="70"/>
                  </a:cubicBezTo>
                  <a:cubicBezTo>
                    <a:pt x="247" y="51"/>
                    <a:pt x="264" y="24"/>
                    <a:pt x="278" y="9"/>
                  </a:cubicBezTo>
                  <a:cubicBezTo>
                    <a:pt x="280" y="7"/>
                    <a:pt x="284" y="4"/>
                    <a:pt x="288" y="0"/>
                  </a:cubicBezTo>
                  <a:lnTo>
                    <a:pt x="1" y="0"/>
                  </a:lnTo>
                  <a:cubicBezTo>
                    <a:pt x="18" y="17"/>
                    <a:pt x="23" y="23"/>
                    <a:pt x="30" y="34"/>
                  </a:cubicBezTo>
                  <a:cubicBezTo>
                    <a:pt x="37" y="43"/>
                    <a:pt x="42" y="53"/>
                    <a:pt x="46" y="64"/>
                  </a:cubicBezTo>
                  <a:cubicBezTo>
                    <a:pt x="53" y="87"/>
                    <a:pt x="55" y="100"/>
                    <a:pt x="56" y="159"/>
                  </a:cubicBezTo>
                  <a:lnTo>
                    <a:pt x="57" y="216"/>
                  </a:lnTo>
                  <a:lnTo>
                    <a:pt x="57" y="707"/>
                  </a:lnTo>
                  <a:cubicBezTo>
                    <a:pt x="57" y="757"/>
                    <a:pt x="56" y="779"/>
                    <a:pt x="53" y="802"/>
                  </a:cubicBezTo>
                  <a:cubicBezTo>
                    <a:pt x="51" y="814"/>
                    <a:pt x="48" y="825"/>
                    <a:pt x="44" y="838"/>
                  </a:cubicBezTo>
                  <a:cubicBezTo>
                    <a:pt x="37" y="857"/>
                    <a:pt x="26" y="872"/>
                    <a:pt x="9" y="888"/>
                  </a:cubicBezTo>
                  <a:cubicBezTo>
                    <a:pt x="7" y="890"/>
                    <a:pt x="4" y="893"/>
                    <a:pt x="0" y="897"/>
                  </a:cubicBezTo>
                  <a:lnTo>
                    <a:pt x="284" y="897"/>
                  </a:lnTo>
                  <a:cubicBezTo>
                    <a:pt x="271" y="884"/>
                    <a:pt x="267" y="878"/>
                    <a:pt x="260" y="867"/>
                  </a:cubicBezTo>
                  <a:cubicBezTo>
                    <a:pt x="254" y="859"/>
                    <a:pt x="249" y="849"/>
                    <a:pt x="245" y="839"/>
                  </a:cubicBezTo>
                  <a:cubicBezTo>
                    <a:pt x="236" y="815"/>
                    <a:pt x="233" y="799"/>
                    <a:pt x="232" y="761"/>
                  </a:cubicBezTo>
                  <a:cubicBezTo>
                    <a:pt x="232" y="741"/>
                    <a:pt x="232" y="724"/>
                    <a:pt x="232" y="707"/>
                  </a:cubicBezTo>
                  <a:lnTo>
                    <a:pt x="232" y="490"/>
                  </a:lnTo>
                  <a:lnTo>
                    <a:pt x="634" y="490"/>
                  </a:lnTo>
                  <a:lnTo>
                    <a:pt x="634" y="709"/>
                  </a:lnTo>
                  <a:cubicBezTo>
                    <a:pt x="634" y="757"/>
                    <a:pt x="633" y="775"/>
                    <a:pt x="630" y="800"/>
                  </a:cubicBezTo>
                  <a:cubicBezTo>
                    <a:pt x="628" y="813"/>
                    <a:pt x="625" y="826"/>
                    <a:pt x="620" y="838"/>
                  </a:cubicBezTo>
                  <a:cubicBezTo>
                    <a:pt x="613" y="855"/>
                    <a:pt x="603" y="871"/>
                    <a:pt x="588" y="885"/>
                  </a:cubicBezTo>
                  <a:cubicBezTo>
                    <a:pt x="585" y="888"/>
                    <a:pt x="581" y="892"/>
                    <a:pt x="575" y="897"/>
                  </a:cubicBezTo>
                  <a:lnTo>
                    <a:pt x="862" y="897"/>
                  </a:lnTo>
                  <a:cubicBezTo>
                    <a:pt x="850" y="885"/>
                    <a:pt x="846" y="880"/>
                    <a:pt x="838" y="869"/>
                  </a:cubicBezTo>
                  <a:cubicBezTo>
                    <a:pt x="831" y="859"/>
                    <a:pt x="825" y="849"/>
                    <a:pt x="821" y="839"/>
                  </a:cubicBezTo>
                  <a:cubicBezTo>
                    <a:pt x="813" y="818"/>
                    <a:pt x="811" y="803"/>
                    <a:pt x="810" y="758"/>
                  </a:cubicBezTo>
                  <a:cubicBezTo>
                    <a:pt x="809" y="732"/>
                    <a:pt x="809" y="717"/>
                    <a:pt x="809" y="712"/>
                  </a:cubicBezTo>
                  <a:lnTo>
                    <a:pt x="810" y="218"/>
                  </a:lnTo>
                  <a:lnTo>
                    <a:pt x="810" y="16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8" name="Freeform 8">
              <a:extLst>
                <a:ext uri="{FF2B5EF4-FFF2-40B4-BE49-F238E27FC236}">
                  <a16:creationId xmlns:a16="http://schemas.microsoft.com/office/drawing/2014/main" id="{7BB14D19-8E13-42AB-AA0B-DD9069F10FE6}"/>
                </a:ext>
              </a:extLst>
            </p:cNvPr>
            <p:cNvSpPr>
              <a:spLocks noEditPoints="1"/>
            </p:cNvSpPr>
            <p:nvPr userDrawn="1"/>
          </p:nvSpPr>
          <p:spPr bwMode="auto">
            <a:xfrm>
              <a:off x="562" y="197"/>
              <a:ext cx="73" cy="80"/>
            </a:xfrm>
            <a:custGeom>
              <a:avLst/>
              <a:gdLst>
                <a:gd name="T0" fmla="*/ 408 w 822"/>
                <a:gd name="T1" fmla="*/ 395 h 897"/>
                <a:gd name="T2" fmla="*/ 408 w 822"/>
                <a:gd name="T3" fmla="*/ 395 h 897"/>
                <a:gd name="T4" fmla="*/ 295 w 822"/>
                <a:gd name="T5" fmla="*/ 431 h 897"/>
                <a:gd name="T6" fmla="*/ 248 w 822"/>
                <a:gd name="T7" fmla="*/ 435 h 897"/>
                <a:gd name="T8" fmla="*/ 233 w 822"/>
                <a:gd name="T9" fmla="*/ 435 h 897"/>
                <a:gd name="T10" fmla="*/ 233 w 822"/>
                <a:gd name="T11" fmla="*/ 103 h 897"/>
                <a:gd name="T12" fmla="*/ 257 w 822"/>
                <a:gd name="T13" fmla="*/ 102 h 897"/>
                <a:gd name="T14" fmla="*/ 378 w 822"/>
                <a:gd name="T15" fmla="*/ 117 h 897"/>
                <a:gd name="T16" fmla="*/ 439 w 822"/>
                <a:gd name="T17" fmla="*/ 149 h 897"/>
                <a:gd name="T18" fmla="*/ 485 w 822"/>
                <a:gd name="T19" fmla="*/ 260 h 897"/>
                <a:gd name="T20" fmla="*/ 450 w 822"/>
                <a:gd name="T21" fmla="*/ 361 h 897"/>
                <a:gd name="T22" fmla="*/ 408 w 822"/>
                <a:gd name="T23" fmla="*/ 395 h 897"/>
                <a:gd name="T24" fmla="*/ 408 w 822"/>
                <a:gd name="T25" fmla="*/ 395 h 897"/>
                <a:gd name="T26" fmla="*/ 750 w 822"/>
                <a:gd name="T27" fmla="*/ 835 h 897"/>
                <a:gd name="T28" fmla="*/ 750 w 822"/>
                <a:gd name="T29" fmla="*/ 835 h 897"/>
                <a:gd name="T30" fmla="*/ 649 w 822"/>
                <a:gd name="T31" fmla="*/ 730 h 897"/>
                <a:gd name="T32" fmla="*/ 583 w 822"/>
                <a:gd name="T33" fmla="*/ 657 h 897"/>
                <a:gd name="T34" fmla="*/ 444 w 822"/>
                <a:gd name="T35" fmla="*/ 493 h 897"/>
                <a:gd name="T36" fmla="*/ 484 w 822"/>
                <a:gd name="T37" fmla="*/ 480 h 897"/>
                <a:gd name="T38" fmla="*/ 594 w 822"/>
                <a:gd name="T39" fmla="*/ 416 h 897"/>
                <a:gd name="T40" fmla="*/ 665 w 822"/>
                <a:gd name="T41" fmla="*/ 313 h 897"/>
                <a:gd name="T42" fmla="*/ 676 w 822"/>
                <a:gd name="T43" fmla="*/ 244 h 897"/>
                <a:gd name="T44" fmla="*/ 615 w 822"/>
                <a:gd name="T45" fmla="*/ 97 h 897"/>
                <a:gd name="T46" fmla="*/ 470 w 822"/>
                <a:gd name="T47" fmla="*/ 16 h 897"/>
                <a:gd name="T48" fmla="*/ 316 w 822"/>
                <a:gd name="T49" fmla="*/ 1 h 897"/>
                <a:gd name="T50" fmla="*/ 233 w 822"/>
                <a:gd name="T51" fmla="*/ 0 h 897"/>
                <a:gd name="T52" fmla="*/ 2 w 822"/>
                <a:gd name="T53" fmla="*/ 0 h 897"/>
                <a:gd name="T54" fmla="*/ 32 w 822"/>
                <a:gd name="T55" fmla="*/ 33 h 897"/>
                <a:gd name="T56" fmla="*/ 47 w 822"/>
                <a:gd name="T57" fmla="*/ 66 h 897"/>
                <a:gd name="T58" fmla="*/ 56 w 822"/>
                <a:gd name="T59" fmla="*/ 162 h 897"/>
                <a:gd name="T60" fmla="*/ 56 w 822"/>
                <a:gd name="T61" fmla="*/ 750 h 897"/>
                <a:gd name="T62" fmla="*/ 46 w 822"/>
                <a:gd name="T63" fmla="*/ 837 h 897"/>
                <a:gd name="T64" fmla="*/ 31 w 822"/>
                <a:gd name="T65" fmla="*/ 865 h 897"/>
                <a:gd name="T66" fmla="*/ 0 w 822"/>
                <a:gd name="T67" fmla="*/ 897 h 897"/>
                <a:gd name="T68" fmla="*/ 285 w 822"/>
                <a:gd name="T69" fmla="*/ 897 h 897"/>
                <a:gd name="T70" fmla="*/ 261 w 822"/>
                <a:gd name="T71" fmla="*/ 867 h 897"/>
                <a:gd name="T72" fmla="*/ 245 w 822"/>
                <a:gd name="T73" fmla="*/ 840 h 897"/>
                <a:gd name="T74" fmla="*/ 234 w 822"/>
                <a:gd name="T75" fmla="*/ 757 h 897"/>
                <a:gd name="T76" fmla="*/ 233 w 822"/>
                <a:gd name="T77" fmla="*/ 712 h 897"/>
                <a:gd name="T78" fmla="*/ 233 w 822"/>
                <a:gd name="T79" fmla="*/ 510 h 897"/>
                <a:gd name="T80" fmla="*/ 400 w 822"/>
                <a:gd name="T81" fmla="*/ 710 h 897"/>
                <a:gd name="T82" fmla="*/ 437 w 822"/>
                <a:gd name="T83" fmla="*/ 753 h 897"/>
                <a:gd name="T84" fmla="*/ 481 w 822"/>
                <a:gd name="T85" fmla="*/ 801 h 897"/>
                <a:gd name="T86" fmla="*/ 573 w 822"/>
                <a:gd name="T87" fmla="*/ 875 h 897"/>
                <a:gd name="T88" fmla="*/ 662 w 822"/>
                <a:gd name="T89" fmla="*/ 896 h 897"/>
                <a:gd name="T90" fmla="*/ 709 w 822"/>
                <a:gd name="T91" fmla="*/ 897 h 897"/>
                <a:gd name="T92" fmla="*/ 822 w 822"/>
                <a:gd name="T93" fmla="*/ 897 h 897"/>
                <a:gd name="T94" fmla="*/ 789 w 822"/>
                <a:gd name="T95" fmla="*/ 870 h 897"/>
                <a:gd name="T96" fmla="*/ 750 w 822"/>
                <a:gd name="T97" fmla="*/ 83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897">
                  <a:moveTo>
                    <a:pt x="408" y="395"/>
                  </a:moveTo>
                  <a:lnTo>
                    <a:pt x="408" y="395"/>
                  </a:lnTo>
                  <a:cubicBezTo>
                    <a:pt x="376" y="413"/>
                    <a:pt x="343" y="424"/>
                    <a:pt x="295" y="431"/>
                  </a:cubicBezTo>
                  <a:cubicBezTo>
                    <a:pt x="277" y="434"/>
                    <a:pt x="261" y="435"/>
                    <a:pt x="248" y="435"/>
                  </a:cubicBezTo>
                  <a:cubicBezTo>
                    <a:pt x="243" y="435"/>
                    <a:pt x="240" y="435"/>
                    <a:pt x="233" y="435"/>
                  </a:cubicBezTo>
                  <a:lnTo>
                    <a:pt x="233" y="103"/>
                  </a:lnTo>
                  <a:cubicBezTo>
                    <a:pt x="245" y="102"/>
                    <a:pt x="249" y="102"/>
                    <a:pt x="257" y="102"/>
                  </a:cubicBezTo>
                  <a:cubicBezTo>
                    <a:pt x="301" y="102"/>
                    <a:pt x="344" y="107"/>
                    <a:pt x="378" y="117"/>
                  </a:cubicBezTo>
                  <a:cubicBezTo>
                    <a:pt x="400" y="123"/>
                    <a:pt x="421" y="135"/>
                    <a:pt x="439" y="149"/>
                  </a:cubicBezTo>
                  <a:cubicBezTo>
                    <a:pt x="469" y="175"/>
                    <a:pt x="485" y="213"/>
                    <a:pt x="485" y="260"/>
                  </a:cubicBezTo>
                  <a:cubicBezTo>
                    <a:pt x="485" y="300"/>
                    <a:pt x="473" y="335"/>
                    <a:pt x="450" y="361"/>
                  </a:cubicBezTo>
                  <a:cubicBezTo>
                    <a:pt x="439" y="373"/>
                    <a:pt x="425" y="385"/>
                    <a:pt x="408" y="395"/>
                  </a:cubicBezTo>
                  <a:lnTo>
                    <a:pt x="408" y="395"/>
                  </a:lnTo>
                  <a:close/>
                  <a:moveTo>
                    <a:pt x="750" y="835"/>
                  </a:moveTo>
                  <a:lnTo>
                    <a:pt x="750" y="835"/>
                  </a:lnTo>
                  <a:cubicBezTo>
                    <a:pt x="719" y="804"/>
                    <a:pt x="691" y="776"/>
                    <a:pt x="649" y="730"/>
                  </a:cubicBezTo>
                  <a:cubicBezTo>
                    <a:pt x="622" y="702"/>
                    <a:pt x="600" y="677"/>
                    <a:pt x="583" y="657"/>
                  </a:cubicBezTo>
                  <a:lnTo>
                    <a:pt x="444" y="493"/>
                  </a:lnTo>
                  <a:cubicBezTo>
                    <a:pt x="461" y="488"/>
                    <a:pt x="468" y="486"/>
                    <a:pt x="484" y="480"/>
                  </a:cubicBezTo>
                  <a:cubicBezTo>
                    <a:pt x="529" y="462"/>
                    <a:pt x="563" y="442"/>
                    <a:pt x="594" y="416"/>
                  </a:cubicBezTo>
                  <a:cubicBezTo>
                    <a:pt x="630" y="386"/>
                    <a:pt x="652" y="354"/>
                    <a:pt x="665" y="313"/>
                  </a:cubicBezTo>
                  <a:cubicBezTo>
                    <a:pt x="673" y="291"/>
                    <a:pt x="676" y="267"/>
                    <a:pt x="676" y="244"/>
                  </a:cubicBezTo>
                  <a:cubicBezTo>
                    <a:pt x="676" y="189"/>
                    <a:pt x="656" y="139"/>
                    <a:pt x="615" y="97"/>
                  </a:cubicBezTo>
                  <a:cubicBezTo>
                    <a:pt x="579" y="58"/>
                    <a:pt x="527" y="30"/>
                    <a:pt x="470" y="16"/>
                  </a:cubicBezTo>
                  <a:cubicBezTo>
                    <a:pt x="429" y="7"/>
                    <a:pt x="388" y="2"/>
                    <a:pt x="316" y="1"/>
                  </a:cubicBezTo>
                  <a:cubicBezTo>
                    <a:pt x="289" y="0"/>
                    <a:pt x="262" y="0"/>
                    <a:pt x="233" y="0"/>
                  </a:cubicBezTo>
                  <a:lnTo>
                    <a:pt x="2" y="0"/>
                  </a:lnTo>
                  <a:cubicBezTo>
                    <a:pt x="17" y="14"/>
                    <a:pt x="23" y="20"/>
                    <a:pt x="32" y="33"/>
                  </a:cubicBezTo>
                  <a:cubicBezTo>
                    <a:pt x="38" y="44"/>
                    <a:pt x="44" y="55"/>
                    <a:pt x="47" y="66"/>
                  </a:cubicBezTo>
                  <a:cubicBezTo>
                    <a:pt x="53" y="86"/>
                    <a:pt x="56" y="114"/>
                    <a:pt x="56" y="162"/>
                  </a:cubicBezTo>
                  <a:lnTo>
                    <a:pt x="56" y="750"/>
                  </a:lnTo>
                  <a:cubicBezTo>
                    <a:pt x="56" y="793"/>
                    <a:pt x="53" y="817"/>
                    <a:pt x="46" y="837"/>
                  </a:cubicBezTo>
                  <a:cubicBezTo>
                    <a:pt x="42" y="847"/>
                    <a:pt x="37" y="857"/>
                    <a:pt x="31" y="865"/>
                  </a:cubicBezTo>
                  <a:cubicBezTo>
                    <a:pt x="22" y="876"/>
                    <a:pt x="17" y="882"/>
                    <a:pt x="0" y="897"/>
                  </a:cubicBezTo>
                  <a:lnTo>
                    <a:pt x="285" y="897"/>
                  </a:lnTo>
                  <a:cubicBezTo>
                    <a:pt x="273" y="883"/>
                    <a:pt x="269" y="878"/>
                    <a:pt x="261" y="867"/>
                  </a:cubicBezTo>
                  <a:cubicBezTo>
                    <a:pt x="254" y="859"/>
                    <a:pt x="249" y="850"/>
                    <a:pt x="245" y="840"/>
                  </a:cubicBezTo>
                  <a:cubicBezTo>
                    <a:pt x="238" y="820"/>
                    <a:pt x="234" y="799"/>
                    <a:pt x="234" y="757"/>
                  </a:cubicBezTo>
                  <a:cubicBezTo>
                    <a:pt x="234" y="744"/>
                    <a:pt x="233" y="729"/>
                    <a:pt x="233" y="712"/>
                  </a:cubicBezTo>
                  <a:lnTo>
                    <a:pt x="233" y="510"/>
                  </a:lnTo>
                  <a:lnTo>
                    <a:pt x="400" y="710"/>
                  </a:lnTo>
                  <a:cubicBezTo>
                    <a:pt x="407" y="719"/>
                    <a:pt x="420" y="734"/>
                    <a:pt x="437" y="753"/>
                  </a:cubicBezTo>
                  <a:cubicBezTo>
                    <a:pt x="456" y="775"/>
                    <a:pt x="471" y="791"/>
                    <a:pt x="481" y="801"/>
                  </a:cubicBezTo>
                  <a:cubicBezTo>
                    <a:pt x="513" y="835"/>
                    <a:pt x="543" y="859"/>
                    <a:pt x="573" y="875"/>
                  </a:cubicBezTo>
                  <a:cubicBezTo>
                    <a:pt x="599" y="889"/>
                    <a:pt x="624" y="895"/>
                    <a:pt x="662" y="896"/>
                  </a:cubicBezTo>
                  <a:cubicBezTo>
                    <a:pt x="677" y="897"/>
                    <a:pt x="693" y="897"/>
                    <a:pt x="709" y="897"/>
                  </a:cubicBezTo>
                  <a:lnTo>
                    <a:pt x="822" y="897"/>
                  </a:lnTo>
                  <a:cubicBezTo>
                    <a:pt x="807" y="885"/>
                    <a:pt x="800" y="880"/>
                    <a:pt x="789" y="870"/>
                  </a:cubicBezTo>
                  <a:cubicBezTo>
                    <a:pt x="777" y="859"/>
                    <a:pt x="764" y="848"/>
                    <a:pt x="750" y="8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9" name="Freeform 9">
              <a:extLst>
                <a:ext uri="{FF2B5EF4-FFF2-40B4-BE49-F238E27FC236}">
                  <a16:creationId xmlns:a16="http://schemas.microsoft.com/office/drawing/2014/main" id="{8F7E1E6A-8D31-44CE-B151-393C50EC24A2}"/>
                </a:ext>
              </a:extLst>
            </p:cNvPr>
            <p:cNvSpPr>
              <a:spLocks/>
            </p:cNvSpPr>
            <p:nvPr userDrawn="1"/>
          </p:nvSpPr>
          <p:spPr bwMode="auto">
            <a:xfrm>
              <a:off x="679" y="195"/>
              <a:ext cx="68" cy="84"/>
            </a:xfrm>
            <a:custGeom>
              <a:avLst/>
              <a:gdLst>
                <a:gd name="T0" fmla="*/ 668 w 765"/>
                <a:gd name="T1" fmla="*/ 790 h 944"/>
                <a:gd name="T2" fmla="*/ 668 w 765"/>
                <a:gd name="T3" fmla="*/ 790 h 944"/>
                <a:gd name="T4" fmla="*/ 512 w 765"/>
                <a:gd name="T5" fmla="*/ 823 h 944"/>
                <a:gd name="T6" fmla="*/ 281 w 765"/>
                <a:gd name="T7" fmla="*/ 727 h 944"/>
                <a:gd name="T8" fmla="*/ 191 w 765"/>
                <a:gd name="T9" fmla="*/ 478 h 944"/>
                <a:gd name="T10" fmla="*/ 272 w 765"/>
                <a:gd name="T11" fmla="*/ 236 h 944"/>
                <a:gd name="T12" fmla="*/ 354 w 765"/>
                <a:gd name="T13" fmla="*/ 170 h 944"/>
                <a:gd name="T14" fmla="*/ 527 w 765"/>
                <a:gd name="T15" fmla="*/ 126 h 944"/>
                <a:gd name="T16" fmla="*/ 688 w 765"/>
                <a:gd name="T17" fmla="*/ 159 h 944"/>
                <a:gd name="T18" fmla="*/ 762 w 765"/>
                <a:gd name="T19" fmla="*/ 199 h 944"/>
                <a:gd name="T20" fmla="*/ 762 w 765"/>
                <a:gd name="T21" fmla="*/ 31 h 944"/>
                <a:gd name="T22" fmla="*/ 708 w 765"/>
                <a:gd name="T23" fmla="*/ 16 h 944"/>
                <a:gd name="T24" fmla="*/ 550 w 765"/>
                <a:gd name="T25" fmla="*/ 0 h 944"/>
                <a:gd name="T26" fmla="*/ 294 w 765"/>
                <a:gd name="T27" fmla="*/ 48 h 944"/>
                <a:gd name="T28" fmla="*/ 171 w 765"/>
                <a:gd name="T29" fmla="*/ 121 h 944"/>
                <a:gd name="T30" fmla="*/ 0 w 765"/>
                <a:gd name="T31" fmla="*/ 488 h 944"/>
                <a:gd name="T32" fmla="*/ 164 w 765"/>
                <a:gd name="T33" fmla="*/ 840 h 944"/>
                <a:gd name="T34" fmla="*/ 499 w 765"/>
                <a:gd name="T35" fmla="*/ 944 h 944"/>
                <a:gd name="T36" fmla="*/ 751 w 765"/>
                <a:gd name="T37" fmla="*/ 904 h 944"/>
                <a:gd name="T38" fmla="*/ 765 w 765"/>
                <a:gd name="T39" fmla="*/ 899 h 944"/>
                <a:gd name="T40" fmla="*/ 765 w 765"/>
                <a:gd name="T41" fmla="*/ 736 h 944"/>
                <a:gd name="T42" fmla="*/ 724 w 765"/>
                <a:gd name="T43" fmla="*/ 763 h 944"/>
                <a:gd name="T44" fmla="*/ 668 w 765"/>
                <a:gd name="T45" fmla="*/ 79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5" h="944">
                  <a:moveTo>
                    <a:pt x="668" y="790"/>
                  </a:moveTo>
                  <a:lnTo>
                    <a:pt x="668" y="790"/>
                  </a:lnTo>
                  <a:cubicBezTo>
                    <a:pt x="614" y="813"/>
                    <a:pt x="565" y="823"/>
                    <a:pt x="512" y="823"/>
                  </a:cubicBezTo>
                  <a:cubicBezTo>
                    <a:pt x="419" y="823"/>
                    <a:pt x="340" y="790"/>
                    <a:pt x="281" y="727"/>
                  </a:cubicBezTo>
                  <a:cubicBezTo>
                    <a:pt x="222" y="664"/>
                    <a:pt x="191" y="577"/>
                    <a:pt x="191" y="478"/>
                  </a:cubicBezTo>
                  <a:cubicBezTo>
                    <a:pt x="191" y="384"/>
                    <a:pt x="220" y="297"/>
                    <a:pt x="272" y="236"/>
                  </a:cubicBezTo>
                  <a:cubicBezTo>
                    <a:pt x="295" y="210"/>
                    <a:pt x="322" y="187"/>
                    <a:pt x="354" y="170"/>
                  </a:cubicBezTo>
                  <a:cubicBezTo>
                    <a:pt x="404" y="141"/>
                    <a:pt x="463" y="126"/>
                    <a:pt x="527" y="126"/>
                  </a:cubicBezTo>
                  <a:cubicBezTo>
                    <a:pt x="582" y="126"/>
                    <a:pt x="635" y="137"/>
                    <a:pt x="688" y="159"/>
                  </a:cubicBezTo>
                  <a:cubicBezTo>
                    <a:pt x="722" y="172"/>
                    <a:pt x="734" y="179"/>
                    <a:pt x="762" y="199"/>
                  </a:cubicBezTo>
                  <a:lnTo>
                    <a:pt x="762" y="31"/>
                  </a:lnTo>
                  <a:cubicBezTo>
                    <a:pt x="740" y="24"/>
                    <a:pt x="731" y="21"/>
                    <a:pt x="708" y="16"/>
                  </a:cubicBezTo>
                  <a:cubicBezTo>
                    <a:pt x="656" y="5"/>
                    <a:pt x="606" y="0"/>
                    <a:pt x="550" y="0"/>
                  </a:cubicBezTo>
                  <a:cubicBezTo>
                    <a:pt x="453" y="0"/>
                    <a:pt x="370" y="16"/>
                    <a:pt x="294" y="48"/>
                  </a:cubicBezTo>
                  <a:cubicBezTo>
                    <a:pt x="249" y="67"/>
                    <a:pt x="207" y="91"/>
                    <a:pt x="171" y="121"/>
                  </a:cubicBezTo>
                  <a:cubicBezTo>
                    <a:pt x="60" y="210"/>
                    <a:pt x="0" y="339"/>
                    <a:pt x="0" y="488"/>
                  </a:cubicBezTo>
                  <a:cubicBezTo>
                    <a:pt x="0" y="632"/>
                    <a:pt x="58" y="756"/>
                    <a:pt x="164" y="840"/>
                  </a:cubicBezTo>
                  <a:cubicBezTo>
                    <a:pt x="251" y="909"/>
                    <a:pt x="364" y="944"/>
                    <a:pt x="499" y="944"/>
                  </a:cubicBezTo>
                  <a:cubicBezTo>
                    <a:pt x="583" y="944"/>
                    <a:pt x="662" y="931"/>
                    <a:pt x="751" y="904"/>
                  </a:cubicBezTo>
                  <a:cubicBezTo>
                    <a:pt x="754" y="903"/>
                    <a:pt x="759" y="901"/>
                    <a:pt x="765" y="899"/>
                  </a:cubicBezTo>
                  <a:lnTo>
                    <a:pt x="765" y="736"/>
                  </a:lnTo>
                  <a:cubicBezTo>
                    <a:pt x="744" y="750"/>
                    <a:pt x="736" y="755"/>
                    <a:pt x="724" y="763"/>
                  </a:cubicBezTo>
                  <a:cubicBezTo>
                    <a:pt x="706" y="773"/>
                    <a:pt x="688" y="782"/>
                    <a:pt x="668" y="7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0" name="Freeform 10">
              <a:extLst>
                <a:ext uri="{FF2B5EF4-FFF2-40B4-BE49-F238E27FC236}">
                  <a16:creationId xmlns:a16="http://schemas.microsoft.com/office/drawing/2014/main" id="{8A663121-9D03-4792-9E15-3604DB5163F6}"/>
                </a:ext>
              </a:extLst>
            </p:cNvPr>
            <p:cNvSpPr>
              <a:spLocks/>
            </p:cNvSpPr>
            <p:nvPr userDrawn="1"/>
          </p:nvSpPr>
          <p:spPr bwMode="auto">
            <a:xfrm>
              <a:off x="471" y="197"/>
              <a:ext cx="78" cy="83"/>
            </a:xfrm>
            <a:custGeom>
              <a:avLst/>
              <a:gdLst>
                <a:gd name="T0" fmla="*/ 631 w 885"/>
                <a:gd name="T1" fmla="*/ 34 h 927"/>
                <a:gd name="T2" fmla="*/ 631 w 885"/>
                <a:gd name="T3" fmla="*/ 34 h 927"/>
                <a:gd name="T4" fmla="*/ 644 w 885"/>
                <a:gd name="T5" fmla="*/ 65 h 927"/>
                <a:gd name="T6" fmla="*/ 652 w 885"/>
                <a:gd name="T7" fmla="*/ 159 h 927"/>
                <a:gd name="T8" fmla="*/ 652 w 885"/>
                <a:gd name="T9" fmla="*/ 500 h 927"/>
                <a:gd name="T10" fmla="*/ 645 w 885"/>
                <a:gd name="T11" fmla="*/ 652 h 927"/>
                <a:gd name="T12" fmla="*/ 621 w 885"/>
                <a:gd name="T13" fmla="*/ 718 h 927"/>
                <a:gd name="T14" fmla="*/ 511 w 885"/>
                <a:gd name="T15" fmla="*/ 795 h 927"/>
                <a:gd name="T16" fmla="*/ 448 w 885"/>
                <a:gd name="T17" fmla="*/ 802 h 927"/>
                <a:gd name="T18" fmla="*/ 272 w 885"/>
                <a:gd name="T19" fmla="*/ 726 h 927"/>
                <a:gd name="T20" fmla="*/ 240 w 885"/>
                <a:gd name="T21" fmla="*/ 562 h 927"/>
                <a:gd name="T22" fmla="*/ 239 w 885"/>
                <a:gd name="T23" fmla="*/ 488 h 927"/>
                <a:gd name="T24" fmla="*/ 239 w 885"/>
                <a:gd name="T25" fmla="*/ 218 h 927"/>
                <a:gd name="T26" fmla="*/ 241 w 885"/>
                <a:gd name="T27" fmla="*/ 114 h 927"/>
                <a:gd name="T28" fmla="*/ 248 w 885"/>
                <a:gd name="T29" fmla="*/ 73 h 927"/>
                <a:gd name="T30" fmla="*/ 284 w 885"/>
                <a:gd name="T31" fmla="*/ 8 h 927"/>
                <a:gd name="T32" fmla="*/ 291 w 885"/>
                <a:gd name="T33" fmla="*/ 0 h 927"/>
                <a:gd name="T34" fmla="*/ 0 w 885"/>
                <a:gd name="T35" fmla="*/ 0 h 927"/>
                <a:gd name="T36" fmla="*/ 32 w 885"/>
                <a:gd name="T37" fmla="*/ 36 h 927"/>
                <a:gd name="T38" fmla="*/ 45 w 885"/>
                <a:gd name="T39" fmla="*/ 67 h 927"/>
                <a:gd name="T40" fmla="*/ 51 w 885"/>
                <a:gd name="T41" fmla="*/ 109 h 927"/>
                <a:gd name="T42" fmla="*/ 51 w 885"/>
                <a:gd name="T43" fmla="*/ 164 h 927"/>
                <a:gd name="T44" fmla="*/ 52 w 885"/>
                <a:gd name="T45" fmla="*/ 216 h 927"/>
                <a:gd name="T46" fmla="*/ 52 w 885"/>
                <a:gd name="T47" fmla="*/ 473 h 927"/>
                <a:gd name="T48" fmla="*/ 55 w 885"/>
                <a:gd name="T49" fmla="*/ 631 h 927"/>
                <a:gd name="T50" fmla="*/ 118 w 885"/>
                <a:gd name="T51" fmla="*/ 796 h 927"/>
                <a:gd name="T52" fmla="*/ 435 w 885"/>
                <a:gd name="T53" fmla="*/ 927 h 927"/>
                <a:gd name="T54" fmla="*/ 615 w 885"/>
                <a:gd name="T55" fmla="*/ 898 h 927"/>
                <a:gd name="T56" fmla="*/ 748 w 885"/>
                <a:gd name="T57" fmla="*/ 809 h 927"/>
                <a:gd name="T58" fmla="*/ 821 w 885"/>
                <a:gd name="T59" fmla="*/ 635 h 927"/>
                <a:gd name="T60" fmla="*/ 827 w 885"/>
                <a:gd name="T61" fmla="*/ 475 h 927"/>
                <a:gd name="T62" fmla="*/ 827 w 885"/>
                <a:gd name="T63" fmla="*/ 217 h 927"/>
                <a:gd name="T64" fmla="*/ 826 w 885"/>
                <a:gd name="T65" fmla="*/ 165 h 927"/>
                <a:gd name="T66" fmla="*/ 826 w 885"/>
                <a:gd name="T67" fmla="*/ 155 h 927"/>
                <a:gd name="T68" fmla="*/ 834 w 885"/>
                <a:gd name="T69" fmla="*/ 73 h 927"/>
                <a:gd name="T70" fmla="*/ 849 w 885"/>
                <a:gd name="T71" fmla="*/ 37 h 927"/>
                <a:gd name="T72" fmla="*/ 885 w 885"/>
                <a:gd name="T73" fmla="*/ 0 h 927"/>
                <a:gd name="T74" fmla="*/ 599 w 885"/>
                <a:gd name="T75" fmla="*/ 0 h 927"/>
                <a:gd name="T76" fmla="*/ 631 w 885"/>
                <a:gd name="T77" fmla="*/ 34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5" h="927">
                  <a:moveTo>
                    <a:pt x="631" y="34"/>
                  </a:moveTo>
                  <a:lnTo>
                    <a:pt x="631" y="34"/>
                  </a:lnTo>
                  <a:cubicBezTo>
                    <a:pt x="637" y="44"/>
                    <a:pt x="641" y="54"/>
                    <a:pt x="644" y="65"/>
                  </a:cubicBezTo>
                  <a:cubicBezTo>
                    <a:pt x="650" y="87"/>
                    <a:pt x="652" y="108"/>
                    <a:pt x="652" y="159"/>
                  </a:cubicBezTo>
                  <a:lnTo>
                    <a:pt x="652" y="500"/>
                  </a:lnTo>
                  <a:cubicBezTo>
                    <a:pt x="652" y="573"/>
                    <a:pt x="650" y="617"/>
                    <a:pt x="645" y="652"/>
                  </a:cubicBezTo>
                  <a:cubicBezTo>
                    <a:pt x="641" y="676"/>
                    <a:pt x="633" y="698"/>
                    <a:pt x="621" y="718"/>
                  </a:cubicBezTo>
                  <a:cubicBezTo>
                    <a:pt x="600" y="755"/>
                    <a:pt x="559" y="783"/>
                    <a:pt x="511" y="795"/>
                  </a:cubicBezTo>
                  <a:cubicBezTo>
                    <a:pt x="492" y="800"/>
                    <a:pt x="470" y="802"/>
                    <a:pt x="448" y="802"/>
                  </a:cubicBezTo>
                  <a:cubicBezTo>
                    <a:pt x="371" y="802"/>
                    <a:pt x="304" y="773"/>
                    <a:pt x="272" y="726"/>
                  </a:cubicBezTo>
                  <a:cubicBezTo>
                    <a:pt x="248" y="690"/>
                    <a:pt x="241" y="655"/>
                    <a:pt x="240" y="562"/>
                  </a:cubicBezTo>
                  <a:lnTo>
                    <a:pt x="239" y="488"/>
                  </a:lnTo>
                  <a:lnTo>
                    <a:pt x="239" y="218"/>
                  </a:lnTo>
                  <a:cubicBezTo>
                    <a:pt x="239" y="166"/>
                    <a:pt x="239" y="141"/>
                    <a:pt x="241" y="114"/>
                  </a:cubicBezTo>
                  <a:cubicBezTo>
                    <a:pt x="242" y="98"/>
                    <a:pt x="244" y="84"/>
                    <a:pt x="248" y="73"/>
                  </a:cubicBezTo>
                  <a:cubicBezTo>
                    <a:pt x="254" y="52"/>
                    <a:pt x="269" y="25"/>
                    <a:pt x="284" y="8"/>
                  </a:cubicBezTo>
                  <a:cubicBezTo>
                    <a:pt x="286" y="6"/>
                    <a:pt x="288" y="3"/>
                    <a:pt x="291" y="0"/>
                  </a:cubicBezTo>
                  <a:lnTo>
                    <a:pt x="0" y="0"/>
                  </a:lnTo>
                  <a:cubicBezTo>
                    <a:pt x="18" y="15"/>
                    <a:pt x="23" y="21"/>
                    <a:pt x="32" y="36"/>
                  </a:cubicBezTo>
                  <a:cubicBezTo>
                    <a:pt x="38" y="46"/>
                    <a:pt x="42" y="56"/>
                    <a:pt x="45" y="67"/>
                  </a:cubicBezTo>
                  <a:cubicBezTo>
                    <a:pt x="48" y="81"/>
                    <a:pt x="51" y="95"/>
                    <a:pt x="51" y="109"/>
                  </a:cubicBezTo>
                  <a:cubicBezTo>
                    <a:pt x="51" y="117"/>
                    <a:pt x="51" y="136"/>
                    <a:pt x="51" y="164"/>
                  </a:cubicBezTo>
                  <a:lnTo>
                    <a:pt x="52" y="216"/>
                  </a:lnTo>
                  <a:lnTo>
                    <a:pt x="52" y="473"/>
                  </a:lnTo>
                  <a:cubicBezTo>
                    <a:pt x="52" y="569"/>
                    <a:pt x="52" y="593"/>
                    <a:pt x="55" y="631"/>
                  </a:cubicBezTo>
                  <a:cubicBezTo>
                    <a:pt x="61" y="697"/>
                    <a:pt x="80" y="749"/>
                    <a:pt x="118" y="796"/>
                  </a:cubicBezTo>
                  <a:cubicBezTo>
                    <a:pt x="186" y="882"/>
                    <a:pt x="295" y="927"/>
                    <a:pt x="435" y="927"/>
                  </a:cubicBezTo>
                  <a:cubicBezTo>
                    <a:pt x="501" y="927"/>
                    <a:pt x="566" y="916"/>
                    <a:pt x="615" y="898"/>
                  </a:cubicBezTo>
                  <a:cubicBezTo>
                    <a:pt x="667" y="879"/>
                    <a:pt x="714" y="847"/>
                    <a:pt x="748" y="809"/>
                  </a:cubicBezTo>
                  <a:cubicBezTo>
                    <a:pt x="790" y="763"/>
                    <a:pt x="814" y="705"/>
                    <a:pt x="821" y="635"/>
                  </a:cubicBezTo>
                  <a:cubicBezTo>
                    <a:pt x="825" y="594"/>
                    <a:pt x="827" y="545"/>
                    <a:pt x="827" y="475"/>
                  </a:cubicBezTo>
                  <a:lnTo>
                    <a:pt x="827" y="217"/>
                  </a:lnTo>
                  <a:lnTo>
                    <a:pt x="826" y="165"/>
                  </a:lnTo>
                  <a:lnTo>
                    <a:pt x="826" y="155"/>
                  </a:lnTo>
                  <a:cubicBezTo>
                    <a:pt x="826" y="117"/>
                    <a:pt x="828" y="94"/>
                    <a:pt x="834" y="73"/>
                  </a:cubicBezTo>
                  <a:cubicBezTo>
                    <a:pt x="837" y="61"/>
                    <a:pt x="842" y="48"/>
                    <a:pt x="849" y="37"/>
                  </a:cubicBezTo>
                  <a:cubicBezTo>
                    <a:pt x="859" y="22"/>
                    <a:pt x="866" y="15"/>
                    <a:pt x="885" y="0"/>
                  </a:cubicBezTo>
                  <a:lnTo>
                    <a:pt x="599" y="0"/>
                  </a:lnTo>
                  <a:cubicBezTo>
                    <a:pt x="616" y="13"/>
                    <a:pt x="622" y="20"/>
                    <a:pt x="631"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1" name="Freeform 11">
              <a:extLst>
                <a:ext uri="{FF2B5EF4-FFF2-40B4-BE49-F238E27FC236}">
                  <a16:creationId xmlns:a16="http://schemas.microsoft.com/office/drawing/2014/main" id="{8F41DCD4-C02C-47BC-ADC0-2D3D5527D215}"/>
                </a:ext>
              </a:extLst>
            </p:cNvPr>
            <p:cNvSpPr>
              <a:spLocks/>
            </p:cNvSpPr>
            <p:nvPr userDrawn="1"/>
          </p:nvSpPr>
          <p:spPr bwMode="auto">
            <a:xfrm>
              <a:off x="381" y="197"/>
              <a:ext cx="77" cy="80"/>
            </a:xfrm>
            <a:custGeom>
              <a:avLst/>
              <a:gdLst>
                <a:gd name="T0" fmla="*/ 654 w 865"/>
                <a:gd name="T1" fmla="*/ 771 h 897"/>
                <a:gd name="T2" fmla="*/ 654 w 865"/>
                <a:gd name="T3" fmla="*/ 771 h 897"/>
                <a:gd name="T4" fmla="*/ 513 w 865"/>
                <a:gd name="T5" fmla="*/ 783 h 897"/>
                <a:gd name="T6" fmla="*/ 442 w 865"/>
                <a:gd name="T7" fmla="*/ 784 h 897"/>
                <a:gd name="T8" fmla="*/ 304 w 865"/>
                <a:gd name="T9" fmla="*/ 784 h 897"/>
                <a:gd name="T10" fmla="*/ 848 w 865"/>
                <a:gd name="T11" fmla="*/ 0 h 897"/>
                <a:gd name="T12" fmla="*/ 143 w 865"/>
                <a:gd name="T13" fmla="*/ 0 h 897"/>
                <a:gd name="T14" fmla="*/ 56 w 865"/>
                <a:gd name="T15" fmla="*/ 191 h 897"/>
                <a:gd name="T16" fmla="*/ 121 w 865"/>
                <a:gd name="T17" fmla="*/ 160 h 897"/>
                <a:gd name="T18" fmla="*/ 248 w 865"/>
                <a:gd name="T19" fmla="*/ 124 h 897"/>
                <a:gd name="T20" fmla="*/ 375 w 865"/>
                <a:gd name="T21" fmla="*/ 113 h 897"/>
                <a:gd name="T22" fmla="*/ 444 w 865"/>
                <a:gd name="T23" fmla="*/ 112 h 897"/>
                <a:gd name="T24" fmla="*/ 549 w 865"/>
                <a:gd name="T25" fmla="*/ 112 h 897"/>
                <a:gd name="T26" fmla="*/ 0 w 865"/>
                <a:gd name="T27" fmla="*/ 897 h 897"/>
                <a:gd name="T28" fmla="*/ 776 w 865"/>
                <a:gd name="T29" fmla="*/ 897 h 897"/>
                <a:gd name="T30" fmla="*/ 865 w 865"/>
                <a:gd name="T31" fmla="*/ 692 h 897"/>
                <a:gd name="T32" fmla="*/ 800 w 865"/>
                <a:gd name="T33" fmla="*/ 727 h 897"/>
                <a:gd name="T34" fmla="*/ 654 w 865"/>
                <a:gd name="T35" fmla="*/ 771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 h="897">
                  <a:moveTo>
                    <a:pt x="654" y="771"/>
                  </a:moveTo>
                  <a:lnTo>
                    <a:pt x="654" y="771"/>
                  </a:lnTo>
                  <a:cubicBezTo>
                    <a:pt x="614" y="778"/>
                    <a:pt x="569" y="782"/>
                    <a:pt x="513" y="783"/>
                  </a:cubicBezTo>
                  <a:cubicBezTo>
                    <a:pt x="495" y="784"/>
                    <a:pt x="471" y="784"/>
                    <a:pt x="442" y="784"/>
                  </a:cubicBezTo>
                  <a:lnTo>
                    <a:pt x="304" y="784"/>
                  </a:lnTo>
                  <a:lnTo>
                    <a:pt x="848" y="0"/>
                  </a:lnTo>
                  <a:lnTo>
                    <a:pt x="143" y="0"/>
                  </a:lnTo>
                  <a:lnTo>
                    <a:pt x="56" y="191"/>
                  </a:lnTo>
                  <a:cubicBezTo>
                    <a:pt x="85" y="176"/>
                    <a:pt x="96" y="170"/>
                    <a:pt x="121" y="160"/>
                  </a:cubicBezTo>
                  <a:cubicBezTo>
                    <a:pt x="162" y="144"/>
                    <a:pt x="206" y="132"/>
                    <a:pt x="248" y="124"/>
                  </a:cubicBezTo>
                  <a:cubicBezTo>
                    <a:pt x="285" y="118"/>
                    <a:pt x="319" y="115"/>
                    <a:pt x="375" y="113"/>
                  </a:cubicBezTo>
                  <a:cubicBezTo>
                    <a:pt x="400" y="112"/>
                    <a:pt x="423" y="112"/>
                    <a:pt x="444" y="112"/>
                  </a:cubicBezTo>
                  <a:lnTo>
                    <a:pt x="549" y="112"/>
                  </a:lnTo>
                  <a:lnTo>
                    <a:pt x="0" y="897"/>
                  </a:lnTo>
                  <a:lnTo>
                    <a:pt x="776" y="897"/>
                  </a:lnTo>
                  <a:lnTo>
                    <a:pt x="865" y="692"/>
                  </a:lnTo>
                  <a:cubicBezTo>
                    <a:pt x="834" y="710"/>
                    <a:pt x="823" y="716"/>
                    <a:pt x="800" y="727"/>
                  </a:cubicBezTo>
                  <a:cubicBezTo>
                    <a:pt x="754" y="747"/>
                    <a:pt x="705" y="762"/>
                    <a:pt x="654" y="7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2" name="Freeform 12">
              <a:extLst>
                <a:ext uri="{FF2B5EF4-FFF2-40B4-BE49-F238E27FC236}">
                  <a16:creationId xmlns:a16="http://schemas.microsoft.com/office/drawing/2014/main" id="{CACF2922-39BE-459D-9CAA-F6C785B3EE62}"/>
                </a:ext>
              </a:extLst>
            </p:cNvPr>
            <p:cNvSpPr>
              <a:spLocks noEditPoints="1"/>
            </p:cNvSpPr>
            <p:nvPr userDrawn="1"/>
          </p:nvSpPr>
          <p:spPr bwMode="auto">
            <a:xfrm>
              <a:off x="850" y="167"/>
              <a:ext cx="18" cy="18"/>
            </a:xfrm>
            <a:custGeom>
              <a:avLst/>
              <a:gdLst>
                <a:gd name="T0" fmla="*/ 102 w 203"/>
                <a:gd name="T1" fmla="*/ 189 h 203"/>
                <a:gd name="T2" fmla="*/ 102 w 203"/>
                <a:gd name="T3" fmla="*/ 189 h 203"/>
                <a:gd name="T4" fmla="*/ 17 w 203"/>
                <a:gd name="T5" fmla="*/ 102 h 203"/>
                <a:gd name="T6" fmla="*/ 102 w 203"/>
                <a:gd name="T7" fmla="*/ 15 h 203"/>
                <a:gd name="T8" fmla="*/ 187 w 203"/>
                <a:gd name="T9" fmla="*/ 102 h 203"/>
                <a:gd name="T10" fmla="*/ 102 w 203"/>
                <a:gd name="T11" fmla="*/ 189 h 203"/>
                <a:gd name="T12" fmla="*/ 102 w 203"/>
                <a:gd name="T13" fmla="*/ 189 h 203"/>
                <a:gd name="T14" fmla="*/ 102 w 203"/>
                <a:gd name="T15" fmla="*/ 0 h 203"/>
                <a:gd name="T16" fmla="*/ 102 w 203"/>
                <a:gd name="T17" fmla="*/ 0 h 203"/>
                <a:gd name="T18" fmla="*/ 0 w 203"/>
                <a:gd name="T19" fmla="*/ 102 h 203"/>
                <a:gd name="T20" fmla="*/ 102 w 203"/>
                <a:gd name="T21" fmla="*/ 203 h 203"/>
                <a:gd name="T22" fmla="*/ 203 w 203"/>
                <a:gd name="T23" fmla="*/ 102 h 203"/>
                <a:gd name="T24" fmla="*/ 102 w 203"/>
                <a:gd name="T2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203">
                  <a:moveTo>
                    <a:pt x="102" y="189"/>
                  </a:moveTo>
                  <a:lnTo>
                    <a:pt x="102" y="189"/>
                  </a:lnTo>
                  <a:cubicBezTo>
                    <a:pt x="54" y="189"/>
                    <a:pt x="17" y="154"/>
                    <a:pt x="17" y="102"/>
                  </a:cubicBezTo>
                  <a:cubicBezTo>
                    <a:pt x="17" y="50"/>
                    <a:pt x="54" y="15"/>
                    <a:pt x="102" y="15"/>
                  </a:cubicBezTo>
                  <a:cubicBezTo>
                    <a:pt x="150" y="15"/>
                    <a:pt x="187" y="50"/>
                    <a:pt x="187" y="102"/>
                  </a:cubicBezTo>
                  <a:cubicBezTo>
                    <a:pt x="187" y="154"/>
                    <a:pt x="150" y="189"/>
                    <a:pt x="102" y="189"/>
                  </a:cubicBezTo>
                  <a:lnTo>
                    <a:pt x="102" y="189"/>
                  </a:lnTo>
                  <a:close/>
                  <a:moveTo>
                    <a:pt x="102" y="0"/>
                  </a:moveTo>
                  <a:lnTo>
                    <a:pt x="102" y="0"/>
                  </a:lnTo>
                  <a:cubicBezTo>
                    <a:pt x="46" y="0"/>
                    <a:pt x="0" y="42"/>
                    <a:pt x="0" y="102"/>
                  </a:cubicBezTo>
                  <a:cubicBezTo>
                    <a:pt x="0" y="162"/>
                    <a:pt x="46" y="203"/>
                    <a:pt x="102" y="203"/>
                  </a:cubicBezTo>
                  <a:cubicBezTo>
                    <a:pt x="158" y="203"/>
                    <a:pt x="203" y="162"/>
                    <a:pt x="203" y="102"/>
                  </a:cubicBezTo>
                  <a:cubicBezTo>
                    <a:pt x="203" y="42"/>
                    <a:pt x="158" y="0"/>
                    <a:pt x="10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3" name="Freeform 13">
              <a:extLst>
                <a:ext uri="{FF2B5EF4-FFF2-40B4-BE49-F238E27FC236}">
                  <a16:creationId xmlns:a16="http://schemas.microsoft.com/office/drawing/2014/main" id="{6BFE5966-9EDE-4263-B828-6ECA17B3DF14}"/>
                </a:ext>
              </a:extLst>
            </p:cNvPr>
            <p:cNvSpPr>
              <a:spLocks noEditPoints="1"/>
            </p:cNvSpPr>
            <p:nvPr userDrawn="1"/>
          </p:nvSpPr>
          <p:spPr bwMode="auto">
            <a:xfrm>
              <a:off x="856" y="171"/>
              <a:ext cx="7" cy="9"/>
            </a:xfrm>
            <a:custGeom>
              <a:avLst/>
              <a:gdLst>
                <a:gd name="T0" fmla="*/ 40 w 87"/>
                <a:gd name="T1" fmla="*/ 50 h 107"/>
                <a:gd name="T2" fmla="*/ 40 w 87"/>
                <a:gd name="T3" fmla="*/ 50 h 107"/>
                <a:gd name="T4" fmla="*/ 15 w 87"/>
                <a:gd name="T5" fmla="*/ 50 h 107"/>
                <a:gd name="T6" fmla="*/ 15 w 87"/>
                <a:gd name="T7" fmla="*/ 16 h 107"/>
                <a:gd name="T8" fmla="*/ 38 w 87"/>
                <a:gd name="T9" fmla="*/ 16 h 107"/>
                <a:gd name="T10" fmla="*/ 66 w 87"/>
                <a:gd name="T11" fmla="*/ 33 h 107"/>
                <a:gd name="T12" fmla="*/ 40 w 87"/>
                <a:gd name="T13" fmla="*/ 50 h 107"/>
                <a:gd name="T14" fmla="*/ 40 w 87"/>
                <a:gd name="T15" fmla="*/ 50 h 107"/>
                <a:gd name="T16" fmla="*/ 83 w 87"/>
                <a:gd name="T17" fmla="*/ 33 h 107"/>
                <a:gd name="T18" fmla="*/ 83 w 87"/>
                <a:gd name="T19" fmla="*/ 33 h 107"/>
                <a:gd name="T20" fmla="*/ 32 w 87"/>
                <a:gd name="T21" fmla="*/ 0 h 107"/>
                <a:gd name="T22" fmla="*/ 0 w 87"/>
                <a:gd name="T23" fmla="*/ 0 h 107"/>
                <a:gd name="T24" fmla="*/ 0 w 87"/>
                <a:gd name="T25" fmla="*/ 107 h 107"/>
                <a:gd name="T26" fmla="*/ 15 w 87"/>
                <a:gd name="T27" fmla="*/ 107 h 107"/>
                <a:gd name="T28" fmla="*/ 15 w 87"/>
                <a:gd name="T29" fmla="*/ 66 h 107"/>
                <a:gd name="T30" fmla="*/ 44 w 87"/>
                <a:gd name="T31" fmla="*/ 66 h 107"/>
                <a:gd name="T32" fmla="*/ 46 w 87"/>
                <a:gd name="T33" fmla="*/ 65 h 107"/>
                <a:gd name="T34" fmla="*/ 69 w 87"/>
                <a:gd name="T35" fmla="*/ 107 h 107"/>
                <a:gd name="T36" fmla="*/ 87 w 87"/>
                <a:gd name="T37" fmla="*/ 107 h 107"/>
                <a:gd name="T38" fmla="*/ 62 w 87"/>
                <a:gd name="T39" fmla="*/ 62 h 107"/>
                <a:gd name="T40" fmla="*/ 83 w 87"/>
                <a:gd name="T41"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107">
                  <a:moveTo>
                    <a:pt x="40" y="50"/>
                  </a:moveTo>
                  <a:lnTo>
                    <a:pt x="40" y="50"/>
                  </a:lnTo>
                  <a:lnTo>
                    <a:pt x="15" y="50"/>
                  </a:lnTo>
                  <a:lnTo>
                    <a:pt x="15" y="16"/>
                  </a:lnTo>
                  <a:lnTo>
                    <a:pt x="38" y="16"/>
                  </a:lnTo>
                  <a:cubicBezTo>
                    <a:pt x="54" y="16"/>
                    <a:pt x="66" y="19"/>
                    <a:pt x="66" y="33"/>
                  </a:cubicBezTo>
                  <a:cubicBezTo>
                    <a:pt x="66" y="45"/>
                    <a:pt x="58" y="50"/>
                    <a:pt x="40" y="50"/>
                  </a:cubicBezTo>
                  <a:lnTo>
                    <a:pt x="40" y="50"/>
                  </a:lnTo>
                  <a:close/>
                  <a:moveTo>
                    <a:pt x="83" y="33"/>
                  </a:moveTo>
                  <a:lnTo>
                    <a:pt x="83" y="33"/>
                  </a:lnTo>
                  <a:cubicBezTo>
                    <a:pt x="83" y="5"/>
                    <a:pt x="64" y="0"/>
                    <a:pt x="32" y="0"/>
                  </a:cubicBezTo>
                  <a:lnTo>
                    <a:pt x="0" y="0"/>
                  </a:lnTo>
                  <a:lnTo>
                    <a:pt x="0" y="107"/>
                  </a:lnTo>
                  <a:lnTo>
                    <a:pt x="15" y="107"/>
                  </a:lnTo>
                  <a:lnTo>
                    <a:pt x="15" y="66"/>
                  </a:lnTo>
                  <a:lnTo>
                    <a:pt x="44" y="66"/>
                  </a:lnTo>
                  <a:cubicBezTo>
                    <a:pt x="45" y="66"/>
                    <a:pt x="46" y="66"/>
                    <a:pt x="46" y="65"/>
                  </a:cubicBezTo>
                  <a:lnTo>
                    <a:pt x="69" y="107"/>
                  </a:lnTo>
                  <a:lnTo>
                    <a:pt x="87" y="107"/>
                  </a:lnTo>
                  <a:lnTo>
                    <a:pt x="62" y="62"/>
                  </a:lnTo>
                  <a:cubicBezTo>
                    <a:pt x="76" y="56"/>
                    <a:pt x="83" y="45"/>
                    <a:pt x="83" y="3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grpSp>
    </p:spTree>
    <p:extLst>
      <p:ext uri="{BB962C8B-B14F-4D97-AF65-F5344CB8AC3E}">
        <p14:creationId xmlns:p14="http://schemas.microsoft.com/office/powerpoint/2010/main" val="351900575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3" name="Content Placeholder 2"/>
          <p:cNvSpPr>
            <a:spLocks noGrp="1"/>
          </p:cNvSpPr>
          <p:nvPr>
            <p:ph idx="1"/>
          </p:nvPr>
        </p:nvSpPr>
        <p:spPr>
          <a:xfrm>
            <a:off x="259451" y="1205994"/>
            <a:ext cx="11518145" cy="5040145"/>
          </a:xfrm>
        </p:spPr>
        <p:txBody>
          <a:bodyPr/>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21" name="Title 1">
            <a:extLst>
              <a:ext uri="{FF2B5EF4-FFF2-40B4-BE49-F238E27FC236}">
                <a16:creationId xmlns:a16="http://schemas.microsoft.com/office/drawing/2014/main" id="{29FBF581-E754-574B-A309-6F2FB382E481}"/>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nl-NL"/>
              <a:t>Klik om stijl te bewerken</a:t>
            </a:r>
            <a:endParaRPr lang="en-US"/>
          </a:p>
        </p:txBody>
      </p:sp>
      <p:sp>
        <p:nvSpPr>
          <p:cNvPr id="22" name="Subtitle 2">
            <a:extLst>
              <a:ext uri="{FF2B5EF4-FFF2-40B4-BE49-F238E27FC236}">
                <a16:creationId xmlns:a16="http://schemas.microsoft.com/office/drawing/2014/main" id="{60580A64-4AC1-D547-A7C8-FF2A5434D2C5}"/>
              </a:ext>
            </a:extLst>
          </p:cNvPr>
          <p:cNvSpPr>
            <a:spLocks noGrp="1"/>
          </p:cNvSpPr>
          <p:nvPr>
            <p:ph type="subTitle" idx="13"/>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nl-NL"/>
              <a:t>Klikken om de ondertitelstijl van het model te bewerken</a:t>
            </a:r>
            <a:endParaRPr lang="en-GB" noProof="0"/>
          </a:p>
        </p:txBody>
      </p:sp>
      <p:grpSp>
        <p:nvGrpSpPr>
          <p:cNvPr id="20" name="Group 4">
            <a:extLst>
              <a:ext uri="{FF2B5EF4-FFF2-40B4-BE49-F238E27FC236}">
                <a16:creationId xmlns:a16="http://schemas.microsoft.com/office/drawing/2014/main" id="{94606C33-87B8-4AFF-AF8D-3BA9B6C21CD8}"/>
              </a:ext>
            </a:extLst>
          </p:cNvPr>
          <p:cNvGrpSpPr>
            <a:grpSpLocks noChangeAspect="1"/>
          </p:cNvGrpSpPr>
          <p:nvPr userDrawn="1"/>
        </p:nvGrpSpPr>
        <p:grpSpPr bwMode="auto">
          <a:xfrm>
            <a:off x="10178596" y="158751"/>
            <a:ext cx="1773767" cy="683683"/>
            <a:chOff x="79" y="75"/>
            <a:chExt cx="838" cy="323"/>
          </a:xfrm>
          <a:solidFill>
            <a:schemeClr val="accent1"/>
          </a:solidFill>
        </p:grpSpPr>
        <p:sp>
          <p:nvSpPr>
            <p:cNvPr id="23" name="AutoShape 3">
              <a:extLst>
                <a:ext uri="{FF2B5EF4-FFF2-40B4-BE49-F238E27FC236}">
                  <a16:creationId xmlns:a16="http://schemas.microsoft.com/office/drawing/2014/main" id="{D6138836-BE78-42EE-AA1D-2F9DE86593DD}"/>
                </a:ext>
              </a:extLst>
            </p:cNvPr>
            <p:cNvSpPr>
              <a:spLocks noChangeAspect="1" noChangeArrowheads="1" noTextEdit="1"/>
            </p:cNvSpPr>
            <p:nvPr userDrawn="1"/>
          </p:nvSpPr>
          <p:spPr bwMode="auto">
            <a:xfrm>
              <a:off x="79" y="75"/>
              <a:ext cx="838" cy="32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4" name="Freeform 5">
              <a:extLst>
                <a:ext uri="{FF2B5EF4-FFF2-40B4-BE49-F238E27FC236}">
                  <a16:creationId xmlns:a16="http://schemas.microsoft.com/office/drawing/2014/main" id="{50A847EF-9D82-48C0-8807-DD2B588CD811}"/>
                </a:ext>
              </a:extLst>
            </p:cNvPr>
            <p:cNvSpPr>
              <a:spLocks/>
            </p:cNvSpPr>
            <p:nvPr userDrawn="1"/>
          </p:nvSpPr>
          <p:spPr bwMode="auto">
            <a:xfrm>
              <a:off x="159" y="155"/>
              <a:ext cx="163" cy="164"/>
            </a:xfrm>
            <a:custGeom>
              <a:avLst/>
              <a:gdLst>
                <a:gd name="T0" fmla="*/ 920 w 1841"/>
                <a:gd name="T1" fmla="*/ 0 h 1842"/>
                <a:gd name="T2" fmla="*/ 920 w 1841"/>
                <a:gd name="T3" fmla="*/ 0 h 1842"/>
                <a:gd name="T4" fmla="*/ 0 w 1841"/>
                <a:gd name="T5" fmla="*/ 921 h 1842"/>
                <a:gd name="T6" fmla="*/ 0 w 1841"/>
                <a:gd name="T7" fmla="*/ 921 h 1842"/>
                <a:gd name="T8" fmla="*/ 188 w 1841"/>
                <a:gd name="T9" fmla="*/ 1479 h 1842"/>
                <a:gd name="T10" fmla="*/ 954 w 1841"/>
                <a:gd name="T11" fmla="*/ 473 h 1842"/>
                <a:gd name="T12" fmla="*/ 871 w 1841"/>
                <a:gd name="T13" fmla="*/ 474 h 1842"/>
                <a:gd name="T14" fmla="*/ 790 w 1841"/>
                <a:gd name="T15" fmla="*/ 473 h 1842"/>
                <a:gd name="T16" fmla="*/ 561 w 1841"/>
                <a:gd name="T17" fmla="*/ 491 h 1842"/>
                <a:gd name="T18" fmla="*/ 467 w 1841"/>
                <a:gd name="T19" fmla="*/ 530 h 1842"/>
                <a:gd name="T20" fmla="*/ 374 w 1841"/>
                <a:gd name="T21" fmla="*/ 641 h 1842"/>
                <a:gd name="T22" fmla="*/ 361 w 1841"/>
                <a:gd name="T23" fmla="*/ 665 h 1842"/>
                <a:gd name="T24" fmla="*/ 316 w 1841"/>
                <a:gd name="T25" fmla="*/ 655 h 1842"/>
                <a:gd name="T26" fmla="*/ 392 w 1841"/>
                <a:gd name="T27" fmla="*/ 366 h 1842"/>
                <a:gd name="T28" fmla="*/ 1350 w 1841"/>
                <a:gd name="T29" fmla="*/ 366 h 1842"/>
                <a:gd name="T30" fmla="*/ 588 w 1841"/>
                <a:gd name="T31" fmla="*/ 1385 h 1842"/>
                <a:gd name="T32" fmla="*/ 698 w 1841"/>
                <a:gd name="T33" fmla="*/ 1379 h 1842"/>
                <a:gd name="T34" fmla="*/ 839 w 1841"/>
                <a:gd name="T35" fmla="*/ 1385 h 1842"/>
                <a:gd name="T36" fmla="*/ 974 w 1841"/>
                <a:gd name="T37" fmla="*/ 1393 h 1842"/>
                <a:gd name="T38" fmla="*/ 1095 w 1841"/>
                <a:gd name="T39" fmla="*/ 1397 h 1842"/>
                <a:gd name="T40" fmla="*/ 1255 w 1841"/>
                <a:gd name="T41" fmla="*/ 1378 h 1842"/>
                <a:gd name="T42" fmla="*/ 1354 w 1841"/>
                <a:gd name="T43" fmla="*/ 1331 h 1842"/>
                <a:gd name="T44" fmla="*/ 1491 w 1841"/>
                <a:gd name="T45" fmla="*/ 1175 h 1842"/>
                <a:gd name="T46" fmla="*/ 1504 w 1841"/>
                <a:gd name="T47" fmla="*/ 1147 h 1842"/>
                <a:gd name="T48" fmla="*/ 1545 w 1841"/>
                <a:gd name="T49" fmla="*/ 1158 h 1842"/>
                <a:gd name="T50" fmla="*/ 1505 w 1841"/>
                <a:gd name="T51" fmla="*/ 1273 h 1842"/>
                <a:gd name="T52" fmla="*/ 1354 w 1841"/>
                <a:gd name="T53" fmla="*/ 1472 h 1842"/>
                <a:gd name="T54" fmla="*/ 1131 w 1841"/>
                <a:gd name="T55" fmla="*/ 1546 h 1842"/>
                <a:gd name="T56" fmla="*/ 1118 w 1841"/>
                <a:gd name="T57" fmla="*/ 1546 h 1842"/>
                <a:gd name="T58" fmla="*/ 854 w 1841"/>
                <a:gd name="T59" fmla="*/ 1518 h 1842"/>
                <a:gd name="T60" fmla="*/ 544 w 1841"/>
                <a:gd name="T61" fmla="*/ 1486 h 1842"/>
                <a:gd name="T62" fmla="*/ 394 w 1841"/>
                <a:gd name="T63" fmla="*/ 1498 h 1842"/>
                <a:gd name="T64" fmla="*/ 242 w 1841"/>
                <a:gd name="T65" fmla="*/ 1543 h 1842"/>
                <a:gd name="T66" fmla="*/ 920 w 1841"/>
                <a:gd name="T67" fmla="*/ 1842 h 1842"/>
                <a:gd name="T68" fmla="*/ 1841 w 1841"/>
                <a:gd name="T69" fmla="*/ 921 h 1842"/>
                <a:gd name="T70" fmla="*/ 920 w 1841"/>
                <a:gd name="T71" fmla="*/ 0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41" h="1842">
                  <a:moveTo>
                    <a:pt x="920" y="0"/>
                  </a:moveTo>
                  <a:lnTo>
                    <a:pt x="920" y="0"/>
                  </a:lnTo>
                  <a:cubicBezTo>
                    <a:pt x="412" y="0"/>
                    <a:pt x="0" y="412"/>
                    <a:pt x="0" y="921"/>
                  </a:cubicBezTo>
                  <a:lnTo>
                    <a:pt x="0" y="921"/>
                  </a:lnTo>
                  <a:cubicBezTo>
                    <a:pt x="0" y="1131"/>
                    <a:pt x="70" y="1325"/>
                    <a:pt x="188" y="1479"/>
                  </a:cubicBezTo>
                  <a:lnTo>
                    <a:pt x="954" y="473"/>
                  </a:lnTo>
                  <a:lnTo>
                    <a:pt x="871" y="474"/>
                  </a:lnTo>
                  <a:lnTo>
                    <a:pt x="790" y="473"/>
                  </a:lnTo>
                  <a:cubicBezTo>
                    <a:pt x="702" y="473"/>
                    <a:pt x="620" y="480"/>
                    <a:pt x="561" y="491"/>
                  </a:cubicBezTo>
                  <a:cubicBezTo>
                    <a:pt x="525" y="498"/>
                    <a:pt x="493" y="511"/>
                    <a:pt x="467" y="530"/>
                  </a:cubicBezTo>
                  <a:cubicBezTo>
                    <a:pt x="437" y="551"/>
                    <a:pt x="399" y="596"/>
                    <a:pt x="374" y="641"/>
                  </a:cubicBezTo>
                  <a:cubicBezTo>
                    <a:pt x="371" y="646"/>
                    <a:pt x="367" y="654"/>
                    <a:pt x="361" y="665"/>
                  </a:cubicBezTo>
                  <a:lnTo>
                    <a:pt x="316" y="655"/>
                  </a:lnTo>
                  <a:lnTo>
                    <a:pt x="392" y="366"/>
                  </a:lnTo>
                  <a:lnTo>
                    <a:pt x="1350" y="366"/>
                  </a:lnTo>
                  <a:lnTo>
                    <a:pt x="588" y="1385"/>
                  </a:lnTo>
                  <a:cubicBezTo>
                    <a:pt x="638" y="1380"/>
                    <a:pt x="658" y="1379"/>
                    <a:pt x="698" y="1379"/>
                  </a:cubicBezTo>
                  <a:cubicBezTo>
                    <a:pt x="729" y="1379"/>
                    <a:pt x="776" y="1381"/>
                    <a:pt x="839" y="1385"/>
                  </a:cubicBezTo>
                  <a:lnTo>
                    <a:pt x="974" y="1393"/>
                  </a:lnTo>
                  <a:cubicBezTo>
                    <a:pt x="1023" y="1396"/>
                    <a:pt x="1064" y="1397"/>
                    <a:pt x="1095" y="1397"/>
                  </a:cubicBezTo>
                  <a:cubicBezTo>
                    <a:pt x="1165" y="1397"/>
                    <a:pt x="1210" y="1392"/>
                    <a:pt x="1255" y="1378"/>
                  </a:cubicBezTo>
                  <a:cubicBezTo>
                    <a:pt x="1290" y="1367"/>
                    <a:pt x="1324" y="1351"/>
                    <a:pt x="1354" y="1331"/>
                  </a:cubicBezTo>
                  <a:cubicBezTo>
                    <a:pt x="1408" y="1293"/>
                    <a:pt x="1460" y="1234"/>
                    <a:pt x="1491" y="1175"/>
                  </a:cubicBezTo>
                  <a:cubicBezTo>
                    <a:pt x="1494" y="1169"/>
                    <a:pt x="1499" y="1160"/>
                    <a:pt x="1504" y="1147"/>
                  </a:cubicBezTo>
                  <a:lnTo>
                    <a:pt x="1545" y="1158"/>
                  </a:lnTo>
                  <a:cubicBezTo>
                    <a:pt x="1532" y="1208"/>
                    <a:pt x="1525" y="1228"/>
                    <a:pt x="1505" y="1273"/>
                  </a:cubicBezTo>
                  <a:cubicBezTo>
                    <a:pt x="1464" y="1364"/>
                    <a:pt x="1417" y="1425"/>
                    <a:pt x="1354" y="1472"/>
                  </a:cubicBezTo>
                  <a:cubicBezTo>
                    <a:pt x="1289" y="1521"/>
                    <a:pt x="1216" y="1544"/>
                    <a:pt x="1131" y="1546"/>
                  </a:cubicBezTo>
                  <a:lnTo>
                    <a:pt x="1118" y="1546"/>
                  </a:lnTo>
                  <a:cubicBezTo>
                    <a:pt x="1055" y="1546"/>
                    <a:pt x="1006" y="1541"/>
                    <a:pt x="854" y="1518"/>
                  </a:cubicBezTo>
                  <a:cubicBezTo>
                    <a:pt x="700" y="1494"/>
                    <a:pt x="621" y="1486"/>
                    <a:pt x="544" y="1486"/>
                  </a:cubicBezTo>
                  <a:cubicBezTo>
                    <a:pt x="492" y="1486"/>
                    <a:pt x="444" y="1490"/>
                    <a:pt x="394" y="1498"/>
                  </a:cubicBezTo>
                  <a:cubicBezTo>
                    <a:pt x="328" y="1508"/>
                    <a:pt x="302" y="1516"/>
                    <a:pt x="242" y="1543"/>
                  </a:cubicBezTo>
                  <a:cubicBezTo>
                    <a:pt x="410" y="1727"/>
                    <a:pt x="652" y="1842"/>
                    <a:pt x="920" y="1842"/>
                  </a:cubicBezTo>
                  <a:cubicBezTo>
                    <a:pt x="1429" y="1842"/>
                    <a:pt x="1841" y="1430"/>
                    <a:pt x="1841" y="921"/>
                  </a:cubicBezTo>
                  <a:cubicBezTo>
                    <a:pt x="1841" y="412"/>
                    <a:pt x="1429" y="0"/>
                    <a:pt x="9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5" name="Freeform 6">
              <a:extLst>
                <a:ext uri="{FF2B5EF4-FFF2-40B4-BE49-F238E27FC236}">
                  <a16:creationId xmlns:a16="http://schemas.microsoft.com/office/drawing/2014/main" id="{7FA11094-2131-4D03-9C37-B2C0B5E8C091}"/>
                </a:ext>
              </a:extLst>
            </p:cNvPr>
            <p:cNvSpPr>
              <a:spLocks/>
            </p:cNvSpPr>
            <p:nvPr userDrawn="1"/>
          </p:nvSpPr>
          <p:spPr bwMode="auto">
            <a:xfrm>
              <a:off x="642" y="197"/>
              <a:ext cx="25" cy="80"/>
            </a:xfrm>
            <a:custGeom>
              <a:avLst/>
              <a:gdLst>
                <a:gd name="T0" fmla="*/ 232 w 288"/>
                <a:gd name="T1" fmla="*/ 166 h 897"/>
                <a:gd name="T2" fmla="*/ 232 w 288"/>
                <a:gd name="T3" fmla="*/ 166 h 897"/>
                <a:gd name="T4" fmla="*/ 241 w 288"/>
                <a:gd name="T5" fmla="*/ 65 h 897"/>
                <a:gd name="T6" fmla="*/ 254 w 288"/>
                <a:gd name="T7" fmla="*/ 37 h 897"/>
                <a:gd name="T8" fmla="*/ 288 w 288"/>
                <a:gd name="T9" fmla="*/ 0 h 897"/>
                <a:gd name="T10" fmla="*/ 0 w 288"/>
                <a:gd name="T11" fmla="*/ 0 h 897"/>
                <a:gd name="T12" fmla="*/ 33 w 288"/>
                <a:gd name="T13" fmla="*/ 35 h 897"/>
                <a:gd name="T14" fmla="*/ 47 w 288"/>
                <a:gd name="T15" fmla="*/ 64 h 897"/>
                <a:gd name="T16" fmla="*/ 56 w 288"/>
                <a:gd name="T17" fmla="*/ 161 h 897"/>
                <a:gd name="T18" fmla="*/ 56 w 288"/>
                <a:gd name="T19" fmla="*/ 215 h 897"/>
                <a:gd name="T20" fmla="*/ 56 w 288"/>
                <a:gd name="T21" fmla="*/ 752 h 897"/>
                <a:gd name="T22" fmla="*/ 42 w 288"/>
                <a:gd name="T23" fmla="*/ 839 h 897"/>
                <a:gd name="T24" fmla="*/ 28 w 288"/>
                <a:gd name="T25" fmla="*/ 865 h 897"/>
                <a:gd name="T26" fmla="*/ 1 w 288"/>
                <a:gd name="T27" fmla="*/ 897 h 897"/>
                <a:gd name="T28" fmla="*/ 285 w 288"/>
                <a:gd name="T29" fmla="*/ 897 h 897"/>
                <a:gd name="T30" fmla="*/ 258 w 288"/>
                <a:gd name="T31" fmla="*/ 865 h 897"/>
                <a:gd name="T32" fmla="*/ 243 w 288"/>
                <a:gd name="T33" fmla="*/ 838 h 897"/>
                <a:gd name="T34" fmla="*/ 231 w 288"/>
                <a:gd name="T35" fmla="*/ 759 h 897"/>
                <a:gd name="T36" fmla="*/ 231 w 288"/>
                <a:gd name="T37" fmla="*/ 218 h 897"/>
                <a:gd name="T38" fmla="*/ 232 w 288"/>
                <a:gd name="T39" fmla="*/ 16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897">
                  <a:moveTo>
                    <a:pt x="232" y="166"/>
                  </a:moveTo>
                  <a:lnTo>
                    <a:pt x="232" y="166"/>
                  </a:lnTo>
                  <a:cubicBezTo>
                    <a:pt x="232" y="106"/>
                    <a:pt x="233" y="89"/>
                    <a:pt x="241" y="65"/>
                  </a:cubicBezTo>
                  <a:cubicBezTo>
                    <a:pt x="244" y="55"/>
                    <a:pt x="248" y="46"/>
                    <a:pt x="254" y="37"/>
                  </a:cubicBezTo>
                  <a:cubicBezTo>
                    <a:pt x="263" y="22"/>
                    <a:pt x="270" y="14"/>
                    <a:pt x="288" y="0"/>
                  </a:cubicBezTo>
                  <a:lnTo>
                    <a:pt x="0" y="0"/>
                  </a:lnTo>
                  <a:cubicBezTo>
                    <a:pt x="18" y="16"/>
                    <a:pt x="24" y="22"/>
                    <a:pt x="33" y="35"/>
                  </a:cubicBezTo>
                  <a:cubicBezTo>
                    <a:pt x="39" y="44"/>
                    <a:pt x="44" y="54"/>
                    <a:pt x="47" y="64"/>
                  </a:cubicBezTo>
                  <a:cubicBezTo>
                    <a:pt x="53" y="86"/>
                    <a:pt x="56" y="108"/>
                    <a:pt x="56" y="161"/>
                  </a:cubicBezTo>
                  <a:cubicBezTo>
                    <a:pt x="56" y="188"/>
                    <a:pt x="56" y="206"/>
                    <a:pt x="56" y="215"/>
                  </a:cubicBezTo>
                  <a:lnTo>
                    <a:pt x="56" y="752"/>
                  </a:lnTo>
                  <a:cubicBezTo>
                    <a:pt x="56" y="784"/>
                    <a:pt x="51" y="817"/>
                    <a:pt x="42" y="839"/>
                  </a:cubicBezTo>
                  <a:cubicBezTo>
                    <a:pt x="39" y="848"/>
                    <a:pt x="34" y="857"/>
                    <a:pt x="28" y="865"/>
                  </a:cubicBezTo>
                  <a:cubicBezTo>
                    <a:pt x="21" y="875"/>
                    <a:pt x="16" y="880"/>
                    <a:pt x="1" y="897"/>
                  </a:cubicBezTo>
                  <a:lnTo>
                    <a:pt x="285" y="897"/>
                  </a:lnTo>
                  <a:cubicBezTo>
                    <a:pt x="271" y="885"/>
                    <a:pt x="266" y="879"/>
                    <a:pt x="258" y="865"/>
                  </a:cubicBezTo>
                  <a:cubicBezTo>
                    <a:pt x="252" y="856"/>
                    <a:pt x="247" y="847"/>
                    <a:pt x="243" y="838"/>
                  </a:cubicBezTo>
                  <a:cubicBezTo>
                    <a:pt x="236" y="817"/>
                    <a:pt x="231" y="787"/>
                    <a:pt x="231" y="759"/>
                  </a:cubicBezTo>
                  <a:lnTo>
                    <a:pt x="231" y="218"/>
                  </a:lnTo>
                  <a:lnTo>
                    <a:pt x="232" y="1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6" name="Freeform 7">
              <a:extLst>
                <a:ext uri="{FF2B5EF4-FFF2-40B4-BE49-F238E27FC236}">
                  <a16:creationId xmlns:a16="http://schemas.microsoft.com/office/drawing/2014/main" id="{0CF24BF3-852E-497F-922A-8CFA13A12B5F}"/>
                </a:ext>
              </a:extLst>
            </p:cNvPr>
            <p:cNvSpPr>
              <a:spLocks/>
            </p:cNvSpPr>
            <p:nvPr userDrawn="1"/>
          </p:nvSpPr>
          <p:spPr bwMode="auto">
            <a:xfrm>
              <a:off x="761" y="197"/>
              <a:ext cx="77" cy="80"/>
            </a:xfrm>
            <a:custGeom>
              <a:avLst/>
              <a:gdLst>
                <a:gd name="T0" fmla="*/ 810 w 869"/>
                <a:gd name="T1" fmla="*/ 165 h 897"/>
                <a:gd name="T2" fmla="*/ 810 w 869"/>
                <a:gd name="T3" fmla="*/ 165 h 897"/>
                <a:gd name="T4" fmla="*/ 819 w 869"/>
                <a:gd name="T5" fmla="*/ 70 h 897"/>
                <a:gd name="T6" fmla="*/ 834 w 869"/>
                <a:gd name="T7" fmla="*/ 37 h 897"/>
                <a:gd name="T8" fmla="*/ 869 w 869"/>
                <a:gd name="T9" fmla="*/ 0 h 897"/>
                <a:gd name="T10" fmla="*/ 576 w 869"/>
                <a:gd name="T11" fmla="*/ 0 h 897"/>
                <a:gd name="T12" fmla="*/ 609 w 869"/>
                <a:gd name="T13" fmla="*/ 36 h 897"/>
                <a:gd name="T14" fmla="*/ 624 w 869"/>
                <a:gd name="T15" fmla="*/ 67 h 897"/>
                <a:gd name="T16" fmla="*/ 634 w 869"/>
                <a:gd name="T17" fmla="*/ 162 h 897"/>
                <a:gd name="T18" fmla="*/ 634 w 869"/>
                <a:gd name="T19" fmla="*/ 379 h 897"/>
                <a:gd name="T20" fmla="*/ 232 w 869"/>
                <a:gd name="T21" fmla="*/ 379 h 897"/>
                <a:gd name="T22" fmla="*/ 232 w 869"/>
                <a:gd name="T23" fmla="*/ 216 h 897"/>
                <a:gd name="T24" fmla="*/ 234 w 869"/>
                <a:gd name="T25" fmla="*/ 109 h 897"/>
                <a:gd name="T26" fmla="*/ 241 w 869"/>
                <a:gd name="T27" fmla="*/ 70 h 897"/>
                <a:gd name="T28" fmla="*/ 278 w 869"/>
                <a:gd name="T29" fmla="*/ 9 h 897"/>
                <a:gd name="T30" fmla="*/ 288 w 869"/>
                <a:gd name="T31" fmla="*/ 0 h 897"/>
                <a:gd name="T32" fmla="*/ 1 w 869"/>
                <a:gd name="T33" fmla="*/ 0 h 897"/>
                <a:gd name="T34" fmla="*/ 30 w 869"/>
                <a:gd name="T35" fmla="*/ 34 h 897"/>
                <a:gd name="T36" fmla="*/ 46 w 869"/>
                <a:gd name="T37" fmla="*/ 64 h 897"/>
                <a:gd name="T38" fmla="*/ 56 w 869"/>
                <a:gd name="T39" fmla="*/ 159 h 897"/>
                <a:gd name="T40" fmla="*/ 57 w 869"/>
                <a:gd name="T41" fmla="*/ 216 h 897"/>
                <a:gd name="T42" fmla="*/ 57 w 869"/>
                <a:gd name="T43" fmla="*/ 707 h 897"/>
                <a:gd name="T44" fmla="*/ 53 w 869"/>
                <a:gd name="T45" fmla="*/ 802 h 897"/>
                <a:gd name="T46" fmla="*/ 44 w 869"/>
                <a:gd name="T47" fmla="*/ 838 h 897"/>
                <a:gd name="T48" fmla="*/ 9 w 869"/>
                <a:gd name="T49" fmla="*/ 888 h 897"/>
                <a:gd name="T50" fmla="*/ 0 w 869"/>
                <a:gd name="T51" fmla="*/ 897 h 897"/>
                <a:gd name="T52" fmla="*/ 284 w 869"/>
                <a:gd name="T53" fmla="*/ 897 h 897"/>
                <a:gd name="T54" fmla="*/ 260 w 869"/>
                <a:gd name="T55" fmla="*/ 867 h 897"/>
                <a:gd name="T56" fmla="*/ 245 w 869"/>
                <a:gd name="T57" fmla="*/ 839 h 897"/>
                <a:gd name="T58" fmla="*/ 232 w 869"/>
                <a:gd name="T59" fmla="*/ 761 h 897"/>
                <a:gd name="T60" fmla="*/ 232 w 869"/>
                <a:gd name="T61" fmla="*/ 707 h 897"/>
                <a:gd name="T62" fmla="*/ 232 w 869"/>
                <a:gd name="T63" fmla="*/ 490 h 897"/>
                <a:gd name="T64" fmla="*/ 634 w 869"/>
                <a:gd name="T65" fmla="*/ 490 h 897"/>
                <a:gd name="T66" fmla="*/ 634 w 869"/>
                <a:gd name="T67" fmla="*/ 709 h 897"/>
                <a:gd name="T68" fmla="*/ 630 w 869"/>
                <a:gd name="T69" fmla="*/ 800 h 897"/>
                <a:gd name="T70" fmla="*/ 620 w 869"/>
                <a:gd name="T71" fmla="*/ 838 h 897"/>
                <a:gd name="T72" fmla="*/ 588 w 869"/>
                <a:gd name="T73" fmla="*/ 885 h 897"/>
                <a:gd name="T74" fmla="*/ 575 w 869"/>
                <a:gd name="T75" fmla="*/ 897 h 897"/>
                <a:gd name="T76" fmla="*/ 862 w 869"/>
                <a:gd name="T77" fmla="*/ 897 h 897"/>
                <a:gd name="T78" fmla="*/ 838 w 869"/>
                <a:gd name="T79" fmla="*/ 869 h 897"/>
                <a:gd name="T80" fmla="*/ 821 w 869"/>
                <a:gd name="T81" fmla="*/ 839 h 897"/>
                <a:gd name="T82" fmla="*/ 810 w 869"/>
                <a:gd name="T83" fmla="*/ 758 h 897"/>
                <a:gd name="T84" fmla="*/ 809 w 869"/>
                <a:gd name="T85" fmla="*/ 712 h 897"/>
                <a:gd name="T86" fmla="*/ 810 w 869"/>
                <a:gd name="T87" fmla="*/ 218 h 897"/>
                <a:gd name="T88" fmla="*/ 810 w 869"/>
                <a:gd name="T89" fmla="*/ 16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9" h="897">
                  <a:moveTo>
                    <a:pt x="810" y="165"/>
                  </a:moveTo>
                  <a:lnTo>
                    <a:pt x="810" y="165"/>
                  </a:lnTo>
                  <a:cubicBezTo>
                    <a:pt x="810" y="125"/>
                    <a:pt x="813" y="95"/>
                    <a:pt x="819" y="70"/>
                  </a:cubicBezTo>
                  <a:cubicBezTo>
                    <a:pt x="823" y="59"/>
                    <a:pt x="828" y="48"/>
                    <a:pt x="834" y="37"/>
                  </a:cubicBezTo>
                  <a:cubicBezTo>
                    <a:pt x="843" y="22"/>
                    <a:pt x="850" y="14"/>
                    <a:pt x="869" y="0"/>
                  </a:cubicBezTo>
                  <a:lnTo>
                    <a:pt x="576" y="0"/>
                  </a:lnTo>
                  <a:cubicBezTo>
                    <a:pt x="593" y="14"/>
                    <a:pt x="599" y="20"/>
                    <a:pt x="609" y="36"/>
                  </a:cubicBezTo>
                  <a:cubicBezTo>
                    <a:pt x="616" y="46"/>
                    <a:pt x="621" y="57"/>
                    <a:pt x="624" y="67"/>
                  </a:cubicBezTo>
                  <a:cubicBezTo>
                    <a:pt x="631" y="88"/>
                    <a:pt x="634" y="115"/>
                    <a:pt x="634" y="162"/>
                  </a:cubicBezTo>
                  <a:lnTo>
                    <a:pt x="634" y="379"/>
                  </a:lnTo>
                  <a:lnTo>
                    <a:pt x="232" y="379"/>
                  </a:lnTo>
                  <a:lnTo>
                    <a:pt x="232" y="216"/>
                  </a:lnTo>
                  <a:cubicBezTo>
                    <a:pt x="232" y="166"/>
                    <a:pt x="232" y="134"/>
                    <a:pt x="234" y="109"/>
                  </a:cubicBezTo>
                  <a:cubicBezTo>
                    <a:pt x="235" y="95"/>
                    <a:pt x="238" y="82"/>
                    <a:pt x="241" y="70"/>
                  </a:cubicBezTo>
                  <a:cubicBezTo>
                    <a:pt x="247" y="51"/>
                    <a:pt x="264" y="24"/>
                    <a:pt x="278" y="9"/>
                  </a:cubicBezTo>
                  <a:cubicBezTo>
                    <a:pt x="280" y="7"/>
                    <a:pt x="284" y="4"/>
                    <a:pt x="288" y="0"/>
                  </a:cubicBezTo>
                  <a:lnTo>
                    <a:pt x="1" y="0"/>
                  </a:lnTo>
                  <a:cubicBezTo>
                    <a:pt x="18" y="17"/>
                    <a:pt x="23" y="23"/>
                    <a:pt x="30" y="34"/>
                  </a:cubicBezTo>
                  <a:cubicBezTo>
                    <a:pt x="37" y="43"/>
                    <a:pt x="42" y="53"/>
                    <a:pt x="46" y="64"/>
                  </a:cubicBezTo>
                  <a:cubicBezTo>
                    <a:pt x="53" y="87"/>
                    <a:pt x="55" y="100"/>
                    <a:pt x="56" y="159"/>
                  </a:cubicBezTo>
                  <a:lnTo>
                    <a:pt x="57" y="216"/>
                  </a:lnTo>
                  <a:lnTo>
                    <a:pt x="57" y="707"/>
                  </a:lnTo>
                  <a:cubicBezTo>
                    <a:pt x="57" y="757"/>
                    <a:pt x="56" y="779"/>
                    <a:pt x="53" y="802"/>
                  </a:cubicBezTo>
                  <a:cubicBezTo>
                    <a:pt x="51" y="814"/>
                    <a:pt x="48" y="825"/>
                    <a:pt x="44" y="838"/>
                  </a:cubicBezTo>
                  <a:cubicBezTo>
                    <a:pt x="37" y="857"/>
                    <a:pt x="26" y="872"/>
                    <a:pt x="9" y="888"/>
                  </a:cubicBezTo>
                  <a:cubicBezTo>
                    <a:pt x="7" y="890"/>
                    <a:pt x="4" y="893"/>
                    <a:pt x="0" y="897"/>
                  </a:cubicBezTo>
                  <a:lnTo>
                    <a:pt x="284" y="897"/>
                  </a:lnTo>
                  <a:cubicBezTo>
                    <a:pt x="271" y="884"/>
                    <a:pt x="267" y="878"/>
                    <a:pt x="260" y="867"/>
                  </a:cubicBezTo>
                  <a:cubicBezTo>
                    <a:pt x="254" y="859"/>
                    <a:pt x="249" y="849"/>
                    <a:pt x="245" y="839"/>
                  </a:cubicBezTo>
                  <a:cubicBezTo>
                    <a:pt x="236" y="815"/>
                    <a:pt x="233" y="799"/>
                    <a:pt x="232" y="761"/>
                  </a:cubicBezTo>
                  <a:cubicBezTo>
                    <a:pt x="232" y="741"/>
                    <a:pt x="232" y="724"/>
                    <a:pt x="232" y="707"/>
                  </a:cubicBezTo>
                  <a:lnTo>
                    <a:pt x="232" y="490"/>
                  </a:lnTo>
                  <a:lnTo>
                    <a:pt x="634" y="490"/>
                  </a:lnTo>
                  <a:lnTo>
                    <a:pt x="634" y="709"/>
                  </a:lnTo>
                  <a:cubicBezTo>
                    <a:pt x="634" y="757"/>
                    <a:pt x="633" y="775"/>
                    <a:pt x="630" y="800"/>
                  </a:cubicBezTo>
                  <a:cubicBezTo>
                    <a:pt x="628" y="813"/>
                    <a:pt x="625" y="826"/>
                    <a:pt x="620" y="838"/>
                  </a:cubicBezTo>
                  <a:cubicBezTo>
                    <a:pt x="613" y="855"/>
                    <a:pt x="603" y="871"/>
                    <a:pt x="588" y="885"/>
                  </a:cubicBezTo>
                  <a:cubicBezTo>
                    <a:pt x="585" y="888"/>
                    <a:pt x="581" y="892"/>
                    <a:pt x="575" y="897"/>
                  </a:cubicBezTo>
                  <a:lnTo>
                    <a:pt x="862" y="897"/>
                  </a:lnTo>
                  <a:cubicBezTo>
                    <a:pt x="850" y="885"/>
                    <a:pt x="846" y="880"/>
                    <a:pt x="838" y="869"/>
                  </a:cubicBezTo>
                  <a:cubicBezTo>
                    <a:pt x="831" y="859"/>
                    <a:pt x="825" y="849"/>
                    <a:pt x="821" y="839"/>
                  </a:cubicBezTo>
                  <a:cubicBezTo>
                    <a:pt x="813" y="818"/>
                    <a:pt x="811" y="803"/>
                    <a:pt x="810" y="758"/>
                  </a:cubicBezTo>
                  <a:cubicBezTo>
                    <a:pt x="809" y="732"/>
                    <a:pt x="809" y="717"/>
                    <a:pt x="809" y="712"/>
                  </a:cubicBezTo>
                  <a:lnTo>
                    <a:pt x="810" y="218"/>
                  </a:lnTo>
                  <a:lnTo>
                    <a:pt x="810" y="16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7" name="Freeform 8">
              <a:extLst>
                <a:ext uri="{FF2B5EF4-FFF2-40B4-BE49-F238E27FC236}">
                  <a16:creationId xmlns:a16="http://schemas.microsoft.com/office/drawing/2014/main" id="{2056438F-B7BB-4821-86E8-0E21E4217BA9}"/>
                </a:ext>
              </a:extLst>
            </p:cNvPr>
            <p:cNvSpPr>
              <a:spLocks noEditPoints="1"/>
            </p:cNvSpPr>
            <p:nvPr userDrawn="1"/>
          </p:nvSpPr>
          <p:spPr bwMode="auto">
            <a:xfrm>
              <a:off x="562" y="197"/>
              <a:ext cx="73" cy="80"/>
            </a:xfrm>
            <a:custGeom>
              <a:avLst/>
              <a:gdLst>
                <a:gd name="T0" fmla="*/ 408 w 822"/>
                <a:gd name="T1" fmla="*/ 395 h 897"/>
                <a:gd name="T2" fmla="*/ 408 w 822"/>
                <a:gd name="T3" fmla="*/ 395 h 897"/>
                <a:gd name="T4" fmla="*/ 295 w 822"/>
                <a:gd name="T5" fmla="*/ 431 h 897"/>
                <a:gd name="T6" fmla="*/ 248 w 822"/>
                <a:gd name="T7" fmla="*/ 435 h 897"/>
                <a:gd name="T8" fmla="*/ 233 w 822"/>
                <a:gd name="T9" fmla="*/ 435 h 897"/>
                <a:gd name="T10" fmla="*/ 233 w 822"/>
                <a:gd name="T11" fmla="*/ 103 h 897"/>
                <a:gd name="T12" fmla="*/ 257 w 822"/>
                <a:gd name="T13" fmla="*/ 102 h 897"/>
                <a:gd name="T14" fmla="*/ 378 w 822"/>
                <a:gd name="T15" fmla="*/ 117 h 897"/>
                <a:gd name="T16" fmla="*/ 439 w 822"/>
                <a:gd name="T17" fmla="*/ 149 h 897"/>
                <a:gd name="T18" fmla="*/ 485 w 822"/>
                <a:gd name="T19" fmla="*/ 260 h 897"/>
                <a:gd name="T20" fmla="*/ 450 w 822"/>
                <a:gd name="T21" fmla="*/ 361 h 897"/>
                <a:gd name="T22" fmla="*/ 408 w 822"/>
                <a:gd name="T23" fmla="*/ 395 h 897"/>
                <a:gd name="T24" fmla="*/ 408 w 822"/>
                <a:gd name="T25" fmla="*/ 395 h 897"/>
                <a:gd name="T26" fmla="*/ 750 w 822"/>
                <a:gd name="T27" fmla="*/ 835 h 897"/>
                <a:gd name="T28" fmla="*/ 750 w 822"/>
                <a:gd name="T29" fmla="*/ 835 h 897"/>
                <a:gd name="T30" fmla="*/ 649 w 822"/>
                <a:gd name="T31" fmla="*/ 730 h 897"/>
                <a:gd name="T32" fmla="*/ 583 w 822"/>
                <a:gd name="T33" fmla="*/ 657 h 897"/>
                <a:gd name="T34" fmla="*/ 444 w 822"/>
                <a:gd name="T35" fmla="*/ 493 h 897"/>
                <a:gd name="T36" fmla="*/ 484 w 822"/>
                <a:gd name="T37" fmla="*/ 480 h 897"/>
                <a:gd name="T38" fmla="*/ 594 w 822"/>
                <a:gd name="T39" fmla="*/ 416 h 897"/>
                <a:gd name="T40" fmla="*/ 665 w 822"/>
                <a:gd name="T41" fmla="*/ 313 h 897"/>
                <a:gd name="T42" fmla="*/ 676 w 822"/>
                <a:gd name="T43" fmla="*/ 244 h 897"/>
                <a:gd name="T44" fmla="*/ 615 w 822"/>
                <a:gd name="T45" fmla="*/ 97 h 897"/>
                <a:gd name="T46" fmla="*/ 470 w 822"/>
                <a:gd name="T47" fmla="*/ 16 h 897"/>
                <a:gd name="T48" fmla="*/ 316 w 822"/>
                <a:gd name="T49" fmla="*/ 1 h 897"/>
                <a:gd name="T50" fmla="*/ 233 w 822"/>
                <a:gd name="T51" fmla="*/ 0 h 897"/>
                <a:gd name="T52" fmla="*/ 2 w 822"/>
                <a:gd name="T53" fmla="*/ 0 h 897"/>
                <a:gd name="T54" fmla="*/ 32 w 822"/>
                <a:gd name="T55" fmla="*/ 33 h 897"/>
                <a:gd name="T56" fmla="*/ 47 w 822"/>
                <a:gd name="T57" fmla="*/ 66 h 897"/>
                <a:gd name="T58" fmla="*/ 56 w 822"/>
                <a:gd name="T59" fmla="*/ 162 h 897"/>
                <a:gd name="T60" fmla="*/ 56 w 822"/>
                <a:gd name="T61" fmla="*/ 750 h 897"/>
                <a:gd name="T62" fmla="*/ 46 w 822"/>
                <a:gd name="T63" fmla="*/ 837 h 897"/>
                <a:gd name="T64" fmla="*/ 31 w 822"/>
                <a:gd name="T65" fmla="*/ 865 h 897"/>
                <a:gd name="T66" fmla="*/ 0 w 822"/>
                <a:gd name="T67" fmla="*/ 897 h 897"/>
                <a:gd name="T68" fmla="*/ 285 w 822"/>
                <a:gd name="T69" fmla="*/ 897 h 897"/>
                <a:gd name="T70" fmla="*/ 261 w 822"/>
                <a:gd name="T71" fmla="*/ 867 h 897"/>
                <a:gd name="T72" fmla="*/ 245 w 822"/>
                <a:gd name="T73" fmla="*/ 840 h 897"/>
                <a:gd name="T74" fmla="*/ 234 w 822"/>
                <a:gd name="T75" fmla="*/ 757 h 897"/>
                <a:gd name="T76" fmla="*/ 233 w 822"/>
                <a:gd name="T77" fmla="*/ 712 h 897"/>
                <a:gd name="T78" fmla="*/ 233 w 822"/>
                <a:gd name="T79" fmla="*/ 510 h 897"/>
                <a:gd name="T80" fmla="*/ 400 w 822"/>
                <a:gd name="T81" fmla="*/ 710 h 897"/>
                <a:gd name="T82" fmla="*/ 437 w 822"/>
                <a:gd name="T83" fmla="*/ 753 h 897"/>
                <a:gd name="T84" fmla="*/ 481 w 822"/>
                <a:gd name="T85" fmla="*/ 801 h 897"/>
                <a:gd name="T86" fmla="*/ 573 w 822"/>
                <a:gd name="T87" fmla="*/ 875 h 897"/>
                <a:gd name="T88" fmla="*/ 662 w 822"/>
                <a:gd name="T89" fmla="*/ 896 h 897"/>
                <a:gd name="T90" fmla="*/ 709 w 822"/>
                <a:gd name="T91" fmla="*/ 897 h 897"/>
                <a:gd name="T92" fmla="*/ 822 w 822"/>
                <a:gd name="T93" fmla="*/ 897 h 897"/>
                <a:gd name="T94" fmla="*/ 789 w 822"/>
                <a:gd name="T95" fmla="*/ 870 h 897"/>
                <a:gd name="T96" fmla="*/ 750 w 822"/>
                <a:gd name="T97" fmla="*/ 83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897">
                  <a:moveTo>
                    <a:pt x="408" y="395"/>
                  </a:moveTo>
                  <a:lnTo>
                    <a:pt x="408" y="395"/>
                  </a:lnTo>
                  <a:cubicBezTo>
                    <a:pt x="376" y="413"/>
                    <a:pt x="343" y="424"/>
                    <a:pt x="295" y="431"/>
                  </a:cubicBezTo>
                  <a:cubicBezTo>
                    <a:pt x="277" y="434"/>
                    <a:pt x="261" y="435"/>
                    <a:pt x="248" y="435"/>
                  </a:cubicBezTo>
                  <a:cubicBezTo>
                    <a:pt x="243" y="435"/>
                    <a:pt x="240" y="435"/>
                    <a:pt x="233" y="435"/>
                  </a:cubicBezTo>
                  <a:lnTo>
                    <a:pt x="233" y="103"/>
                  </a:lnTo>
                  <a:cubicBezTo>
                    <a:pt x="245" y="102"/>
                    <a:pt x="249" y="102"/>
                    <a:pt x="257" y="102"/>
                  </a:cubicBezTo>
                  <a:cubicBezTo>
                    <a:pt x="301" y="102"/>
                    <a:pt x="344" y="107"/>
                    <a:pt x="378" y="117"/>
                  </a:cubicBezTo>
                  <a:cubicBezTo>
                    <a:pt x="400" y="123"/>
                    <a:pt x="421" y="135"/>
                    <a:pt x="439" y="149"/>
                  </a:cubicBezTo>
                  <a:cubicBezTo>
                    <a:pt x="469" y="175"/>
                    <a:pt x="485" y="213"/>
                    <a:pt x="485" y="260"/>
                  </a:cubicBezTo>
                  <a:cubicBezTo>
                    <a:pt x="485" y="300"/>
                    <a:pt x="473" y="335"/>
                    <a:pt x="450" y="361"/>
                  </a:cubicBezTo>
                  <a:cubicBezTo>
                    <a:pt x="439" y="373"/>
                    <a:pt x="425" y="385"/>
                    <a:pt x="408" y="395"/>
                  </a:cubicBezTo>
                  <a:lnTo>
                    <a:pt x="408" y="395"/>
                  </a:lnTo>
                  <a:close/>
                  <a:moveTo>
                    <a:pt x="750" y="835"/>
                  </a:moveTo>
                  <a:lnTo>
                    <a:pt x="750" y="835"/>
                  </a:lnTo>
                  <a:cubicBezTo>
                    <a:pt x="719" y="804"/>
                    <a:pt x="691" y="776"/>
                    <a:pt x="649" y="730"/>
                  </a:cubicBezTo>
                  <a:cubicBezTo>
                    <a:pt x="622" y="702"/>
                    <a:pt x="600" y="677"/>
                    <a:pt x="583" y="657"/>
                  </a:cubicBezTo>
                  <a:lnTo>
                    <a:pt x="444" y="493"/>
                  </a:lnTo>
                  <a:cubicBezTo>
                    <a:pt x="461" y="488"/>
                    <a:pt x="468" y="486"/>
                    <a:pt x="484" y="480"/>
                  </a:cubicBezTo>
                  <a:cubicBezTo>
                    <a:pt x="529" y="462"/>
                    <a:pt x="563" y="442"/>
                    <a:pt x="594" y="416"/>
                  </a:cubicBezTo>
                  <a:cubicBezTo>
                    <a:pt x="630" y="386"/>
                    <a:pt x="652" y="354"/>
                    <a:pt x="665" y="313"/>
                  </a:cubicBezTo>
                  <a:cubicBezTo>
                    <a:pt x="673" y="291"/>
                    <a:pt x="676" y="267"/>
                    <a:pt x="676" y="244"/>
                  </a:cubicBezTo>
                  <a:cubicBezTo>
                    <a:pt x="676" y="189"/>
                    <a:pt x="656" y="139"/>
                    <a:pt x="615" y="97"/>
                  </a:cubicBezTo>
                  <a:cubicBezTo>
                    <a:pt x="579" y="58"/>
                    <a:pt x="527" y="30"/>
                    <a:pt x="470" y="16"/>
                  </a:cubicBezTo>
                  <a:cubicBezTo>
                    <a:pt x="429" y="7"/>
                    <a:pt x="388" y="2"/>
                    <a:pt x="316" y="1"/>
                  </a:cubicBezTo>
                  <a:cubicBezTo>
                    <a:pt x="289" y="0"/>
                    <a:pt x="262" y="0"/>
                    <a:pt x="233" y="0"/>
                  </a:cubicBezTo>
                  <a:lnTo>
                    <a:pt x="2" y="0"/>
                  </a:lnTo>
                  <a:cubicBezTo>
                    <a:pt x="17" y="14"/>
                    <a:pt x="23" y="20"/>
                    <a:pt x="32" y="33"/>
                  </a:cubicBezTo>
                  <a:cubicBezTo>
                    <a:pt x="38" y="44"/>
                    <a:pt x="44" y="55"/>
                    <a:pt x="47" y="66"/>
                  </a:cubicBezTo>
                  <a:cubicBezTo>
                    <a:pt x="53" y="86"/>
                    <a:pt x="56" y="114"/>
                    <a:pt x="56" y="162"/>
                  </a:cubicBezTo>
                  <a:lnTo>
                    <a:pt x="56" y="750"/>
                  </a:lnTo>
                  <a:cubicBezTo>
                    <a:pt x="56" y="793"/>
                    <a:pt x="53" y="817"/>
                    <a:pt x="46" y="837"/>
                  </a:cubicBezTo>
                  <a:cubicBezTo>
                    <a:pt x="42" y="847"/>
                    <a:pt x="37" y="857"/>
                    <a:pt x="31" y="865"/>
                  </a:cubicBezTo>
                  <a:cubicBezTo>
                    <a:pt x="22" y="876"/>
                    <a:pt x="17" y="882"/>
                    <a:pt x="0" y="897"/>
                  </a:cubicBezTo>
                  <a:lnTo>
                    <a:pt x="285" y="897"/>
                  </a:lnTo>
                  <a:cubicBezTo>
                    <a:pt x="273" y="883"/>
                    <a:pt x="269" y="878"/>
                    <a:pt x="261" y="867"/>
                  </a:cubicBezTo>
                  <a:cubicBezTo>
                    <a:pt x="254" y="859"/>
                    <a:pt x="249" y="850"/>
                    <a:pt x="245" y="840"/>
                  </a:cubicBezTo>
                  <a:cubicBezTo>
                    <a:pt x="238" y="820"/>
                    <a:pt x="234" y="799"/>
                    <a:pt x="234" y="757"/>
                  </a:cubicBezTo>
                  <a:cubicBezTo>
                    <a:pt x="234" y="744"/>
                    <a:pt x="233" y="729"/>
                    <a:pt x="233" y="712"/>
                  </a:cubicBezTo>
                  <a:lnTo>
                    <a:pt x="233" y="510"/>
                  </a:lnTo>
                  <a:lnTo>
                    <a:pt x="400" y="710"/>
                  </a:lnTo>
                  <a:cubicBezTo>
                    <a:pt x="407" y="719"/>
                    <a:pt x="420" y="734"/>
                    <a:pt x="437" y="753"/>
                  </a:cubicBezTo>
                  <a:cubicBezTo>
                    <a:pt x="456" y="775"/>
                    <a:pt x="471" y="791"/>
                    <a:pt x="481" y="801"/>
                  </a:cubicBezTo>
                  <a:cubicBezTo>
                    <a:pt x="513" y="835"/>
                    <a:pt x="543" y="859"/>
                    <a:pt x="573" y="875"/>
                  </a:cubicBezTo>
                  <a:cubicBezTo>
                    <a:pt x="599" y="889"/>
                    <a:pt x="624" y="895"/>
                    <a:pt x="662" y="896"/>
                  </a:cubicBezTo>
                  <a:cubicBezTo>
                    <a:pt x="677" y="897"/>
                    <a:pt x="693" y="897"/>
                    <a:pt x="709" y="897"/>
                  </a:cubicBezTo>
                  <a:lnTo>
                    <a:pt x="822" y="897"/>
                  </a:lnTo>
                  <a:cubicBezTo>
                    <a:pt x="807" y="885"/>
                    <a:pt x="800" y="880"/>
                    <a:pt x="789" y="870"/>
                  </a:cubicBezTo>
                  <a:cubicBezTo>
                    <a:pt x="777" y="859"/>
                    <a:pt x="764" y="848"/>
                    <a:pt x="750" y="8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8" name="Freeform 9">
              <a:extLst>
                <a:ext uri="{FF2B5EF4-FFF2-40B4-BE49-F238E27FC236}">
                  <a16:creationId xmlns:a16="http://schemas.microsoft.com/office/drawing/2014/main" id="{A780C951-A02A-4E5E-A235-A334C27C12CD}"/>
                </a:ext>
              </a:extLst>
            </p:cNvPr>
            <p:cNvSpPr>
              <a:spLocks/>
            </p:cNvSpPr>
            <p:nvPr userDrawn="1"/>
          </p:nvSpPr>
          <p:spPr bwMode="auto">
            <a:xfrm>
              <a:off x="679" y="195"/>
              <a:ext cx="68" cy="84"/>
            </a:xfrm>
            <a:custGeom>
              <a:avLst/>
              <a:gdLst>
                <a:gd name="T0" fmla="*/ 668 w 765"/>
                <a:gd name="T1" fmla="*/ 790 h 944"/>
                <a:gd name="T2" fmla="*/ 668 w 765"/>
                <a:gd name="T3" fmla="*/ 790 h 944"/>
                <a:gd name="T4" fmla="*/ 512 w 765"/>
                <a:gd name="T5" fmla="*/ 823 h 944"/>
                <a:gd name="T6" fmla="*/ 281 w 765"/>
                <a:gd name="T7" fmla="*/ 727 h 944"/>
                <a:gd name="T8" fmla="*/ 191 w 765"/>
                <a:gd name="T9" fmla="*/ 478 h 944"/>
                <a:gd name="T10" fmla="*/ 272 w 765"/>
                <a:gd name="T11" fmla="*/ 236 h 944"/>
                <a:gd name="T12" fmla="*/ 354 w 765"/>
                <a:gd name="T13" fmla="*/ 170 h 944"/>
                <a:gd name="T14" fmla="*/ 527 w 765"/>
                <a:gd name="T15" fmla="*/ 126 h 944"/>
                <a:gd name="T16" fmla="*/ 688 w 765"/>
                <a:gd name="T17" fmla="*/ 159 h 944"/>
                <a:gd name="T18" fmla="*/ 762 w 765"/>
                <a:gd name="T19" fmla="*/ 199 h 944"/>
                <a:gd name="T20" fmla="*/ 762 w 765"/>
                <a:gd name="T21" fmla="*/ 31 h 944"/>
                <a:gd name="T22" fmla="*/ 708 w 765"/>
                <a:gd name="T23" fmla="*/ 16 h 944"/>
                <a:gd name="T24" fmla="*/ 550 w 765"/>
                <a:gd name="T25" fmla="*/ 0 h 944"/>
                <a:gd name="T26" fmla="*/ 294 w 765"/>
                <a:gd name="T27" fmla="*/ 48 h 944"/>
                <a:gd name="T28" fmla="*/ 171 w 765"/>
                <a:gd name="T29" fmla="*/ 121 h 944"/>
                <a:gd name="T30" fmla="*/ 0 w 765"/>
                <a:gd name="T31" fmla="*/ 488 h 944"/>
                <a:gd name="T32" fmla="*/ 164 w 765"/>
                <a:gd name="T33" fmla="*/ 840 h 944"/>
                <a:gd name="T34" fmla="*/ 499 w 765"/>
                <a:gd name="T35" fmla="*/ 944 h 944"/>
                <a:gd name="T36" fmla="*/ 751 w 765"/>
                <a:gd name="T37" fmla="*/ 904 h 944"/>
                <a:gd name="T38" fmla="*/ 765 w 765"/>
                <a:gd name="T39" fmla="*/ 899 h 944"/>
                <a:gd name="T40" fmla="*/ 765 w 765"/>
                <a:gd name="T41" fmla="*/ 736 h 944"/>
                <a:gd name="T42" fmla="*/ 724 w 765"/>
                <a:gd name="T43" fmla="*/ 763 h 944"/>
                <a:gd name="T44" fmla="*/ 668 w 765"/>
                <a:gd name="T45" fmla="*/ 79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5" h="944">
                  <a:moveTo>
                    <a:pt x="668" y="790"/>
                  </a:moveTo>
                  <a:lnTo>
                    <a:pt x="668" y="790"/>
                  </a:lnTo>
                  <a:cubicBezTo>
                    <a:pt x="614" y="813"/>
                    <a:pt x="565" y="823"/>
                    <a:pt x="512" y="823"/>
                  </a:cubicBezTo>
                  <a:cubicBezTo>
                    <a:pt x="419" y="823"/>
                    <a:pt x="340" y="790"/>
                    <a:pt x="281" y="727"/>
                  </a:cubicBezTo>
                  <a:cubicBezTo>
                    <a:pt x="222" y="664"/>
                    <a:pt x="191" y="577"/>
                    <a:pt x="191" y="478"/>
                  </a:cubicBezTo>
                  <a:cubicBezTo>
                    <a:pt x="191" y="384"/>
                    <a:pt x="220" y="297"/>
                    <a:pt x="272" y="236"/>
                  </a:cubicBezTo>
                  <a:cubicBezTo>
                    <a:pt x="295" y="210"/>
                    <a:pt x="322" y="187"/>
                    <a:pt x="354" y="170"/>
                  </a:cubicBezTo>
                  <a:cubicBezTo>
                    <a:pt x="404" y="141"/>
                    <a:pt x="463" y="126"/>
                    <a:pt x="527" y="126"/>
                  </a:cubicBezTo>
                  <a:cubicBezTo>
                    <a:pt x="582" y="126"/>
                    <a:pt x="635" y="137"/>
                    <a:pt x="688" y="159"/>
                  </a:cubicBezTo>
                  <a:cubicBezTo>
                    <a:pt x="722" y="172"/>
                    <a:pt x="734" y="179"/>
                    <a:pt x="762" y="199"/>
                  </a:cubicBezTo>
                  <a:lnTo>
                    <a:pt x="762" y="31"/>
                  </a:lnTo>
                  <a:cubicBezTo>
                    <a:pt x="740" y="24"/>
                    <a:pt x="731" y="21"/>
                    <a:pt x="708" y="16"/>
                  </a:cubicBezTo>
                  <a:cubicBezTo>
                    <a:pt x="656" y="5"/>
                    <a:pt x="606" y="0"/>
                    <a:pt x="550" y="0"/>
                  </a:cubicBezTo>
                  <a:cubicBezTo>
                    <a:pt x="453" y="0"/>
                    <a:pt x="370" y="16"/>
                    <a:pt x="294" y="48"/>
                  </a:cubicBezTo>
                  <a:cubicBezTo>
                    <a:pt x="249" y="67"/>
                    <a:pt x="207" y="91"/>
                    <a:pt x="171" y="121"/>
                  </a:cubicBezTo>
                  <a:cubicBezTo>
                    <a:pt x="60" y="210"/>
                    <a:pt x="0" y="339"/>
                    <a:pt x="0" y="488"/>
                  </a:cubicBezTo>
                  <a:cubicBezTo>
                    <a:pt x="0" y="632"/>
                    <a:pt x="58" y="756"/>
                    <a:pt x="164" y="840"/>
                  </a:cubicBezTo>
                  <a:cubicBezTo>
                    <a:pt x="251" y="909"/>
                    <a:pt x="364" y="944"/>
                    <a:pt x="499" y="944"/>
                  </a:cubicBezTo>
                  <a:cubicBezTo>
                    <a:pt x="583" y="944"/>
                    <a:pt x="662" y="931"/>
                    <a:pt x="751" y="904"/>
                  </a:cubicBezTo>
                  <a:cubicBezTo>
                    <a:pt x="754" y="903"/>
                    <a:pt x="759" y="901"/>
                    <a:pt x="765" y="899"/>
                  </a:cubicBezTo>
                  <a:lnTo>
                    <a:pt x="765" y="736"/>
                  </a:lnTo>
                  <a:cubicBezTo>
                    <a:pt x="744" y="750"/>
                    <a:pt x="736" y="755"/>
                    <a:pt x="724" y="763"/>
                  </a:cubicBezTo>
                  <a:cubicBezTo>
                    <a:pt x="706" y="773"/>
                    <a:pt x="688" y="782"/>
                    <a:pt x="668" y="7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9" name="Freeform 10">
              <a:extLst>
                <a:ext uri="{FF2B5EF4-FFF2-40B4-BE49-F238E27FC236}">
                  <a16:creationId xmlns:a16="http://schemas.microsoft.com/office/drawing/2014/main" id="{DB9A6084-650E-4900-8E17-4B39F7A20DD2}"/>
                </a:ext>
              </a:extLst>
            </p:cNvPr>
            <p:cNvSpPr>
              <a:spLocks/>
            </p:cNvSpPr>
            <p:nvPr userDrawn="1"/>
          </p:nvSpPr>
          <p:spPr bwMode="auto">
            <a:xfrm>
              <a:off x="471" y="197"/>
              <a:ext cx="78" cy="83"/>
            </a:xfrm>
            <a:custGeom>
              <a:avLst/>
              <a:gdLst>
                <a:gd name="T0" fmla="*/ 631 w 885"/>
                <a:gd name="T1" fmla="*/ 34 h 927"/>
                <a:gd name="T2" fmla="*/ 631 w 885"/>
                <a:gd name="T3" fmla="*/ 34 h 927"/>
                <a:gd name="T4" fmla="*/ 644 w 885"/>
                <a:gd name="T5" fmla="*/ 65 h 927"/>
                <a:gd name="T6" fmla="*/ 652 w 885"/>
                <a:gd name="T7" fmla="*/ 159 h 927"/>
                <a:gd name="T8" fmla="*/ 652 w 885"/>
                <a:gd name="T9" fmla="*/ 500 h 927"/>
                <a:gd name="T10" fmla="*/ 645 w 885"/>
                <a:gd name="T11" fmla="*/ 652 h 927"/>
                <a:gd name="T12" fmla="*/ 621 w 885"/>
                <a:gd name="T13" fmla="*/ 718 h 927"/>
                <a:gd name="T14" fmla="*/ 511 w 885"/>
                <a:gd name="T15" fmla="*/ 795 h 927"/>
                <a:gd name="T16" fmla="*/ 448 w 885"/>
                <a:gd name="T17" fmla="*/ 802 h 927"/>
                <a:gd name="T18" fmla="*/ 272 w 885"/>
                <a:gd name="T19" fmla="*/ 726 h 927"/>
                <a:gd name="T20" fmla="*/ 240 w 885"/>
                <a:gd name="T21" fmla="*/ 562 h 927"/>
                <a:gd name="T22" fmla="*/ 239 w 885"/>
                <a:gd name="T23" fmla="*/ 488 h 927"/>
                <a:gd name="T24" fmla="*/ 239 w 885"/>
                <a:gd name="T25" fmla="*/ 218 h 927"/>
                <a:gd name="T26" fmla="*/ 241 w 885"/>
                <a:gd name="T27" fmla="*/ 114 h 927"/>
                <a:gd name="T28" fmla="*/ 248 w 885"/>
                <a:gd name="T29" fmla="*/ 73 h 927"/>
                <a:gd name="T30" fmla="*/ 284 w 885"/>
                <a:gd name="T31" fmla="*/ 8 h 927"/>
                <a:gd name="T32" fmla="*/ 291 w 885"/>
                <a:gd name="T33" fmla="*/ 0 h 927"/>
                <a:gd name="T34" fmla="*/ 0 w 885"/>
                <a:gd name="T35" fmla="*/ 0 h 927"/>
                <a:gd name="T36" fmla="*/ 32 w 885"/>
                <a:gd name="T37" fmla="*/ 36 h 927"/>
                <a:gd name="T38" fmla="*/ 45 w 885"/>
                <a:gd name="T39" fmla="*/ 67 h 927"/>
                <a:gd name="T40" fmla="*/ 51 w 885"/>
                <a:gd name="T41" fmla="*/ 109 h 927"/>
                <a:gd name="T42" fmla="*/ 51 w 885"/>
                <a:gd name="T43" fmla="*/ 164 h 927"/>
                <a:gd name="T44" fmla="*/ 52 w 885"/>
                <a:gd name="T45" fmla="*/ 216 h 927"/>
                <a:gd name="T46" fmla="*/ 52 w 885"/>
                <a:gd name="T47" fmla="*/ 473 h 927"/>
                <a:gd name="T48" fmla="*/ 55 w 885"/>
                <a:gd name="T49" fmla="*/ 631 h 927"/>
                <a:gd name="T50" fmla="*/ 118 w 885"/>
                <a:gd name="T51" fmla="*/ 796 h 927"/>
                <a:gd name="T52" fmla="*/ 435 w 885"/>
                <a:gd name="T53" fmla="*/ 927 h 927"/>
                <a:gd name="T54" fmla="*/ 615 w 885"/>
                <a:gd name="T55" fmla="*/ 898 h 927"/>
                <a:gd name="T56" fmla="*/ 748 w 885"/>
                <a:gd name="T57" fmla="*/ 809 h 927"/>
                <a:gd name="T58" fmla="*/ 821 w 885"/>
                <a:gd name="T59" fmla="*/ 635 h 927"/>
                <a:gd name="T60" fmla="*/ 827 w 885"/>
                <a:gd name="T61" fmla="*/ 475 h 927"/>
                <a:gd name="T62" fmla="*/ 827 w 885"/>
                <a:gd name="T63" fmla="*/ 217 h 927"/>
                <a:gd name="T64" fmla="*/ 826 w 885"/>
                <a:gd name="T65" fmla="*/ 165 h 927"/>
                <a:gd name="T66" fmla="*/ 826 w 885"/>
                <a:gd name="T67" fmla="*/ 155 h 927"/>
                <a:gd name="T68" fmla="*/ 834 w 885"/>
                <a:gd name="T69" fmla="*/ 73 h 927"/>
                <a:gd name="T70" fmla="*/ 849 w 885"/>
                <a:gd name="T71" fmla="*/ 37 h 927"/>
                <a:gd name="T72" fmla="*/ 885 w 885"/>
                <a:gd name="T73" fmla="*/ 0 h 927"/>
                <a:gd name="T74" fmla="*/ 599 w 885"/>
                <a:gd name="T75" fmla="*/ 0 h 927"/>
                <a:gd name="T76" fmla="*/ 631 w 885"/>
                <a:gd name="T77" fmla="*/ 34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5" h="927">
                  <a:moveTo>
                    <a:pt x="631" y="34"/>
                  </a:moveTo>
                  <a:lnTo>
                    <a:pt x="631" y="34"/>
                  </a:lnTo>
                  <a:cubicBezTo>
                    <a:pt x="637" y="44"/>
                    <a:pt x="641" y="54"/>
                    <a:pt x="644" y="65"/>
                  </a:cubicBezTo>
                  <a:cubicBezTo>
                    <a:pt x="650" y="87"/>
                    <a:pt x="652" y="108"/>
                    <a:pt x="652" y="159"/>
                  </a:cubicBezTo>
                  <a:lnTo>
                    <a:pt x="652" y="500"/>
                  </a:lnTo>
                  <a:cubicBezTo>
                    <a:pt x="652" y="573"/>
                    <a:pt x="650" y="617"/>
                    <a:pt x="645" y="652"/>
                  </a:cubicBezTo>
                  <a:cubicBezTo>
                    <a:pt x="641" y="676"/>
                    <a:pt x="633" y="698"/>
                    <a:pt x="621" y="718"/>
                  </a:cubicBezTo>
                  <a:cubicBezTo>
                    <a:pt x="600" y="755"/>
                    <a:pt x="559" y="783"/>
                    <a:pt x="511" y="795"/>
                  </a:cubicBezTo>
                  <a:cubicBezTo>
                    <a:pt x="492" y="800"/>
                    <a:pt x="470" y="802"/>
                    <a:pt x="448" y="802"/>
                  </a:cubicBezTo>
                  <a:cubicBezTo>
                    <a:pt x="371" y="802"/>
                    <a:pt x="304" y="773"/>
                    <a:pt x="272" y="726"/>
                  </a:cubicBezTo>
                  <a:cubicBezTo>
                    <a:pt x="248" y="690"/>
                    <a:pt x="241" y="655"/>
                    <a:pt x="240" y="562"/>
                  </a:cubicBezTo>
                  <a:lnTo>
                    <a:pt x="239" y="488"/>
                  </a:lnTo>
                  <a:lnTo>
                    <a:pt x="239" y="218"/>
                  </a:lnTo>
                  <a:cubicBezTo>
                    <a:pt x="239" y="166"/>
                    <a:pt x="239" y="141"/>
                    <a:pt x="241" y="114"/>
                  </a:cubicBezTo>
                  <a:cubicBezTo>
                    <a:pt x="242" y="98"/>
                    <a:pt x="244" y="84"/>
                    <a:pt x="248" y="73"/>
                  </a:cubicBezTo>
                  <a:cubicBezTo>
                    <a:pt x="254" y="52"/>
                    <a:pt x="269" y="25"/>
                    <a:pt x="284" y="8"/>
                  </a:cubicBezTo>
                  <a:cubicBezTo>
                    <a:pt x="286" y="6"/>
                    <a:pt x="288" y="3"/>
                    <a:pt x="291" y="0"/>
                  </a:cubicBezTo>
                  <a:lnTo>
                    <a:pt x="0" y="0"/>
                  </a:lnTo>
                  <a:cubicBezTo>
                    <a:pt x="18" y="15"/>
                    <a:pt x="23" y="21"/>
                    <a:pt x="32" y="36"/>
                  </a:cubicBezTo>
                  <a:cubicBezTo>
                    <a:pt x="38" y="46"/>
                    <a:pt x="42" y="56"/>
                    <a:pt x="45" y="67"/>
                  </a:cubicBezTo>
                  <a:cubicBezTo>
                    <a:pt x="48" y="81"/>
                    <a:pt x="51" y="95"/>
                    <a:pt x="51" y="109"/>
                  </a:cubicBezTo>
                  <a:cubicBezTo>
                    <a:pt x="51" y="117"/>
                    <a:pt x="51" y="136"/>
                    <a:pt x="51" y="164"/>
                  </a:cubicBezTo>
                  <a:lnTo>
                    <a:pt x="52" y="216"/>
                  </a:lnTo>
                  <a:lnTo>
                    <a:pt x="52" y="473"/>
                  </a:lnTo>
                  <a:cubicBezTo>
                    <a:pt x="52" y="569"/>
                    <a:pt x="52" y="593"/>
                    <a:pt x="55" y="631"/>
                  </a:cubicBezTo>
                  <a:cubicBezTo>
                    <a:pt x="61" y="697"/>
                    <a:pt x="80" y="749"/>
                    <a:pt x="118" y="796"/>
                  </a:cubicBezTo>
                  <a:cubicBezTo>
                    <a:pt x="186" y="882"/>
                    <a:pt x="295" y="927"/>
                    <a:pt x="435" y="927"/>
                  </a:cubicBezTo>
                  <a:cubicBezTo>
                    <a:pt x="501" y="927"/>
                    <a:pt x="566" y="916"/>
                    <a:pt x="615" y="898"/>
                  </a:cubicBezTo>
                  <a:cubicBezTo>
                    <a:pt x="667" y="879"/>
                    <a:pt x="714" y="847"/>
                    <a:pt x="748" y="809"/>
                  </a:cubicBezTo>
                  <a:cubicBezTo>
                    <a:pt x="790" y="763"/>
                    <a:pt x="814" y="705"/>
                    <a:pt x="821" y="635"/>
                  </a:cubicBezTo>
                  <a:cubicBezTo>
                    <a:pt x="825" y="594"/>
                    <a:pt x="827" y="545"/>
                    <a:pt x="827" y="475"/>
                  </a:cubicBezTo>
                  <a:lnTo>
                    <a:pt x="827" y="217"/>
                  </a:lnTo>
                  <a:lnTo>
                    <a:pt x="826" y="165"/>
                  </a:lnTo>
                  <a:lnTo>
                    <a:pt x="826" y="155"/>
                  </a:lnTo>
                  <a:cubicBezTo>
                    <a:pt x="826" y="117"/>
                    <a:pt x="828" y="94"/>
                    <a:pt x="834" y="73"/>
                  </a:cubicBezTo>
                  <a:cubicBezTo>
                    <a:pt x="837" y="61"/>
                    <a:pt x="842" y="48"/>
                    <a:pt x="849" y="37"/>
                  </a:cubicBezTo>
                  <a:cubicBezTo>
                    <a:pt x="859" y="22"/>
                    <a:pt x="866" y="15"/>
                    <a:pt x="885" y="0"/>
                  </a:cubicBezTo>
                  <a:lnTo>
                    <a:pt x="599" y="0"/>
                  </a:lnTo>
                  <a:cubicBezTo>
                    <a:pt x="616" y="13"/>
                    <a:pt x="622" y="20"/>
                    <a:pt x="631"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0" name="Freeform 11">
              <a:extLst>
                <a:ext uri="{FF2B5EF4-FFF2-40B4-BE49-F238E27FC236}">
                  <a16:creationId xmlns:a16="http://schemas.microsoft.com/office/drawing/2014/main" id="{F8192D7D-37FB-4624-877F-4BC4661F25A4}"/>
                </a:ext>
              </a:extLst>
            </p:cNvPr>
            <p:cNvSpPr>
              <a:spLocks/>
            </p:cNvSpPr>
            <p:nvPr userDrawn="1"/>
          </p:nvSpPr>
          <p:spPr bwMode="auto">
            <a:xfrm>
              <a:off x="381" y="197"/>
              <a:ext cx="77" cy="80"/>
            </a:xfrm>
            <a:custGeom>
              <a:avLst/>
              <a:gdLst>
                <a:gd name="T0" fmla="*/ 654 w 865"/>
                <a:gd name="T1" fmla="*/ 771 h 897"/>
                <a:gd name="T2" fmla="*/ 654 w 865"/>
                <a:gd name="T3" fmla="*/ 771 h 897"/>
                <a:gd name="T4" fmla="*/ 513 w 865"/>
                <a:gd name="T5" fmla="*/ 783 h 897"/>
                <a:gd name="T6" fmla="*/ 442 w 865"/>
                <a:gd name="T7" fmla="*/ 784 h 897"/>
                <a:gd name="T8" fmla="*/ 304 w 865"/>
                <a:gd name="T9" fmla="*/ 784 h 897"/>
                <a:gd name="T10" fmla="*/ 848 w 865"/>
                <a:gd name="T11" fmla="*/ 0 h 897"/>
                <a:gd name="T12" fmla="*/ 143 w 865"/>
                <a:gd name="T13" fmla="*/ 0 h 897"/>
                <a:gd name="T14" fmla="*/ 56 w 865"/>
                <a:gd name="T15" fmla="*/ 191 h 897"/>
                <a:gd name="T16" fmla="*/ 121 w 865"/>
                <a:gd name="T17" fmla="*/ 160 h 897"/>
                <a:gd name="T18" fmla="*/ 248 w 865"/>
                <a:gd name="T19" fmla="*/ 124 h 897"/>
                <a:gd name="T20" fmla="*/ 375 w 865"/>
                <a:gd name="T21" fmla="*/ 113 h 897"/>
                <a:gd name="T22" fmla="*/ 444 w 865"/>
                <a:gd name="T23" fmla="*/ 112 h 897"/>
                <a:gd name="T24" fmla="*/ 549 w 865"/>
                <a:gd name="T25" fmla="*/ 112 h 897"/>
                <a:gd name="T26" fmla="*/ 0 w 865"/>
                <a:gd name="T27" fmla="*/ 897 h 897"/>
                <a:gd name="T28" fmla="*/ 776 w 865"/>
                <a:gd name="T29" fmla="*/ 897 h 897"/>
                <a:gd name="T30" fmla="*/ 865 w 865"/>
                <a:gd name="T31" fmla="*/ 692 h 897"/>
                <a:gd name="T32" fmla="*/ 800 w 865"/>
                <a:gd name="T33" fmla="*/ 727 h 897"/>
                <a:gd name="T34" fmla="*/ 654 w 865"/>
                <a:gd name="T35" fmla="*/ 771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 h="897">
                  <a:moveTo>
                    <a:pt x="654" y="771"/>
                  </a:moveTo>
                  <a:lnTo>
                    <a:pt x="654" y="771"/>
                  </a:lnTo>
                  <a:cubicBezTo>
                    <a:pt x="614" y="778"/>
                    <a:pt x="569" y="782"/>
                    <a:pt x="513" y="783"/>
                  </a:cubicBezTo>
                  <a:cubicBezTo>
                    <a:pt x="495" y="784"/>
                    <a:pt x="471" y="784"/>
                    <a:pt x="442" y="784"/>
                  </a:cubicBezTo>
                  <a:lnTo>
                    <a:pt x="304" y="784"/>
                  </a:lnTo>
                  <a:lnTo>
                    <a:pt x="848" y="0"/>
                  </a:lnTo>
                  <a:lnTo>
                    <a:pt x="143" y="0"/>
                  </a:lnTo>
                  <a:lnTo>
                    <a:pt x="56" y="191"/>
                  </a:lnTo>
                  <a:cubicBezTo>
                    <a:pt x="85" y="176"/>
                    <a:pt x="96" y="170"/>
                    <a:pt x="121" y="160"/>
                  </a:cubicBezTo>
                  <a:cubicBezTo>
                    <a:pt x="162" y="144"/>
                    <a:pt x="206" y="132"/>
                    <a:pt x="248" y="124"/>
                  </a:cubicBezTo>
                  <a:cubicBezTo>
                    <a:pt x="285" y="118"/>
                    <a:pt x="319" y="115"/>
                    <a:pt x="375" y="113"/>
                  </a:cubicBezTo>
                  <a:cubicBezTo>
                    <a:pt x="400" y="112"/>
                    <a:pt x="423" y="112"/>
                    <a:pt x="444" y="112"/>
                  </a:cubicBezTo>
                  <a:lnTo>
                    <a:pt x="549" y="112"/>
                  </a:lnTo>
                  <a:lnTo>
                    <a:pt x="0" y="897"/>
                  </a:lnTo>
                  <a:lnTo>
                    <a:pt x="776" y="897"/>
                  </a:lnTo>
                  <a:lnTo>
                    <a:pt x="865" y="692"/>
                  </a:lnTo>
                  <a:cubicBezTo>
                    <a:pt x="834" y="710"/>
                    <a:pt x="823" y="716"/>
                    <a:pt x="800" y="727"/>
                  </a:cubicBezTo>
                  <a:cubicBezTo>
                    <a:pt x="754" y="747"/>
                    <a:pt x="705" y="762"/>
                    <a:pt x="654" y="7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1" name="Freeform 12">
              <a:extLst>
                <a:ext uri="{FF2B5EF4-FFF2-40B4-BE49-F238E27FC236}">
                  <a16:creationId xmlns:a16="http://schemas.microsoft.com/office/drawing/2014/main" id="{8951349E-FD36-4092-B6F6-02B228122ED1}"/>
                </a:ext>
              </a:extLst>
            </p:cNvPr>
            <p:cNvSpPr>
              <a:spLocks noEditPoints="1"/>
            </p:cNvSpPr>
            <p:nvPr userDrawn="1"/>
          </p:nvSpPr>
          <p:spPr bwMode="auto">
            <a:xfrm>
              <a:off x="850" y="167"/>
              <a:ext cx="18" cy="18"/>
            </a:xfrm>
            <a:custGeom>
              <a:avLst/>
              <a:gdLst>
                <a:gd name="T0" fmla="*/ 102 w 203"/>
                <a:gd name="T1" fmla="*/ 189 h 203"/>
                <a:gd name="T2" fmla="*/ 102 w 203"/>
                <a:gd name="T3" fmla="*/ 189 h 203"/>
                <a:gd name="T4" fmla="*/ 17 w 203"/>
                <a:gd name="T5" fmla="*/ 102 h 203"/>
                <a:gd name="T6" fmla="*/ 102 w 203"/>
                <a:gd name="T7" fmla="*/ 15 h 203"/>
                <a:gd name="T8" fmla="*/ 187 w 203"/>
                <a:gd name="T9" fmla="*/ 102 h 203"/>
                <a:gd name="T10" fmla="*/ 102 w 203"/>
                <a:gd name="T11" fmla="*/ 189 h 203"/>
                <a:gd name="T12" fmla="*/ 102 w 203"/>
                <a:gd name="T13" fmla="*/ 189 h 203"/>
                <a:gd name="T14" fmla="*/ 102 w 203"/>
                <a:gd name="T15" fmla="*/ 0 h 203"/>
                <a:gd name="T16" fmla="*/ 102 w 203"/>
                <a:gd name="T17" fmla="*/ 0 h 203"/>
                <a:gd name="T18" fmla="*/ 0 w 203"/>
                <a:gd name="T19" fmla="*/ 102 h 203"/>
                <a:gd name="T20" fmla="*/ 102 w 203"/>
                <a:gd name="T21" fmla="*/ 203 h 203"/>
                <a:gd name="T22" fmla="*/ 203 w 203"/>
                <a:gd name="T23" fmla="*/ 102 h 203"/>
                <a:gd name="T24" fmla="*/ 102 w 203"/>
                <a:gd name="T2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203">
                  <a:moveTo>
                    <a:pt x="102" y="189"/>
                  </a:moveTo>
                  <a:lnTo>
                    <a:pt x="102" y="189"/>
                  </a:lnTo>
                  <a:cubicBezTo>
                    <a:pt x="54" y="189"/>
                    <a:pt x="17" y="154"/>
                    <a:pt x="17" y="102"/>
                  </a:cubicBezTo>
                  <a:cubicBezTo>
                    <a:pt x="17" y="50"/>
                    <a:pt x="54" y="15"/>
                    <a:pt x="102" y="15"/>
                  </a:cubicBezTo>
                  <a:cubicBezTo>
                    <a:pt x="150" y="15"/>
                    <a:pt x="187" y="50"/>
                    <a:pt x="187" y="102"/>
                  </a:cubicBezTo>
                  <a:cubicBezTo>
                    <a:pt x="187" y="154"/>
                    <a:pt x="150" y="189"/>
                    <a:pt x="102" y="189"/>
                  </a:cubicBezTo>
                  <a:lnTo>
                    <a:pt x="102" y="189"/>
                  </a:lnTo>
                  <a:close/>
                  <a:moveTo>
                    <a:pt x="102" y="0"/>
                  </a:moveTo>
                  <a:lnTo>
                    <a:pt x="102" y="0"/>
                  </a:lnTo>
                  <a:cubicBezTo>
                    <a:pt x="46" y="0"/>
                    <a:pt x="0" y="42"/>
                    <a:pt x="0" y="102"/>
                  </a:cubicBezTo>
                  <a:cubicBezTo>
                    <a:pt x="0" y="162"/>
                    <a:pt x="46" y="203"/>
                    <a:pt x="102" y="203"/>
                  </a:cubicBezTo>
                  <a:cubicBezTo>
                    <a:pt x="158" y="203"/>
                    <a:pt x="203" y="162"/>
                    <a:pt x="203" y="102"/>
                  </a:cubicBezTo>
                  <a:cubicBezTo>
                    <a:pt x="203" y="42"/>
                    <a:pt x="158" y="0"/>
                    <a:pt x="10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2" name="Freeform 13">
              <a:extLst>
                <a:ext uri="{FF2B5EF4-FFF2-40B4-BE49-F238E27FC236}">
                  <a16:creationId xmlns:a16="http://schemas.microsoft.com/office/drawing/2014/main" id="{B72629BF-0B35-49EF-A912-DAEE3FADF199}"/>
                </a:ext>
              </a:extLst>
            </p:cNvPr>
            <p:cNvSpPr>
              <a:spLocks noEditPoints="1"/>
            </p:cNvSpPr>
            <p:nvPr userDrawn="1"/>
          </p:nvSpPr>
          <p:spPr bwMode="auto">
            <a:xfrm>
              <a:off x="856" y="171"/>
              <a:ext cx="7" cy="9"/>
            </a:xfrm>
            <a:custGeom>
              <a:avLst/>
              <a:gdLst>
                <a:gd name="T0" fmla="*/ 40 w 87"/>
                <a:gd name="T1" fmla="*/ 50 h 107"/>
                <a:gd name="T2" fmla="*/ 40 w 87"/>
                <a:gd name="T3" fmla="*/ 50 h 107"/>
                <a:gd name="T4" fmla="*/ 15 w 87"/>
                <a:gd name="T5" fmla="*/ 50 h 107"/>
                <a:gd name="T6" fmla="*/ 15 w 87"/>
                <a:gd name="T7" fmla="*/ 16 h 107"/>
                <a:gd name="T8" fmla="*/ 38 w 87"/>
                <a:gd name="T9" fmla="*/ 16 h 107"/>
                <a:gd name="T10" fmla="*/ 66 w 87"/>
                <a:gd name="T11" fmla="*/ 33 h 107"/>
                <a:gd name="T12" fmla="*/ 40 w 87"/>
                <a:gd name="T13" fmla="*/ 50 h 107"/>
                <a:gd name="T14" fmla="*/ 40 w 87"/>
                <a:gd name="T15" fmla="*/ 50 h 107"/>
                <a:gd name="T16" fmla="*/ 83 w 87"/>
                <a:gd name="T17" fmla="*/ 33 h 107"/>
                <a:gd name="T18" fmla="*/ 83 w 87"/>
                <a:gd name="T19" fmla="*/ 33 h 107"/>
                <a:gd name="T20" fmla="*/ 32 w 87"/>
                <a:gd name="T21" fmla="*/ 0 h 107"/>
                <a:gd name="T22" fmla="*/ 0 w 87"/>
                <a:gd name="T23" fmla="*/ 0 h 107"/>
                <a:gd name="T24" fmla="*/ 0 w 87"/>
                <a:gd name="T25" fmla="*/ 107 h 107"/>
                <a:gd name="T26" fmla="*/ 15 w 87"/>
                <a:gd name="T27" fmla="*/ 107 h 107"/>
                <a:gd name="T28" fmla="*/ 15 w 87"/>
                <a:gd name="T29" fmla="*/ 66 h 107"/>
                <a:gd name="T30" fmla="*/ 44 w 87"/>
                <a:gd name="T31" fmla="*/ 66 h 107"/>
                <a:gd name="T32" fmla="*/ 46 w 87"/>
                <a:gd name="T33" fmla="*/ 65 h 107"/>
                <a:gd name="T34" fmla="*/ 69 w 87"/>
                <a:gd name="T35" fmla="*/ 107 h 107"/>
                <a:gd name="T36" fmla="*/ 87 w 87"/>
                <a:gd name="T37" fmla="*/ 107 h 107"/>
                <a:gd name="T38" fmla="*/ 62 w 87"/>
                <a:gd name="T39" fmla="*/ 62 h 107"/>
                <a:gd name="T40" fmla="*/ 83 w 87"/>
                <a:gd name="T41"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107">
                  <a:moveTo>
                    <a:pt x="40" y="50"/>
                  </a:moveTo>
                  <a:lnTo>
                    <a:pt x="40" y="50"/>
                  </a:lnTo>
                  <a:lnTo>
                    <a:pt x="15" y="50"/>
                  </a:lnTo>
                  <a:lnTo>
                    <a:pt x="15" y="16"/>
                  </a:lnTo>
                  <a:lnTo>
                    <a:pt x="38" y="16"/>
                  </a:lnTo>
                  <a:cubicBezTo>
                    <a:pt x="54" y="16"/>
                    <a:pt x="66" y="19"/>
                    <a:pt x="66" y="33"/>
                  </a:cubicBezTo>
                  <a:cubicBezTo>
                    <a:pt x="66" y="45"/>
                    <a:pt x="58" y="50"/>
                    <a:pt x="40" y="50"/>
                  </a:cubicBezTo>
                  <a:lnTo>
                    <a:pt x="40" y="50"/>
                  </a:lnTo>
                  <a:close/>
                  <a:moveTo>
                    <a:pt x="83" y="33"/>
                  </a:moveTo>
                  <a:lnTo>
                    <a:pt x="83" y="33"/>
                  </a:lnTo>
                  <a:cubicBezTo>
                    <a:pt x="83" y="5"/>
                    <a:pt x="64" y="0"/>
                    <a:pt x="32" y="0"/>
                  </a:cubicBezTo>
                  <a:lnTo>
                    <a:pt x="0" y="0"/>
                  </a:lnTo>
                  <a:lnTo>
                    <a:pt x="0" y="107"/>
                  </a:lnTo>
                  <a:lnTo>
                    <a:pt x="15" y="107"/>
                  </a:lnTo>
                  <a:lnTo>
                    <a:pt x="15" y="66"/>
                  </a:lnTo>
                  <a:lnTo>
                    <a:pt x="44" y="66"/>
                  </a:lnTo>
                  <a:cubicBezTo>
                    <a:pt x="45" y="66"/>
                    <a:pt x="46" y="66"/>
                    <a:pt x="46" y="65"/>
                  </a:cubicBezTo>
                  <a:lnTo>
                    <a:pt x="69" y="107"/>
                  </a:lnTo>
                  <a:lnTo>
                    <a:pt x="87" y="107"/>
                  </a:lnTo>
                  <a:lnTo>
                    <a:pt x="62" y="62"/>
                  </a:lnTo>
                  <a:cubicBezTo>
                    <a:pt x="76" y="56"/>
                    <a:pt x="83" y="45"/>
                    <a:pt x="83" y="3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grpSp>
      <p:sp>
        <p:nvSpPr>
          <p:cNvPr id="18" name="Slide Number Placeholder 5">
            <a:extLst>
              <a:ext uri="{FF2B5EF4-FFF2-40B4-BE49-F238E27FC236}">
                <a16:creationId xmlns:a16="http://schemas.microsoft.com/office/drawing/2014/main" id="{9DEE29F2-F280-4686-A9A8-3959443731C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168476318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with Numbers">
    <p:spTree>
      <p:nvGrpSpPr>
        <p:cNvPr id="1" name=""/>
        <p:cNvGrpSpPr/>
        <p:nvPr/>
      </p:nvGrpSpPr>
      <p:grpSpPr>
        <a:xfrm>
          <a:off x="0" y="0"/>
          <a:ext cx="0" cy="0"/>
          <a:chOff x="0" y="0"/>
          <a:chExt cx="0" cy="0"/>
        </a:xfrm>
      </p:grpSpPr>
      <p:sp>
        <p:nvSpPr>
          <p:cNvPr id="2" name="Title 1"/>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nl-NL"/>
              <a:t>Klik om stijl te bewerken</a:t>
            </a:r>
            <a:endParaRPr lang="en-US"/>
          </a:p>
        </p:txBody>
      </p:sp>
      <p:sp>
        <p:nvSpPr>
          <p:cNvPr id="3" name="Content Placeholder 2"/>
          <p:cNvSpPr>
            <a:spLocks noGrp="1"/>
          </p:cNvSpPr>
          <p:nvPr>
            <p:ph idx="1"/>
          </p:nvPr>
        </p:nvSpPr>
        <p:spPr>
          <a:xfrm>
            <a:off x="252658" y="1208576"/>
            <a:ext cx="11518145" cy="5040145"/>
          </a:xfrm>
        </p:spPr>
        <p:txBody>
          <a:bodyPr/>
          <a:lstStyle>
            <a:lvl1pPr marL="269875" indent="-269875">
              <a:buFont typeface="+mj-lt"/>
              <a:buAutoNum type="arabicPeriod"/>
              <a:defRPr sz="1800">
                <a:latin typeface="+mn-lt"/>
                <a:cs typeface="Arial" panose="020B0604020202020204" pitchFamily="34" charset="0"/>
              </a:defRPr>
            </a:lvl1pPr>
            <a:lvl2pPr marL="539750" indent="-269875">
              <a:buFont typeface="+mj-lt"/>
              <a:buAutoNum type="arabicPeriod"/>
              <a:defRPr sz="1600">
                <a:latin typeface="+mn-lt"/>
                <a:cs typeface="Arial" panose="020B0604020202020204" pitchFamily="34" charset="0"/>
              </a:defRPr>
            </a:lvl2pPr>
            <a:lvl3pPr marL="717550" indent="-177800">
              <a:buFont typeface="+mj-lt"/>
              <a:buAutoNum type="arabicPeriod"/>
              <a:tabLst/>
              <a:defRPr sz="1400">
                <a:latin typeface="+mn-lt"/>
                <a:cs typeface="Arial" panose="020B0604020202020204" pitchFamily="34" charset="0"/>
              </a:defRPr>
            </a:lvl3pPr>
            <a:lvl4pPr marL="898525" indent="-180975">
              <a:buFont typeface="+mj-lt"/>
              <a:buAutoNum type="arabicPeriod"/>
              <a:defRPr sz="1200">
                <a:latin typeface="+mn-lt"/>
                <a:cs typeface="Arial" panose="020B0604020202020204" pitchFamily="34" charset="0"/>
              </a:defRPr>
            </a:lvl4pPr>
            <a:lvl5pPr marL="1074738" indent="-176213">
              <a:buFont typeface="+mj-lt"/>
              <a:buAutoNum type="arabicPeriod"/>
              <a:defRPr sz="1200">
                <a:latin typeface="+mn-lt"/>
                <a:cs typeface="Arial" panose="020B0604020202020204" pitchFamily="34" charset="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21" name="Subtitle 2">
            <a:extLst>
              <a:ext uri="{FF2B5EF4-FFF2-40B4-BE49-F238E27FC236}">
                <a16:creationId xmlns:a16="http://schemas.microsoft.com/office/drawing/2014/main" id="{29817F0A-3E21-4700-B3FF-0F0F0F4AA75C}"/>
              </a:ext>
            </a:extLst>
          </p:cNvPr>
          <p:cNvSpPr>
            <a:spLocks noGrp="1"/>
          </p:cNvSpPr>
          <p:nvPr>
            <p:ph type="subTitle" idx="13"/>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nl-NL"/>
              <a:t>Klikken om de ondertitelstijl van het model te bewerken</a:t>
            </a:r>
            <a:endParaRPr lang="en-GB" noProof="0"/>
          </a:p>
        </p:txBody>
      </p:sp>
      <p:grpSp>
        <p:nvGrpSpPr>
          <p:cNvPr id="22" name="Group 4">
            <a:extLst>
              <a:ext uri="{FF2B5EF4-FFF2-40B4-BE49-F238E27FC236}">
                <a16:creationId xmlns:a16="http://schemas.microsoft.com/office/drawing/2014/main" id="{92465776-45A6-44CD-9072-276FCA8C3D74}"/>
              </a:ext>
            </a:extLst>
          </p:cNvPr>
          <p:cNvGrpSpPr>
            <a:grpSpLocks noChangeAspect="1"/>
          </p:cNvGrpSpPr>
          <p:nvPr userDrawn="1"/>
        </p:nvGrpSpPr>
        <p:grpSpPr bwMode="auto">
          <a:xfrm>
            <a:off x="10178596" y="158751"/>
            <a:ext cx="1773767" cy="683683"/>
            <a:chOff x="79" y="75"/>
            <a:chExt cx="838" cy="323"/>
          </a:xfrm>
          <a:solidFill>
            <a:schemeClr val="accent1"/>
          </a:solidFill>
        </p:grpSpPr>
        <p:sp>
          <p:nvSpPr>
            <p:cNvPr id="23" name="AutoShape 3">
              <a:extLst>
                <a:ext uri="{FF2B5EF4-FFF2-40B4-BE49-F238E27FC236}">
                  <a16:creationId xmlns:a16="http://schemas.microsoft.com/office/drawing/2014/main" id="{29825E3F-4B63-406A-A9CC-3401F6AAD4F5}"/>
                </a:ext>
              </a:extLst>
            </p:cNvPr>
            <p:cNvSpPr>
              <a:spLocks noChangeAspect="1" noChangeArrowheads="1" noTextEdit="1"/>
            </p:cNvSpPr>
            <p:nvPr userDrawn="1"/>
          </p:nvSpPr>
          <p:spPr bwMode="auto">
            <a:xfrm>
              <a:off x="79" y="75"/>
              <a:ext cx="838" cy="32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4" name="Freeform 5">
              <a:extLst>
                <a:ext uri="{FF2B5EF4-FFF2-40B4-BE49-F238E27FC236}">
                  <a16:creationId xmlns:a16="http://schemas.microsoft.com/office/drawing/2014/main" id="{39F588E0-375E-40EC-B63E-FA8687F6D1E6}"/>
                </a:ext>
              </a:extLst>
            </p:cNvPr>
            <p:cNvSpPr>
              <a:spLocks/>
            </p:cNvSpPr>
            <p:nvPr userDrawn="1"/>
          </p:nvSpPr>
          <p:spPr bwMode="auto">
            <a:xfrm>
              <a:off x="159" y="155"/>
              <a:ext cx="163" cy="164"/>
            </a:xfrm>
            <a:custGeom>
              <a:avLst/>
              <a:gdLst>
                <a:gd name="T0" fmla="*/ 920 w 1841"/>
                <a:gd name="T1" fmla="*/ 0 h 1842"/>
                <a:gd name="T2" fmla="*/ 920 w 1841"/>
                <a:gd name="T3" fmla="*/ 0 h 1842"/>
                <a:gd name="T4" fmla="*/ 0 w 1841"/>
                <a:gd name="T5" fmla="*/ 921 h 1842"/>
                <a:gd name="T6" fmla="*/ 0 w 1841"/>
                <a:gd name="T7" fmla="*/ 921 h 1842"/>
                <a:gd name="T8" fmla="*/ 188 w 1841"/>
                <a:gd name="T9" fmla="*/ 1479 h 1842"/>
                <a:gd name="T10" fmla="*/ 954 w 1841"/>
                <a:gd name="T11" fmla="*/ 473 h 1842"/>
                <a:gd name="T12" fmla="*/ 871 w 1841"/>
                <a:gd name="T13" fmla="*/ 474 h 1842"/>
                <a:gd name="T14" fmla="*/ 790 w 1841"/>
                <a:gd name="T15" fmla="*/ 473 h 1842"/>
                <a:gd name="T16" fmla="*/ 561 w 1841"/>
                <a:gd name="T17" fmla="*/ 491 h 1842"/>
                <a:gd name="T18" fmla="*/ 467 w 1841"/>
                <a:gd name="T19" fmla="*/ 530 h 1842"/>
                <a:gd name="T20" fmla="*/ 374 w 1841"/>
                <a:gd name="T21" fmla="*/ 641 h 1842"/>
                <a:gd name="T22" fmla="*/ 361 w 1841"/>
                <a:gd name="T23" fmla="*/ 665 h 1842"/>
                <a:gd name="T24" fmla="*/ 316 w 1841"/>
                <a:gd name="T25" fmla="*/ 655 h 1842"/>
                <a:gd name="T26" fmla="*/ 392 w 1841"/>
                <a:gd name="T27" fmla="*/ 366 h 1842"/>
                <a:gd name="T28" fmla="*/ 1350 w 1841"/>
                <a:gd name="T29" fmla="*/ 366 h 1842"/>
                <a:gd name="T30" fmla="*/ 588 w 1841"/>
                <a:gd name="T31" fmla="*/ 1385 h 1842"/>
                <a:gd name="T32" fmla="*/ 698 w 1841"/>
                <a:gd name="T33" fmla="*/ 1379 h 1842"/>
                <a:gd name="T34" fmla="*/ 839 w 1841"/>
                <a:gd name="T35" fmla="*/ 1385 h 1842"/>
                <a:gd name="T36" fmla="*/ 974 w 1841"/>
                <a:gd name="T37" fmla="*/ 1393 h 1842"/>
                <a:gd name="T38" fmla="*/ 1095 w 1841"/>
                <a:gd name="T39" fmla="*/ 1397 h 1842"/>
                <a:gd name="T40" fmla="*/ 1255 w 1841"/>
                <a:gd name="T41" fmla="*/ 1378 h 1842"/>
                <a:gd name="T42" fmla="*/ 1354 w 1841"/>
                <a:gd name="T43" fmla="*/ 1331 h 1842"/>
                <a:gd name="T44" fmla="*/ 1491 w 1841"/>
                <a:gd name="T45" fmla="*/ 1175 h 1842"/>
                <a:gd name="T46" fmla="*/ 1504 w 1841"/>
                <a:gd name="T47" fmla="*/ 1147 h 1842"/>
                <a:gd name="T48" fmla="*/ 1545 w 1841"/>
                <a:gd name="T49" fmla="*/ 1158 h 1842"/>
                <a:gd name="T50" fmla="*/ 1505 w 1841"/>
                <a:gd name="T51" fmla="*/ 1273 h 1842"/>
                <a:gd name="T52" fmla="*/ 1354 w 1841"/>
                <a:gd name="T53" fmla="*/ 1472 h 1842"/>
                <a:gd name="T54" fmla="*/ 1131 w 1841"/>
                <a:gd name="T55" fmla="*/ 1546 h 1842"/>
                <a:gd name="T56" fmla="*/ 1118 w 1841"/>
                <a:gd name="T57" fmla="*/ 1546 h 1842"/>
                <a:gd name="T58" fmla="*/ 854 w 1841"/>
                <a:gd name="T59" fmla="*/ 1518 h 1842"/>
                <a:gd name="T60" fmla="*/ 544 w 1841"/>
                <a:gd name="T61" fmla="*/ 1486 h 1842"/>
                <a:gd name="T62" fmla="*/ 394 w 1841"/>
                <a:gd name="T63" fmla="*/ 1498 h 1842"/>
                <a:gd name="T64" fmla="*/ 242 w 1841"/>
                <a:gd name="T65" fmla="*/ 1543 h 1842"/>
                <a:gd name="T66" fmla="*/ 920 w 1841"/>
                <a:gd name="T67" fmla="*/ 1842 h 1842"/>
                <a:gd name="T68" fmla="*/ 1841 w 1841"/>
                <a:gd name="T69" fmla="*/ 921 h 1842"/>
                <a:gd name="T70" fmla="*/ 920 w 1841"/>
                <a:gd name="T71" fmla="*/ 0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41" h="1842">
                  <a:moveTo>
                    <a:pt x="920" y="0"/>
                  </a:moveTo>
                  <a:lnTo>
                    <a:pt x="920" y="0"/>
                  </a:lnTo>
                  <a:cubicBezTo>
                    <a:pt x="412" y="0"/>
                    <a:pt x="0" y="412"/>
                    <a:pt x="0" y="921"/>
                  </a:cubicBezTo>
                  <a:lnTo>
                    <a:pt x="0" y="921"/>
                  </a:lnTo>
                  <a:cubicBezTo>
                    <a:pt x="0" y="1131"/>
                    <a:pt x="70" y="1325"/>
                    <a:pt x="188" y="1479"/>
                  </a:cubicBezTo>
                  <a:lnTo>
                    <a:pt x="954" y="473"/>
                  </a:lnTo>
                  <a:lnTo>
                    <a:pt x="871" y="474"/>
                  </a:lnTo>
                  <a:lnTo>
                    <a:pt x="790" y="473"/>
                  </a:lnTo>
                  <a:cubicBezTo>
                    <a:pt x="702" y="473"/>
                    <a:pt x="620" y="480"/>
                    <a:pt x="561" y="491"/>
                  </a:cubicBezTo>
                  <a:cubicBezTo>
                    <a:pt x="525" y="498"/>
                    <a:pt x="493" y="511"/>
                    <a:pt x="467" y="530"/>
                  </a:cubicBezTo>
                  <a:cubicBezTo>
                    <a:pt x="437" y="551"/>
                    <a:pt x="399" y="596"/>
                    <a:pt x="374" y="641"/>
                  </a:cubicBezTo>
                  <a:cubicBezTo>
                    <a:pt x="371" y="646"/>
                    <a:pt x="367" y="654"/>
                    <a:pt x="361" y="665"/>
                  </a:cubicBezTo>
                  <a:lnTo>
                    <a:pt x="316" y="655"/>
                  </a:lnTo>
                  <a:lnTo>
                    <a:pt x="392" y="366"/>
                  </a:lnTo>
                  <a:lnTo>
                    <a:pt x="1350" y="366"/>
                  </a:lnTo>
                  <a:lnTo>
                    <a:pt x="588" y="1385"/>
                  </a:lnTo>
                  <a:cubicBezTo>
                    <a:pt x="638" y="1380"/>
                    <a:pt x="658" y="1379"/>
                    <a:pt x="698" y="1379"/>
                  </a:cubicBezTo>
                  <a:cubicBezTo>
                    <a:pt x="729" y="1379"/>
                    <a:pt x="776" y="1381"/>
                    <a:pt x="839" y="1385"/>
                  </a:cubicBezTo>
                  <a:lnTo>
                    <a:pt x="974" y="1393"/>
                  </a:lnTo>
                  <a:cubicBezTo>
                    <a:pt x="1023" y="1396"/>
                    <a:pt x="1064" y="1397"/>
                    <a:pt x="1095" y="1397"/>
                  </a:cubicBezTo>
                  <a:cubicBezTo>
                    <a:pt x="1165" y="1397"/>
                    <a:pt x="1210" y="1392"/>
                    <a:pt x="1255" y="1378"/>
                  </a:cubicBezTo>
                  <a:cubicBezTo>
                    <a:pt x="1290" y="1367"/>
                    <a:pt x="1324" y="1351"/>
                    <a:pt x="1354" y="1331"/>
                  </a:cubicBezTo>
                  <a:cubicBezTo>
                    <a:pt x="1408" y="1293"/>
                    <a:pt x="1460" y="1234"/>
                    <a:pt x="1491" y="1175"/>
                  </a:cubicBezTo>
                  <a:cubicBezTo>
                    <a:pt x="1494" y="1169"/>
                    <a:pt x="1499" y="1160"/>
                    <a:pt x="1504" y="1147"/>
                  </a:cubicBezTo>
                  <a:lnTo>
                    <a:pt x="1545" y="1158"/>
                  </a:lnTo>
                  <a:cubicBezTo>
                    <a:pt x="1532" y="1208"/>
                    <a:pt x="1525" y="1228"/>
                    <a:pt x="1505" y="1273"/>
                  </a:cubicBezTo>
                  <a:cubicBezTo>
                    <a:pt x="1464" y="1364"/>
                    <a:pt x="1417" y="1425"/>
                    <a:pt x="1354" y="1472"/>
                  </a:cubicBezTo>
                  <a:cubicBezTo>
                    <a:pt x="1289" y="1521"/>
                    <a:pt x="1216" y="1544"/>
                    <a:pt x="1131" y="1546"/>
                  </a:cubicBezTo>
                  <a:lnTo>
                    <a:pt x="1118" y="1546"/>
                  </a:lnTo>
                  <a:cubicBezTo>
                    <a:pt x="1055" y="1546"/>
                    <a:pt x="1006" y="1541"/>
                    <a:pt x="854" y="1518"/>
                  </a:cubicBezTo>
                  <a:cubicBezTo>
                    <a:pt x="700" y="1494"/>
                    <a:pt x="621" y="1486"/>
                    <a:pt x="544" y="1486"/>
                  </a:cubicBezTo>
                  <a:cubicBezTo>
                    <a:pt x="492" y="1486"/>
                    <a:pt x="444" y="1490"/>
                    <a:pt x="394" y="1498"/>
                  </a:cubicBezTo>
                  <a:cubicBezTo>
                    <a:pt x="328" y="1508"/>
                    <a:pt x="302" y="1516"/>
                    <a:pt x="242" y="1543"/>
                  </a:cubicBezTo>
                  <a:cubicBezTo>
                    <a:pt x="410" y="1727"/>
                    <a:pt x="652" y="1842"/>
                    <a:pt x="920" y="1842"/>
                  </a:cubicBezTo>
                  <a:cubicBezTo>
                    <a:pt x="1429" y="1842"/>
                    <a:pt x="1841" y="1430"/>
                    <a:pt x="1841" y="921"/>
                  </a:cubicBezTo>
                  <a:cubicBezTo>
                    <a:pt x="1841" y="412"/>
                    <a:pt x="1429" y="0"/>
                    <a:pt x="9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5" name="Freeform 6">
              <a:extLst>
                <a:ext uri="{FF2B5EF4-FFF2-40B4-BE49-F238E27FC236}">
                  <a16:creationId xmlns:a16="http://schemas.microsoft.com/office/drawing/2014/main" id="{D34591EA-1804-432E-9DF8-8D75A1B8978F}"/>
                </a:ext>
              </a:extLst>
            </p:cNvPr>
            <p:cNvSpPr>
              <a:spLocks/>
            </p:cNvSpPr>
            <p:nvPr userDrawn="1"/>
          </p:nvSpPr>
          <p:spPr bwMode="auto">
            <a:xfrm>
              <a:off x="642" y="197"/>
              <a:ext cx="25" cy="80"/>
            </a:xfrm>
            <a:custGeom>
              <a:avLst/>
              <a:gdLst>
                <a:gd name="T0" fmla="*/ 232 w 288"/>
                <a:gd name="T1" fmla="*/ 166 h 897"/>
                <a:gd name="T2" fmla="*/ 232 w 288"/>
                <a:gd name="T3" fmla="*/ 166 h 897"/>
                <a:gd name="T4" fmla="*/ 241 w 288"/>
                <a:gd name="T5" fmla="*/ 65 h 897"/>
                <a:gd name="T6" fmla="*/ 254 w 288"/>
                <a:gd name="T7" fmla="*/ 37 h 897"/>
                <a:gd name="T8" fmla="*/ 288 w 288"/>
                <a:gd name="T9" fmla="*/ 0 h 897"/>
                <a:gd name="T10" fmla="*/ 0 w 288"/>
                <a:gd name="T11" fmla="*/ 0 h 897"/>
                <a:gd name="T12" fmla="*/ 33 w 288"/>
                <a:gd name="T13" fmla="*/ 35 h 897"/>
                <a:gd name="T14" fmla="*/ 47 w 288"/>
                <a:gd name="T15" fmla="*/ 64 h 897"/>
                <a:gd name="T16" fmla="*/ 56 w 288"/>
                <a:gd name="T17" fmla="*/ 161 h 897"/>
                <a:gd name="T18" fmla="*/ 56 w 288"/>
                <a:gd name="T19" fmla="*/ 215 h 897"/>
                <a:gd name="T20" fmla="*/ 56 w 288"/>
                <a:gd name="T21" fmla="*/ 752 h 897"/>
                <a:gd name="T22" fmla="*/ 42 w 288"/>
                <a:gd name="T23" fmla="*/ 839 h 897"/>
                <a:gd name="T24" fmla="*/ 28 w 288"/>
                <a:gd name="T25" fmla="*/ 865 h 897"/>
                <a:gd name="T26" fmla="*/ 1 w 288"/>
                <a:gd name="T27" fmla="*/ 897 h 897"/>
                <a:gd name="T28" fmla="*/ 285 w 288"/>
                <a:gd name="T29" fmla="*/ 897 h 897"/>
                <a:gd name="T30" fmla="*/ 258 w 288"/>
                <a:gd name="T31" fmla="*/ 865 h 897"/>
                <a:gd name="T32" fmla="*/ 243 w 288"/>
                <a:gd name="T33" fmla="*/ 838 h 897"/>
                <a:gd name="T34" fmla="*/ 231 w 288"/>
                <a:gd name="T35" fmla="*/ 759 h 897"/>
                <a:gd name="T36" fmla="*/ 231 w 288"/>
                <a:gd name="T37" fmla="*/ 218 h 897"/>
                <a:gd name="T38" fmla="*/ 232 w 288"/>
                <a:gd name="T39" fmla="*/ 16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897">
                  <a:moveTo>
                    <a:pt x="232" y="166"/>
                  </a:moveTo>
                  <a:lnTo>
                    <a:pt x="232" y="166"/>
                  </a:lnTo>
                  <a:cubicBezTo>
                    <a:pt x="232" y="106"/>
                    <a:pt x="233" y="89"/>
                    <a:pt x="241" y="65"/>
                  </a:cubicBezTo>
                  <a:cubicBezTo>
                    <a:pt x="244" y="55"/>
                    <a:pt x="248" y="46"/>
                    <a:pt x="254" y="37"/>
                  </a:cubicBezTo>
                  <a:cubicBezTo>
                    <a:pt x="263" y="22"/>
                    <a:pt x="270" y="14"/>
                    <a:pt x="288" y="0"/>
                  </a:cubicBezTo>
                  <a:lnTo>
                    <a:pt x="0" y="0"/>
                  </a:lnTo>
                  <a:cubicBezTo>
                    <a:pt x="18" y="16"/>
                    <a:pt x="24" y="22"/>
                    <a:pt x="33" y="35"/>
                  </a:cubicBezTo>
                  <a:cubicBezTo>
                    <a:pt x="39" y="44"/>
                    <a:pt x="44" y="54"/>
                    <a:pt x="47" y="64"/>
                  </a:cubicBezTo>
                  <a:cubicBezTo>
                    <a:pt x="53" y="86"/>
                    <a:pt x="56" y="108"/>
                    <a:pt x="56" y="161"/>
                  </a:cubicBezTo>
                  <a:cubicBezTo>
                    <a:pt x="56" y="188"/>
                    <a:pt x="56" y="206"/>
                    <a:pt x="56" y="215"/>
                  </a:cubicBezTo>
                  <a:lnTo>
                    <a:pt x="56" y="752"/>
                  </a:lnTo>
                  <a:cubicBezTo>
                    <a:pt x="56" y="784"/>
                    <a:pt x="51" y="817"/>
                    <a:pt x="42" y="839"/>
                  </a:cubicBezTo>
                  <a:cubicBezTo>
                    <a:pt x="39" y="848"/>
                    <a:pt x="34" y="857"/>
                    <a:pt x="28" y="865"/>
                  </a:cubicBezTo>
                  <a:cubicBezTo>
                    <a:pt x="21" y="875"/>
                    <a:pt x="16" y="880"/>
                    <a:pt x="1" y="897"/>
                  </a:cubicBezTo>
                  <a:lnTo>
                    <a:pt x="285" y="897"/>
                  </a:lnTo>
                  <a:cubicBezTo>
                    <a:pt x="271" y="885"/>
                    <a:pt x="266" y="879"/>
                    <a:pt x="258" y="865"/>
                  </a:cubicBezTo>
                  <a:cubicBezTo>
                    <a:pt x="252" y="856"/>
                    <a:pt x="247" y="847"/>
                    <a:pt x="243" y="838"/>
                  </a:cubicBezTo>
                  <a:cubicBezTo>
                    <a:pt x="236" y="817"/>
                    <a:pt x="231" y="787"/>
                    <a:pt x="231" y="759"/>
                  </a:cubicBezTo>
                  <a:lnTo>
                    <a:pt x="231" y="218"/>
                  </a:lnTo>
                  <a:lnTo>
                    <a:pt x="232" y="1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6" name="Freeform 7">
              <a:extLst>
                <a:ext uri="{FF2B5EF4-FFF2-40B4-BE49-F238E27FC236}">
                  <a16:creationId xmlns:a16="http://schemas.microsoft.com/office/drawing/2014/main" id="{1464E370-4743-44E5-9FC2-433C03C5B290}"/>
                </a:ext>
              </a:extLst>
            </p:cNvPr>
            <p:cNvSpPr>
              <a:spLocks/>
            </p:cNvSpPr>
            <p:nvPr userDrawn="1"/>
          </p:nvSpPr>
          <p:spPr bwMode="auto">
            <a:xfrm>
              <a:off x="761" y="197"/>
              <a:ext cx="77" cy="80"/>
            </a:xfrm>
            <a:custGeom>
              <a:avLst/>
              <a:gdLst>
                <a:gd name="T0" fmla="*/ 810 w 869"/>
                <a:gd name="T1" fmla="*/ 165 h 897"/>
                <a:gd name="T2" fmla="*/ 810 w 869"/>
                <a:gd name="T3" fmla="*/ 165 h 897"/>
                <a:gd name="T4" fmla="*/ 819 w 869"/>
                <a:gd name="T5" fmla="*/ 70 h 897"/>
                <a:gd name="T6" fmla="*/ 834 w 869"/>
                <a:gd name="T7" fmla="*/ 37 h 897"/>
                <a:gd name="T8" fmla="*/ 869 w 869"/>
                <a:gd name="T9" fmla="*/ 0 h 897"/>
                <a:gd name="T10" fmla="*/ 576 w 869"/>
                <a:gd name="T11" fmla="*/ 0 h 897"/>
                <a:gd name="T12" fmla="*/ 609 w 869"/>
                <a:gd name="T13" fmla="*/ 36 h 897"/>
                <a:gd name="T14" fmla="*/ 624 w 869"/>
                <a:gd name="T15" fmla="*/ 67 h 897"/>
                <a:gd name="T16" fmla="*/ 634 w 869"/>
                <a:gd name="T17" fmla="*/ 162 h 897"/>
                <a:gd name="T18" fmla="*/ 634 w 869"/>
                <a:gd name="T19" fmla="*/ 379 h 897"/>
                <a:gd name="T20" fmla="*/ 232 w 869"/>
                <a:gd name="T21" fmla="*/ 379 h 897"/>
                <a:gd name="T22" fmla="*/ 232 w 869"/>
                <a:gd name="T23" fmla="*/ 216 h 897"/>
                <a:gd name="T24" fmla="*/ 234 w 869"/>
                <a:gd name="T25" fmla="*/ 109 h 897"/>
                <a:gd name="T26" fmla="*/ 241 w 869"/>
                <a:gd name="T27" fmla="*/ 70 h 897"/>
                <a:gd name="T28" fmla="*/ 278 w 869"/>
                <a:gd name="T29" fmla="*/ 9 h 897"/>
                <a:gd name="T30" fmla="*/ 288 w 869"/>
                <a:gd name="T31" fmla="*/ 0 h 897"/>
                <a:gd name="T32" fmla="*/ 1 w 869"/>
                <a:gd name="T33" fmla="*/ 0 h 897"/>
                <a:gd name="T34" fmla="*/ 30 w 869"/>
                <a:gd name="T35" fmla="*/ 34 h 897"/>
                <a:gd name="T36" fmla="*/ 46 w 869"/>
                <a:gd name="T37" fmla="*/ 64 h 897"/>
                <a:gd name="T38" fmla="*/ 56 w 869"/>
                <a:gd name="T39" fmla="*/ 159 h 897"/>
                <a:gd name="T40" fmla="*/ 57 w 869"/>
                <a:gd name="T41" fmla="*/ 216 h 897"/>
                <a:gd name="T42" fmla="*/ 57 w 869"/>
                <a:gd name="T43" fmla="*/ 707 h 897"/>
                <a:gd name="T44" fmla="*/ 53 w 869"/>
                <a:gd name="T45" fmla="*/ 802 h 897"/>
                <a:gd name="T46" fmla="*/ 44 w 869"/>
                <a:gd name="T47" fmla="*/ 838 h 897"/>
                <a:gd name="T48" fmla="*/ 9 w 869"/>
                <a:gd name="T49" fmla="*/ 888 h 897"/>
                <a:gd name="T50" fmla="*/ 0 w 869"/>
                <a:gd name="T51" fmla="*/ 897 h 897"/>
                <a:gd name="T52" fmla="*/ 284 w 869"/>
                <a:gd name="T53" fmla="*/ 897 h 897"/>
                <a:gd name="T54" fmla="*/ 260 w 869"/>
                <a:gd name="T55" fmla="*/ 867 h 897"/>
                <a:gd name="T56" fmla="*/ 245 w 869"/>
                <a:gd name="T57" fmla="*/ 839 h 897"/>
                <a:gd name="T58" fmla="*/ 232 w 869"/>
                <a:gd name="T59" fmla="*/ 761 h 897"/>
                <a:gd name="T60" fmla="*/ 232 w 869"/>
                <a:gd name="T61" fmla="*/ 707 h 897"/>
                <a:gd name="T62" fmla="*/ 232 w 869"/>
                <a:gd name="T63" fmla="*/ 490 h 897"/>
                <a:gd name="T64" fmla="*/ 634 w 869"/>
                <a:gd name="T65" fmla="*/ 490 h 897"/>
                <a:gd name="T66" fmla="*/ 634 w 869"/>
                <a:gd name="T67" fmla="*/ 709 h 897"/>
                <a:gd name="T68" fmla="*/ 630 w 869"/>
                <a:gd name="T69" fmla="*/ 800 h 897"/>
                <a:gd name="T70" fmla="*/ 620 w 869"/>
                <a:gd name="T71" fmla="*/ 838 h 897"/>
                <a:gd name="T72" fmla="*/ 588 w 869"/>
                <a:gd name="T73" fmla="*/ 885 h 897"/>
                <a:gd name="T74" fmla="*/ 575 w 869"/>
                <a:gd name="T75" fmla="*/ 897 h 897"/>
                <a:gd name="T76" fmla="*/ 862 w 869"/>
                <a:gd name="T77" fmla="*/ 897 h 897"/>
                <a:gd name="T78" fmla="*/ 838 w 869"/>
                <a:gd name="T79" fmla="*/ 869 h 897"/>
                <a:gd name="T80" fmla="*/ 821 w 869"/>
                <a:gd name="T81" fmla="*/ 839 h 897"/>
                <a:gd name="T82" fmla="*/ 810 w 869"/>
                <a:gd name="T83" fmla="*/ 758 h 897"/>
                <a:gd name="T84" fmla="*/ 809 w 869"/>
                <a:gd name="T85" fmla="*/ 712 h 897"/>
                <a:gd name="T86" fmla="*/ 810 w 869"/>
                <a:gd name="T87" fmla="*/ 218 h 897"/>
                <a:gd name="T88" fmla="*/ 810 w 869"/>
                <a:gd name="T89" fmla="*/ 16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9" h="897">
                  <a:moveTo>
                    <a:pt x="810" y="165"/>
                  </a:moveTo>
                  <a:lnTo>
                    <a:pt x="810" y="165"/>
                  </a:lnTo>
                  <a:cubicBezTo>
                    <a:pt x="810" y="125"/>
                    <a:pt x="813" y="95"/>
                    <a:pt x="819" y="70"/>
                  </a:cubicBezTo>
                  <a:cubicBezTo>
                    <a:pt x="823" y="59"/>
                    <a:pt x="828" y="48"/>
                    <a:pt x="834" y="37"/>
                  </a:cubicBezTo>
                  <a:cubicBezTo>
                    <a:pt x="843" y="22"/>
                    <a:pt x="850" y="14"/>
                    <a:pt x="869" y="0"/>
                  </a:cubicBezTo>
                  <a:lnTo>
                    <a:pt x="576" y="0"/>
                  </a:lnTo>
                  <a:cubicBezTo>
                    <a:pt x="593" y="14"/>
                    <a:pt x="599" y="20"/>
                    <a:pt x="609" y="36"/>
                  </a:cubicBezTo>
                  <a:cubicBezTo>
                    <a:pt x="616" y="46"/>
                    <a:pt x="621" y="57"/>
                    <a:pt x="624" y="67"/>
                  </a:cubicBezTo>
                  <a:cubicBezTo>
                    <a:pt x="631" y="88"/>
                    <a:pt x="634" y="115"/>
                    <a:pt x="634" y="162"/>
                  </a:cubicBezTo>
                  <a:lnTo>
                    <a:pt x="634" y="379"/>
                  </a:lnTo>
                  <a:lnTo>
                    <a:pt x="232" y="379"/>
                  </a:lnTo>
                  <a:lnTo>
                    <a:pt x="232" y="216"/>
                  </a:lnTo>
                  <a:cubicBezTo>
                    <a:pt x="232" y="166"/>
                    <a:pt x="232" y="134"/>
                    <a:pt x="234" y="109"/>
                  </a:cubicBezTo>
                  <a:cubicBezTo>
                    <a:pt x="235" y="95"/>
                    <a:pt x="238" y="82"/>
                    <a:pt x="241" y="70"/>
                  </a:cubicBezTo>
                  <a:cubicBezTo>
                    <a:pt x="247" y="51"/>
                    <a:pt x="264" y="24"/>
                    <a:pt x="278" y="9"/>
                  </a:cubicBezTo>
                  <a:cubicBezTo>
                    <a:pt x="280" y="7"/>
                    <a:pt x="284" y="4"/>
                    <a:pt x="288" y="0"/>
                  </a:cubicBezTo>
                  <a:lnTo>
                    <a:pt x="1" y="0"/>
                  </a:lnTo>
                  <a:cubicBezTo>
                    <a:pt x="18" y="17"/>
                    <a:pt x="23" y="23"/>
                    <a:pt x="30" y="34"/>
                  </a:cubicBezTo>
                  <a:cubicBezTo>
                    <a:pt x="37" y="43"/>
                    <a:pt x="42" y="53"/>
                    <a:pt x="46" y="64"/>
                  </a:cubicBezTo>
                  <a:cubicBezTo>
                    <a:pt x="53" y="87"/>
                    <a:pt x="55" y="100"/>
                    <a:pt x="56" y="159"/>
                  </a:cubicBezTo>
                  <a:lnTo>
                    <a:pt x="57" y="216"/>
                  </a:lnTo>
                  <a:lnTo>
                    <a:pt x="57" y="707"/>
                  </a:lnTo>
                  <a:cubicBezTo>
                    <a:pt x="57" y="757"/>
                    <a:pt x="56" y="779"/>
                    <a:pt x="53" y="802"/>
                  </a:cubicBezTo>
                  <a:cubicBezTo>
                    <a:pt x="51" y="814"/>
                    <a:pt x="48" y="825"/>
                    <a:pt x="44" y="838"/>
                  </a:cubicBezTo>
                  <a:cubicBezTo>
                    <a:pt x="37" y="857"/>
                    <a:pt x="26" y="872"/>
                    <a:pt x="9" y="888"/>
                  </a:cubicBezTo>
                  <a:cubicBezTo>
                    <a:pt x="7" y="890"/>
                    <a:pt x="4" y="893"/>
                    <a:pt x="0" y="897"/>
                  </a:cubicBezTo>
                  <a:lnTo>
                    <a:pt x="284" y="897"/>
                  </a:lnTo>
                  <a:cubicBezTo>
                    <a:pt x="271" y="884"/>
                    <a:pt x="267" y="878"/>
                    <a:pt x="260" y="867"/>
                  </a:cubicBezTo>
                  <a:cubicBezTo>
                    <a:pt x="254" y="859"/>
                    <a:pt x="249" y="849"/>
                    <a:pt x="245" y="839"/>
                  </a:cubicBezTo>
                  <a:cubicBezTo>
                    <a:pt x="236" y="815"/>
                    <a:pt x="233" y="799"/>
                    <a:pt x="232" y="761"/>
                  </a:cubicBezTo>
                  <a:cubicBezTo>
                    <a:pt x="232" y="741"/>
                    <a:pt x="232" y="724"/>
                    <a:pt x="232" y="707"/>
                  </a:cubicBezTo>
                  <a:lnTo>
                    <a:pt x="232" y="490"/>
                  </a:lnTo>
                  <a:lnTo>
                    <a:pt x="634" y="490"/>
                  </a:lnTo>
                  <a:lnTo>
                    <a:pt x="634" y="709"/>
                  </a:lnTo>
                  <a:cubicBezTo>
                    <a:pt x="634" y="757"/>
                    <a:pt x="633" y="775"/>
                    <a:pt x="630" y="800"/>
                  </a:cubicBezTo>
                  <a:cubicBezTo>
                    <a:pt x="628" y="813"/>
                    <a:pt x="625" y="826"/>
                    <a:pt x="620" y="838"/>
                  </a:cubicBezTo>
                  <a:cubicBezTo>
                    <a:pt x="613" y="855"/>
                    <a:pt x="603" y="871"/>
                    <a:pt x="588" y="885"/>
                  </a:cubicBezTo>
                  <a:cubicBezTo>
                    <a:pt x="585" y="888"/>
                    <a:pt x="581" y="892"/>
                    <a:pt x="575" y="897"/>
                  </a:cubicBezTo>
                  <a:lnTo>
                    <a:pt x="862" y="897"/>
                  </a:lnTo>
                  <a:cubicBezTo>
                    <a:pt x="850" y="885"/>
                    <a:pt x="846" y="880"/>
                    <a:pt x="838" y="869"/>
                  </a:cubicBezTo>
                  <a:cubicBezTo>
                    <a:pt x="831" y="859"/>
                    <a:pt x="825" y="849"/>
                    <a:pt x="821" y="839"/>
                  </a:cubicBezTo>
                  <a:cubicBezTo>
                    <a:pt x="813" y="818"/>
                    <a:pt x="811" y="803"/>
                    <a:pt x="810" y="758"/>
                  </a:cubicBezTo>
                  <a:cubicBezTo>
                    <a:pt x="809" y="732"/>
                    <a:pt x="809" y="717"/>
                    <a:pt x="809" y="712"/>
                  </a:cubicBezTo>
                  <a:lnTo>
                    <a:pt x="810" y="218"/>
                  </a:lnTo>
                  <a:lnTo>
                    <a:pt x="810" y="16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7" name="Freeform 8">
              <a:extLst>
                <a:ext uri="{FF2B5EF4-FFF2-40B4-BE49-F238E27FC236}">
                  <a16:creationId xmlns:a16="http://schemas.microsoft.com/office/drawing/2014/main" id="{9E8A5F19-1B1B-4CF5-A816-52323B3A8B35}"/>
                </a:ext>
              </a:extLst>
            </p:cNvPr>
            <p:cNvSpPr>
              <a:spLocks noEditPoints="1"/>
            </p:cNvSpPr>
            <p:nvPr userDrawn="1"/>
          </p:nvSpPr>
          <p:spPr bwMode="auto">
            <a:xfrm>
              <a:off x="562" y="197"/>
              <a:ext cx="73" cy="80"/>
            </a:xfrm>
            <a:custGeom>
              <a:avLst/>
              <a:gdLst>
                <a:gd name="T0" fmla="*/ 408 w 822"/>
                <a:gd name="T1" fmla="*/ 395 h 897"/>
                <a:gd name="T2" fmla="*/ 408 w 822"/>
                <a:gd name="T3" fmla="*/ 395 h 897"/>
                <a:gd name="T4" fmla="*/ 295 w 822"/>
                <a:gd name="T5" fmla="*/ 431 h 897"/>
                <a:gd name="T6" fmla="*/ 248 w 822"/>
                <a:gd name="T7" fmla="*/ 435 h 897"/>
                <a:gd name="T8" fmla="*/ 233 w 822"/>
                <a:gd name="T9" fmla="*/ 435 h 897"/>
                <a:gd name="T10" fmla="*/ 233 w 822"/>
                <a:gd name="T11" fmla="*/ 103 h 897"/>
                <a:gd name="T12" fmla="*/ 257 w 822"/>
                <a:gd name="T13" fmla="*/ 102 h 897"/>
                <a:gd name="T14" fmla="*/ 378 w 822"/>
                <a:gd name="T15" fmla="*/ 117 h 897"/>
                <a:gd name="T16" fmla="*/ 439 w 822"/>
                <a:gd name="T17" fmla="*/ 149 h 897"/>
                <a:gd name="T18" fmla="*/ 485 w 822"/>
                <a:gd name="T19" fmla="*/ 260 h 897"/>
                <a:gd name="T20" fmla="*/ 450 w 822"/>
                <a:gd name="T21" fmla="*/ 361 h 897"/>
                <a:gd name="T22" fmla="*/ 408 w 822"/>
                <a:gd name="T23" fmla="*/ 395 h 897"/>
                <a:gd name="T24" fmla="*/ 408 w 822"/>
                <a:gd name="T25" fmla="*/ 395 h 897"/>
                <a:gd name="T26" fmla="*/ 750 w 822"/>
                <a:gd name="T27" fmla="*/ 835 h 897"/>
                <a:gd name="T28" fmla="*/ 750 w 822"/>
                <a:gd name="T29" fmla="*/ 835 h 897"/>
                <a:gd name="T30" fmla="*/ 649 w 822"/>
                <a:gd name="T31" fmla="*/ 730 h 897"/>
                <a:gd name="T32" fmla="*/ 583 w 822"/>
                <a:gd name="T33" fmla="*/ 657 h 897"/>
                <a:gd name="T34" fmla="*/ 444 w 822"/>
                <a:gd name="T35" fmla="*/ 493 h 897"/>
                <a:gd name="T36" fmla="*/ 484 w 822"/>
                <a:gd name="T37" fmla="*/ 480 h 897"/>
                <a:gd name="T38" fmla="*/ 594 w 822"/>
                <a:gd name="T39" fmla="*/ 416 h 897"/>
                <a:gd name="T40" fmla="*/ 665 w 822"/>
                <a:gd name="T41" fmla="*/ 313 h 897"/>
                <a:gd name="T42" fmla="*/ 676 w 822"/>
                <a:gd name="T43" fmla="*/ 244 h 897"/>
                <a:gd name="T44" fmla="*/ 615 w 822"/>
                <a:gd name="T45" fmla="*/ 97 h 897"/>
                <a:gd name="T46" fmla="*/ 470 w 822"/>
                <a:gd name="T47" fmla="*/ 16 h 897"/>
                <a:gd name="T48" fmla="*/ 316 w 822"/>
                <a:gd name="T49" fmla="*/ 1 h 897"/>
                <a:gd name="T50" fmla="*/ 233 w 822"/>
                <a:gd name="T51" fmla="*/ 0 h 897"/>
                <a:gd name="T52" fmla="*/ 2 w 822"/>
                <a:gd name="T53" fmla="*/ 0 h 897"/>
                <a:gd name="T54" fmla="*/ 32 w 822"/>
                <a:gd name="T55" fmla="*/ 33 h 897"/>
                <a:gd name="T56" fmla="*/ 47 w 822"/>
                <a:gd name="T57" fmla="*/ 66 h 897"/>
                <a:gd name="T58" fmla="*/ 56 w 822"/>
                <a:gd name="T59" fmla="*/ 162 h 897"/>
                <a:gd name="T60" fmla="*/ 56 w 822"/>
                <a:gd name="T61" fmla="*/ 750 h 897"/>
                <a:gd name="T62" fmla="*/ 46 w 822"/>
                <a:gd name="T63" fmla="*/ 837 h 897"/>
                <a:gd name="T64" fmla="*/ 31 w 822"/>
                <a:gd name="T65" fmla="*/ 865 h 897"/>
                <a:gd name="T66" fmla="*/ 0 w 822"/>
                <a:gd name="T67" fmla="*/ 897 h 897"/>
                <a:gd name="T68" fmla="*/ 285 w 822"/>
                <a:gd name="T69" fmla="*/ 897 h 897"/>
                <a:gd name="T70" fmla="*/ 261 w 822"/>
                <a:gd name="T71" fmla="*/ 867 h 897"/>
                <a:gd name="T72" fmla="*/ 245 w 822"/>
                <a:gd name="T73" fmla="*/ 840 h 897"/>
                <a:gd name="T74" fmla="*/ 234 w 822"/>
                <a:gd name="T75" fmla="*/ 757 h 897"/>
                <a:gd name="T76" fmla="*/ 233 w 822"/>
                <a:gd name="T77" fmla="*/ 712 h 897"/>
                <a:gd name="T78" fmla="*/ 233 w 822"/>
                <a:gd name="T79" fmla="*/ 510 h 897"/>
                <a:gd name="T80" fmla="*/ 400 w 822"/>
                <a:gd name="T81" fmla="*/ 710 h 897"/>
                <a:gd name="T82" fmla="*/ 437 w 822"/>
                <a:gd name="T83" fmla="*/ 753 h 897"/>
                <a:gd name="T84" fmla="*/ 481 w 822"/>
                <a:gd name="T85" fmla="*/ 801 h 897"/>
                <a:gd name="T86" fmla="*/ 573 w 822"/>
                <a:gd name="T87" fmla="*/ 875 h 897"/>
                <a:gd name="T88" fmla="*/ 662 w 822"/>
                <a:gd name="T89" fmla="*/ 896 h 897"/>
                <a:gd name="T90" fmla="*/ 709 w 822"/>
                <a:gd name="T91" fmla="*/ 897 h 897"/>
                <a:gd name="T92" fmla="*/ 822 w 822"/>
                <a:gd name="T93" fmla="*/ 897 h 897"/>
                <a:gd name="T94" fmla="*/ 789 w 822"/>
                <a:gd name="T95" fmla="*/ 870 h 897"/>
                <a:gd name="T96" fmla="*/ 750 w 822"/>
                <a:gd name="T97" fmla="*/ 83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897">
                  <a:moveTo>
                    <a:pt x="408" y="395"/>
                  </a:moveTo>
                  <a:lnTo>
                    <a:pt x="408" y="395"/>
                  </a:lnTo>
                  <a:cubicBezTo>
                    <a:pt x="376" y="413"/>
                    <a:pt x="343" y="424"/>
                    <a:pt x="295" y="431"/>
                  </a:cubicBezTo>
                  <a:cubicBezTo>
                    <a:pt x="277" y="434"/>
                    <a:pt x="261" y="435"/>
                    <a:pt x="248" y="435"/>
                  </a:cubicBezTo>
                  <a:cubicBezTo>
                    <a:pt x="243" y="435"/>
                    <a:pt x="240" y="435"/>
                    <a:pt x="233" y="435"/>
                  </a:cubicBezTo>
                  <a:lnTo>
                    <a:pt x="233" y="103"/>
                  </a:lnTo>
                  <a:cubicBezTo>
                    <a:pt x="245" y="102"/>
                    <a:pt x="249" y="102"/>
                    <a:pt x="257" y="102"/>
                  </a:cubicBezTo>
                  <a:cubicBezTo>
                    <a:pt x="301" y="102"/>
                    <a:pt x="344" y="107"/>
                    <a:pt x="378" y="117"/>
                  </a:cubicBezTo>
                  <a:cubicBezTo>
                    <a:pt x="400" y="123"/>
                    <a:pt x="421" y="135"/>
                    <a:pt x="439" y="149"/>
                  </a:cubicBezTo>
                  <a:cubicBezTo>
                    <a:pt x="469" y="175"/>
                    <a:pt x="485" y="213"/>
                    <a:pt x="485" y="260"/>
                  </a:cubicBezTo>
                  <a:cubicBezTo>
                    <a:pt x="485" y="300"/>
                    <a:pt x="473" y="335"/>
                    <a:pt x="450" y="361"/>
                  </a:cubicBezTo>
                  <a:cubicBezTo>
                    <a:pt x="439" y="373"/>
                    <a:pt x="425" y="385"/>
                    <a:pt x="408" y="395"/>
                  </a:cubicBezTo>
                  <a:lnTo>
                    <a:pt x="408" y="395"/>
                  </a:lnTo>
                  <a:close/>
                  <a:moveTo>
                    <a:pt x="750" y="835"/>
                  </a:moveTo>
                  <a:lnTo>
                    <a:pt x="750" y="835"/>
                  </a:lnTo>
                  <a:cubicBezTo>
                    <a:pt x="719" y="804"/>
                    <a:pt x="691" y="776"/>
                    <a:pt x="649" y="730"/>
                  </a:cubicBezTo>
                  <a:cubicBezTo>
                    <a:pt x="622" y="702"/>
                    <a:pt x="600" y="677"/>
                    <a:pt x="583" y="657"/>
                  </a:cubicBezTo>
                  <a:lnTo>
                    <a:pt x="444" y="493"/>
                  </a:lnTo>
                  <a:cubicBezTo>
                    <a:pt x="461" y="488"/>
                    <a:pt x="468" y="486"/>
                    <a:pt x="484" y="480"/>
                  </a:cubicBezTo>
                  <a:cubicBezTo>
                    <a:pt x="529" y="462"/>
                    <a:pt x="563" y="442"/>
                    <a:pt x="594" y="416"/>
                  </a:cubicBezTo>
                  <a:cubicBezTo>
                    <a:pt x="630" y="386"/>
                    <a:pt x="652" y="354"/>
                    <a:pt x="665" y="313"/>
                  </a:cubicBezTo>
                  <a:cubicBezTo>
                    <a:pt x="673" y="291"/>
                    <a:pt x="676" y="267"/>
                    <a:pt x="676" y="244"/>
                  </a:cubicBezTo>
                  <a:cubicBezTo>
                    <a:pt x="676" y="189"/>
                    <a:pt x="656" y="139"/>
                    <a:pt x="615" y="97"/>
                  </a:cubicBezTo>
                  <a:cubicBezTo>
                    <a:pt x="579" y="58"/>
                    <a:pt x="527" y="30"/>
                    <a:pt x="470" y="16"/>
                  </a:cubicBezTo>
                  <a:cubicBezTo>
                    <a:pt x="429" y="7"/>
                    <a:pt x="388" y="2"/>
                    <a:pt x="316" y="1"/>
                  </a:cubicBezTo>
                  <a:cubicBezTo>
                    <a:pt x="289" y="0"/>
                    <a:pt x="262" y="0"/>
                    <a:pt x="233" y="0"/>
                  </a:cubicBezTo>
                  <a:lnTo>
                    <a:pt x="2" y="0"/>
                  </a:lnTo>
                  <a:cubicBezTo>
                    <a:pt x="17" y="14"/>
                    <a:pt x="23" y="20"/>
                    <a:pt x="32" y="33"/>
                  </a:cubicBezTo>
                  <a:cubicBezTo>
                    <a:pt x="38" y="44"/>
                    <a:pt x="44" y="55"/>
                    <a:pt x="47" y="66"/>
                  </a:cubicBezTo>
                  <a:cubicBezTo>
                    <a:pt x="53" y="86"/>
                    <a:pt x="56" y="114"/>
                    <a:pt x="56" y="162"/>
                  </a:cubicBezTo>
                  <a:lnTo>
                    <a:pt x="56" y="750"/>
                  </a:lnTo>
                  <a:cubicBezTo>
                    <a:pt x="56" y="793"/>
                    <a:pt x="53" y="817"/>
                    <a:pt x="46" y="837"/>
                  </a:cubicBezTo>
                  <a:cubicBezTo>
                    <a:pt x="42" y="847"/>
                    <a:pt x="37" y="857"/>
                    <a:pt x="31" y="865"/>
                  </a:cubicBezTo>
                  <a:cubicBezTo>
                    <a:pt x="22" y="876"/>
                    <a:pt x="17" y="882"/>
                    <a:pt x="0" y="897"/>
                  </a:cubicBezTo>
                  <a:lnTo>
                    <a:pt x="285" y="897"/>
                  </a:lnTo>
                  <a:cubicBezTo>
                    <a:pt x="273" y="883"/>
                    <a:pt x="269" y="878"/>
                    <a:pt x="261" y="867"/>
                  </a:cubicBezTo>
                  <a:cubicBezTo>
                    <a:pt x="254" y="859"/>
                    <a:pt x="249" y="850"/>
                    <a:pt x="245" y="840"/>
                  </a:cubicBezTo>
                  <a:cubicBezTo>
                    <a:pt x="238" y="820"/>
                    <a:pt x="234" y="799"/>
                    <a:pt x="234" y="757"/>
                  </a:cubicBezTo>
                  <a:cubicBezTo>
                    <a:pt x="234" y="744"/>
                    <a:pt x="233" y="729"/>
                    <a:pt x="233" y="712"/>
                  </a:cubicBezTo>
                  <a:lnTo>
                    <a:pt x="233" y="510"/>
                  </a:lnTo>
                  <a:lnTo>
                    <a:pt x="400" y="710"/>
                  </a:lnTo>
                  <a:cubicBezTo>
                    <a:pt x="407" y="719"/>
                    <a:pt x="420" y="734"/>
                    <a:pt x="437" y="753"/>
                  </a:cubicBezTo>
                  <a:cubicBezTo>
                    <a:pt x="456" y="775"/>
                    <a:pt x="471" y="791"/>
                    <a:pt x="481" y="801"/>
                  </a:cubicBezTo>
                  <a:cubicBezTo>
                    <a:pt x="513" y="835"/>
                    <a:pt x="543" y="859"/>
                    <a:pt x="573" y="875"/>
                  </a:cubicBezTo>
                  <a:cubicBezTo>
                    <a:pt x="599" y="889"/>
                    <a:pt x="624" y="895"/>
                    <a:pt x="662" y="896"/>
                  </a:cubicBezTo>
                  <a:cubicBezTo>
                    <a:pt x="677" y="897"/>
                    <a:pt x="693" y="897"/>
                    <a:pt x="709" y="897"/>
                  </a:cubicBezTo>
                  <a:lnTo>
                    <a:pt x="822" y="897"/>
                  </a:lnTo>
                  <a:cubicBezTo>
                    <a:pt x="807" y="885"/>
                    <a:pt x="800" y="880"/>
                    <a:pt x="789" y="870"/>
                  </a:cubicBezTo>
                  <a:cubicBezTo>
                    <a:pt x="777" y="859"/>
                    <a:pt x="764" y="848"/>
                    <a:pt x="750" y="8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8" name="Freeform 9">
              <a:extLst>
                <a:ext uri="{FF2B5EF4-FFF2-40B4-BE49-F238E27FC236}">
                  <a16:creationId xmlns:a16="http://schemas.microsoft.com/office/drawing/2014/main" id="{3A59E67B-6470-45A3-A232-3D34F6927A3B}"/>
                </a:ext>
              </a:extLst>
            </p:cNvPr>
            <p:cNvSpPr>
              <a:spLocks/>
            </p:cNvSpPr>
            <p:nvPr userDrawn="1"/>
          </p:nvSpPr>
          <p:spPr bwMode="auto">
            <a:xfrm>
              <a:off x="679" y="195"/>
              <a:ext cx="68" cy="84"/>
            </a:xfrm>
            <a:custGeom>
              <a:avLst/>
              <a:gdLst>
                <a:gd name="T0" fmla="*/ 668 w 765"/>
                <a:gd name="T1" fmla="*/ 790 h 944"/>
                <a:gd name="T2" fmla="*/ 668 w 765"/>
                <a:gd name="T3" fmla="*/ 790 h 944"/>
                <a:gd name="T4" fmla="*/ 512 w 765"/>
                <a:gd name="T5" fmla="*/ 823 h 944"/>
                <a:gd name="T6" fmla="*/ 281 w 765"/>
                <a:gd name="T7" fmla="*/ 727 h 944"/>
                <a:gd name="T8" fmla="*/ 191 w 765"/>
                <a:gd name="T9" fmla="*/ 478 h 944"/>
                <a:gd name="T10" fmla="*/ 272 w 765"/>
                <a:gd name="T11" fmla="*/ 236 h 944"/>
                <a:gd name="T12" fmla="*/ 354 w 765"/>
                <a:gd name="T13" fmla="*/ 170 h 944"/>
                <a:gd name="T14" fmla="*/ 527 w 765"/>
                <a:gd name="T15" fmla="*/ 126 h 944"/>
                <a:gd name="T16" fmla="*/ 688 w 765"/>
                <a:gd name="T17" fmla="*/ 159 h 944"/>
                <a:gd name="T18" fmla="*/ 762 w 765"/>
                <a:gd name="T19" fmla="*/ 199 h 944"/>
                <a:gd name="T20" fmla="*/ 762 w 765"/>
                <a:gd name="T21" fmla="*/ 31 h 944"/>
                <a:gd name="T22" fmla="*/ 708 w 765"/>
                <a:gd name="T23" fmla="*/ 16 h 944"/>
                <a:gd name="T24" fmla="*/ 550 w 765"/>
                <a:gd name="T25" fmla="*/ 0 h 944"/>
                <a:gd name="T26" fmla="*/ 294 w 765"/>
                <a:gd name="T27" fmla="*/ 48 h 944"/>
                <a:gd name="T28" fmla="*/ 171 w 765"/>
                <a:gd name="T29" fmla="*/ 121 h 944"/>
                <a:gd name="T30" fmla="*/ 0 w 765"/>
                <a:gd name="T31" fmla="*/ 488 h 944"/>
                <a:gd name="T32" fmla="*/ 164 w 765"/>
                <a:gd name="T33" fmla="*/ 840 h 944"/>
                <a:gd name="T34" fmla="*/ 499 w 765"/>
                <a:gd name="T35" fmla="*/ 944 h 944"/>
                <a:gd name="T36" fmla="*/ 751 w 765"/>
                <a:gd name="T37" fmla="*/ 904 h 944"/>
                <a:gd name="T38" fmla="*/ 765 w 765"/>
                <a:gd name="T39" fmla="*/ 899 h 944"/>
                <a:gd name="T40" fmla="*/ 765 w 765"/>
                <a:gd name="T41" fmla="*/ 736 h 944"/>
                <a:gd name="T42" fmla="*/ 724 w 765"/>
                <a:gd name="T43" fmla="*/ 763 h 944"/>
                <a:gd name="T44" fmla="*/ 668 w 765"/>
                <a:gd name="T45" fmla="*/ 79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5" h="944">
                  <a:moveTo>
                    <a:pt x="668" y="790"/>
                  </a:moveTo>
                  <a:lnTo>
                    <a:pt x="668" y="790"/>
                  </a:lnTo>
                  <a:cubicBezTo>
                    <a:pt x="614" y="813"/>
                    <a:pt x="565" y="823"/>
                    <a:pt x="512" y="823"/>
                  </a:cubicBezTo>
                  <a:cubicBezTo>
                    <a:pt x="419" y="823"/>
                    <a:pt x="340" y="790"/>
                    <a:pt x="281" y="727"/>
                  </a:cubicBezTo>
                  <a:cubicBezTo>
                    <a:pt x="222" y="664"/>
                    <a:pt x="191" y="577"/>
                    <a:pt x="191" y="478"/>
                  </a:cubicBezTo>
                  <a:cubicBezTo>
                    <a:pt x="191" y="384"/>
                    <a:pt x="220" y="297"/>
                    <a:pt x="272" y="236"/>
                  </a:cubicBezTo>
                  <a:cubicBezTo>
                    <a:pt x="295" y="210"/>
                    <a:pt x="322" y="187"/>
                    <a:pt x="354" y="170"/>
                  </a:cubicBezTo>
                  <a:cubicBezTo>
                    <a:pt x="404" y="141"/>
                    <a:pt x="463" y="126"/>
                    <a:pt x="527" y="126"/>
                  </a:cubicBezTo>
                  <a:cubicBezTo>
                    <a:pt x="582" y="126"/>
                    <a:pt x="635" y="137"/>
                    <a:pt x="688" y="159"/>
                  </a:cubicBezTo>
                  <a:cubicBezTo>
                    <a:pt x="722" y="172"/>
                    <a:pt x="734" y="179"/>
                    <a:pt x="762" y="199"/>
                  </a:cubicBezTo>
                  <a:lnTo>
                    <a:pt x="762" y="31"/>
                  </a:lnTo>
                  <a:cubicBezTo>
                    <a:pt x="740" y="24"/>
                    <a:pt x="731" y="21"/>
                    <a:pt x="708" y="16"/>
                  </a:cubicBezTo>
                  <a:cubicBezTo>
                    <a:pt x="656" y="5"/>
                    <a:pt x="606" y="0"/>
                    <a:pt x="550" y="0"/>
                  </a:cubicBezTo>
                  <a:cubicBezTo>
                    <a:pt x="453" y="0"/>
                    <a:pt x="370" y="16"/>
                    <a:pt x="294" y="48"/>
                  </a:cubicBezTo>
                  <a:cubicBezTo>
                    <a:pt x="249" y="67"/>
                    <a:pt x="207" y="91"/>
                    <a:pt x="171" y="121"/>
                  </a:cubicBezTo>
                  <a:cubicBezTo>
                    <a:pt x="60" y="210"/>
                    <a:pt x="0" y="339"/>
                    <a:pt x="0" y="488"/>
                  </a:cubicBezTo>
                  <a:cubicBezTo>
                    <a:pt x="0" y="632"/>
                    <a:pt x="58" y="756"/>
                    <a:pt x="164" y="840"/>
                  </a:cubicBezTo>
                  <a:cubicBezTo>
                    <a:pt x="251" y="909"/>
                    <a:pt x="364" y="944"/>
                    <a:pt x="499" y="944"/>
                  </a:cubicBezTo>
                  <a:cubicBezTo>
                    <a:pt x="583" y="944"/>
                    <a:pt x="662" y="931"/>
                    <a:pt x="751" y="904"/>
                  </a:cubicBezTo>
                  <a:cubicBezTo>
                    <a:pt x="754" y="903"/>
                    <a:pt x="759" y="901"/>
                    <a:pt x="765" y="899"/>
                  </a:cubicBezTo>
                  <a:lnTo>
                    <a:pt x="765" y="736"/>
                  </a:lnTo>
                  <a:cubicBezTo>
                    <a:pt x="744" y="750"/>
                    <a:pt x="736" y="755"/>
                    <a:pt x="724" y="763"/>
                  </a:cubicBezTo>
                  <a:cubicBezTo>
                    <a:pt x="706" y="773"/>
                    <a:pt x="688" y="782"/>
                    <a:pt x="668" y="7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9" name="Freeform 10">
              <a:extLst>
                <a:ext uri="{FF2B5EF4-FFF2-40B4-BE49-F238E27FC236}">
                  <a16:creationId xmlns:a16="http://schemas.microsoft.com/office/drawing/2014/main" id="{FB7FCD77-BC08-401D-BA83-CC238615B319}"/>
                </a:ext>
              </a:extLst>
            </p:cNvPr>
            <p:cNvSpPr>
              <a:spLocks/>
            </p:cNvSpPr>
            <p:nvPr userDrawn="1"/>
          </p:nvSpPr>
          <p:spPr bwMode="auto">
            <a:xfrm>
              <a:off x="471" y="197"/>
              <a:ext cx="78" cy="83"/>
            </a:xfrm>
            <a:custGeom>
              <a:avLst/>
              <a:gdLst>
                <a:gd name="T0" fmla="*/ 631 w 885"/>
                <a:gd name="T1" fmla="*/ 34 h 927"/>
                <a:gd name="T2" fmla="*/ 631 w 885"/>
                <a:gd name="T3" fmla="*/ 34 h 927"/>
                <a:gd name="T4" fmla="*/ 644 w 885"/>
                <a:gd name="T5" fmla="*/ 65 h 927"/>
                <a:gd name="T6" fmla="*/ 652 w 885"/>
                <a:gd name="T7" fmla="*/ 159 h 927"/>
                <a:gd name="T8" fmla="*/ 652 w 885"/>
                <a:gd name="T9" fmla="*/ 500 h 927"/>
                <a:gd name="T10" fmla="*/ 645 w 885"/>
                <a:gd name="T11" fmla="*/ 652 h 927"/>
                <a:gd name="T12" fmla="*/ 621 w 885"/>
                <a:gd name="T13" fmla="*/ 718 h 927"/>
                <a:gd name="T14" fmla="*/ 511 w 885"/>
                <a:gd name="T15" fmla="*/ 795 h 927"/>
                <a:gd name="T16" fmla="*/ 448 w 885"/>
                <a:gd name="T17" fmla="*/ 802 h 927"/>
                <a:gd name="T18" fmla="*/ 272 w 885"/>
                <a:gd name="T19" fmla="*/ 726 h 927"/>
                <a:gd name="T20" fmla="*/ 240 w 885"/>
                <a:gd name="T21" fmla="*/ 562 h 927"/>
                <a:gd name="T22" fmla="*/ 239 w 885"/>
                <a:gd name="T23" fmla="*/ 488 h 927"/>
                <a:gd name="T24" fmla="*/ 239 w 885"/>
                <a:gd name="T25" fmla="*/ 218 h 927"/>
                <a:gd name="T26" fmla="*/ 241 w 885"/>
                <a:gd name="T27" fmla="*/ 114 h 927"/>
                <a:gd name="T28" fmla="*/ 248 w 885"/>
                <a:gd name="T29" fmla="*/ 73 h 927"/>
                <a:gd name="T30" fmla="*/ 284 w 885"/>
                <a:gd name="T31" fmla="*/ 8 h 927"/>
                <a:gd name="T32" fmla="*/ 291 w 885"/>
                <a:gd name="T33" fmla="*/ 0 h 927"/>
                <a:gd name="T34" fmla="*/ 0 w 885"/>
                <a:gd name="T35" fmla="*/ 0 h 927"/>
                <a:gd name="T36" fmla="*/ 32 w 885"/>
                <a:gd name="T37" fmla="*/ 36 h 927"/>
                <a:gd name="T38" fmla="*/ 45 w 885"/>
                <a:gd name="T39" fmla="*/ 67 h 927"/>
                <a:gd name="T40" fmla="*/ 51 w 885"/>
                <a:gd name="T41" fmla="*/ 109 h 927"/>
                <a:gd name="T42" fmla="*/ 51 w 885"/>
                <a:gd name="T43" fmla="*/ 164 h 927"/>
                <a:gd name="T44" fmla="*/ 52 w 885"/>
                <a:gd name="T45" fmla="*/ 216 h 927"/>
                <a:gd name="T46" fmla="*/ 52 w 885"/>
                <a:gd name="T47" fmla="*/ 473 h 927"/>
                <a:gd name="T48" fmla="*/ 55 w 885"/>
                <a:gd name="T49" fmla="*/ 631 h 927"/>
                <a:gd name="T50" fmla="*/ 118 w 885"/>
                <a:gd name="T51" fmla="*/ 796 h 927"/>
                <a:gd name="T52" fmla="*/ 435 w 885"/>
                <a:gd name="T53" fmla="*/ 927 h 927"/>
                <a:gd name="T54" fmla="*/ 615 w 885"/>
                <a:gd name="T55" fmla="*/ 898 h 927"/>
                <a:gd name="T56" fmla="*/ 748 w 885"/>
                <a:gd name="T57" fmla="*/ 809 h 927"/>
                <a:gd name="T58" fmla="*/ 821 w 885"/>
                <a:gd name="T59" fmla="*/ 635 h 927"/>
                <a:gd name="T60" fmla="*/ 827 w 885"/>
                <a:gd name="T61" fmla="*/ 475 h 927"/>
                <a:gd name="T62" fmla="*/ 827 w 885"/>
                <a:gd name="T63" fmla="*/ 217 h 927"/>
                <a:gd name="T64" fmla="*/ 826 w 885"/>
                <a:gd name="T65" fmla="*/ 165 h 927"/>
                <a:gd name="T66" fmla="*/ 826 w 885"/>
                <a:gd name="T67" fmla="*/ 155 h 927"/>
                <a:gd name="T68" fmla="*/ 834 w 885"/>
                <a:gd name="T69" fmla="*/ 73 h 927"/>
                <a:gd name="T70" fmla="*/ 849 w 885"/>
                <a:gd name="T71" fmla="*/ 37 h 927"/>
                <a:gd name="T72" fmla="*/ 885 w 885"/>
                <a:gd name="T73" fmla="*/ 0 h 927"/>
                <a:gd name="T74" fmla="*/ 599 w 885"/>
                <a:gd name="T75" fmla="*/ 0 h 927"/>
                <a:gd name="T76" fmla="*/ 631 w 885"/>
                <a:gd name="T77" fmla="*/ 34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5" h="927">
                  <a:moveTo>
                    <a:pt x="631" y="34"/>
                  </a:moveTo>
                  <a:lnTo>
                    <a:pt x="631" y="34"/>
                  </a:lnTo>
                  <a:cubicBezTo>
                    <a:pt x="637" y="44"/>
                    <a:pt x="641" y="54"/>
                    <a:pt x="644" y="65"/>
                  </a:cubicBezTo>
                  <a:cubicBezTo>
                    <a:pt x="650" y="87"/>
                    <a:pt x="652" y="108"/>
                    <a:pt x="652" y="159"/>
                  </a:cubicBezTo>
                  <a:lnTo>
                    <a:pt x="652" y="500"/>
                  </a:lnTo>
                  <a:cubicBezTo>
                    <a:pt x="652" y="573"/>
                    <a:pt x="650" y="617"/>
                    <a:pt x="645" y="652"/>
                  </a:cubicBezTo>
                  <a:cubicBezTo>
                    <a:pt x="641" y="676"/>
                    <a:pt x="633" y="698"/>
                    <a:pt x="621" y="718"/>
                  </a:cubicBezTo>
                  <a:cubicBezTo>
                    <a:pt x="600" y="755"/>
                    <a:pt x="559" y="783"/>
                    <a:pt x="511" y="795"/>
                  </a:cubicBezTo>
                  <a:cubicBezTo>
                    <a:pt x="492" y="800"/>
                    <a:pt x="470" y="802"/>
                    <a:pt x="448" y="802"/>
                  </a:cubicBezTo>
                  <a:cubicBezTo>
                    <a:pt x="371" y="802"/>
                    <a:pt x="304" y="773"/>
                    <a:pt x="272" y="726"/>
                  </a:cubicBezTo>
                  <a:cubicBezTo>
                    <a:pt x="248" y="690"/>
                    <a:pt x="241" y="655"/>
                    <a:pt x="240" y="562"/>
                  </a:cubicBezTo>
                  <a:lnTo>
                    <a:pt x="239" y="488"/>
                  </a:lnTo>
                  <a:lnTo>
                    <a:pt x="239" y="218"/>
                  </a:lnTo>
                  <a:cubicBezTo>
                    <a:pt x="239" y="166"/>
                    <a:pt x="239" y="141"/>
                    <a:pt x="241" y="114"/>
                  </a:cubicBezTo>
                  <a:cubicBezTo>
                    <a:pt x="242" y="98"/>
                    <a:pt x="244" y="84"/>
                    <a:pt x="248" y="73"/>
                  </a:cubicBezTo>
                  <a:cubicBezTo>
                    <a:pt x="254" y="52"/>
                    <a:pt x="269" y="25"/>
                    <a:pt x="284" y="8"/>
                  </a:cubicBezTo>
                  <a:cubicBezTo>
                    <a:pt x="286" y="6"/>
                    <a:pt x="288" y="3"/>
                    <a:pt x="291" y="0"/>
                  </a:cubicBezTo>
                  <a:lnTo>
                    <a:pt x="0" y="0"/>
                  </a:lnTo>
                  <a:cubicBezTo>
                    <a:pt x="18" y="15"/>
                    <a:pt x="23" y="21"/>
                    <a:pt x="32" y="36"/>
                  </a:cubicBezTo>
                  <a:cubicBezTo>
                    <a:pt x="38" y="46"/>
                    <a:pt x="42" y="56"/>
                    <a:pt x="45" y="67"/>
                  </a:cubicBezTo>
                  <a:cubicBezTo>
                    <a:pt x="48" y="81"/>
                    <a:pt x="51" y="95"/>
                    <a:pt x="51" y="109"/>
                  </a:cubicBezTo>
                  <a:cubicBezTo>
                    <a:pt x="51" y="117"/>
                    <a:pt x="51" y="136"/>
                    <a:pt x="51" y="164"/>
                  </a:cubicBezTo>
                  <a:lnTo>
                    <a:pt x="52" y="216"/>
                  </a:lnTo>
                  <a:lnTo>
                    <a:pt x="52" y="473"/>
                  </a:lnTo>
                  <a:cubicBezTo>
                    <a:pt x="52" y="569"/>
                    <a:pt x="52" y="593"/>
                    <a:pt x="55" y="631"/>
                  </a:cubicBezTo>
                  <a:cubicBezTo>
                    <a:pt x="61" y="697"/>
                    <a:pt x="80" y="749"/>
                    <a:pt x="118" y="796"/>
                  </a:cubicBezTo>
                  <a:cubicBezTo>
                    <a:pt x="186" y="882"/>
                    <a:pt x="295" y="927"/>
                    <a:pt x="435" y="927"/>
                  </a:cubicBezTo>
                  <a:cubicBezTo>
                    <a:pt x="501" y="927"/>
                    <a:pt x="566" y="916"/>
                    <a:pt x="615" y="898"/>
                  </a:cubicBezTo>
                  <a:cubicBezTo>
                    <a:pt x="667" y="879"/>
                    <a:pt x="714" y="847"/>
                    <a:pt x="748" y="809"/>
                  </a:cubicBezTo>
                  <a:cubicBezTo>
                    <a:pt x="790" y="763"/>
                    <a:pt x="814" y="705"/>
                    <a:pt x="821" y="635"/>
                  </a:cubicBezTo>
                  <a:cubicBezTo>
                    <a:pt x="825" y="594"/>
                    <a:pt x="827" y="545"/>
                    <a:pt x="827" y="475"/>
                  </a:cubicBezTo>
                  <a:lnTo>
                    <a:pt x="827" y="217"/>
                  </a:lnTo>
                  <a:lnTo>
                    <a:pt x="826" y="165"/>
                  </a:lnTo>
                  <a:lnTo>
                    <a:pt x="826" y="155"/>
                  </a:lnTo>
                  <a:cubicBezTo>
                    <a:pt x="826" y="117"/>
                    <a:pt x="828" y="94"/>
                    <a:pt x="834" y="73"/>
                  </a:cubicBezTo>
                  <a:cubicBezTo>
                    <a:pt x="837" y="61"/>
                    <a:pt x="842" y="48"/>
                    <a:pt x="849" y="37"/>
                  </a:cubicBezTo>
                  <a:cubicBezTo>
                    <a:pt x="859" y="22"/>
                    <a:pt x="866" y="15"/>
                    <a:pt x="885" y="0"/>
                  </a:cubicBezTo>
                  <a:lnTo>
                    <a:pt x="599" y="0"/>
                  </a:lnTo>
                  <a:cubicBezTo>
                    <a:pt x="616" y="13"/>
                    <a:pt x="622" y="20"/>
                    <a:pt x="631"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0" name="Freeform 11">
              <a:extLst>
                <a:ext uri="{FF2B5EF4-FFF2-40B4-BE49-F238E27FC236}">
                  <a16:creationId xmlns:a16="http://schemas.microsoft.com/office/drawing/2014/main" id="{09B25551-6DF8-4F9E-8F74-6699ECBF1AF6}"/>
                </a:ext>
              </a:extLst>
            </p:cNvPr>
            <p:cNvSpPr>
              <a:spLocks/>
            </p:cNvSpPr>
            <p:nvPr userDrawn="1"/>
          </p:nvSpPr>
          <p:spPr bwMode="auto">
            <a:xfrm>
              <a:off x="381" y="197"/>
              <a:ext cx="77" cy="80"/>
            </a:xfrm>
            <a:custGeom>
              <a:avLst/>
              <a:gdLst>
                <a:gd name="T0" fmla="*/ 654 w 865"/>
                <a:gd name="T1" fmla="*/ 771 h 897"/>
                <a:gd name="T2" fmla="*/ 654 w 865"/>
                <a:gd name="T3" fmla="*/ 771 h 897"/>
                <a:gd name="T4" fmla="*/ 513 w 865"/>
                <a:gd name="T5" fmla="*/ 783 h 897"/>
                <a:gd name="T6" fmla="*/ 442 w 865"/>
                <a:gd name="T7" fmla="*/ 784 h 897"/>
                <a:gd name="T8" fmla="*/ 304 w 865"/>
                <a:gd name="T9" fmla="*/ 784 h 897"/>
                <a:gd name="T10" fmla="*/ 848 w 865"/>
                <a:gd name="T11" fmla="*/ 0 h 897"/>
                <a:gd name="T12" fmla="*/ 143 w 865"/>
                <a:gd name="T13" fmla="*/ 0 h 897"/>
                <a:gd name="T14" fmla="*/ 56 w 865"/>
                <a:gd name="T15" fmla="*/ 191 h 897"/>
                <a:gd name="T16" fmla="*/ 121 w 865"/>
                <a:gd name="T17" fmla="*/ 160 h 897"/>
                <a:gd name="T18" fmla="*/ 248 w 865"/>
                <a:gd name="T19" fmla="*/ 124 h 897"/>
                <a:gd name="T20" fmla="*/ 375 w 865"/>
                <a:gd name="T21" fmla="*/ 113 h 897"/>
                <a:gd name="T22" fmla="*/ 444 w 865"/>
                <a:gd name="T23" fmla="*/ 112 h 897"/>
                <a:gd name="T24" fmla="*/ 549 w 865"/>
                <a:gd name="T25" fmla="*/ 112 h 897"/>
                <a:gd name="T26" fmla="*/ 0 w 865"/>
                <a:gd name="T27" fmla="*/ 897 h 897"/>
                <a:gd name="T28" fmla="*/ 776 w 865"/>
                <a:gd name="T29" fmla="*/ 897 h 897"/>
                <a:gd name="T30" fmla="*/ 865 w 865"/>
                <a:gd name="T31" fmla="*/ 692 h 897"/>
                <a:gd name="T32" fmla="*/ 800 w 865"/>
                <a:gd name="T33" fmla="*/ 727 h 897"/>
                <a:gd name="T34" fmla="*/ 654 w 865"/>
                <a:gd name="T35" fmla="*/ 771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 h="897">
                  <a:moveTo>
                    <a:pt x="654" y="771"/>
                  </a:moveTo>
                  <a:lnTo>
                    <a:pt x="654" y="771"/>
                  </a:lnTo>
                  <a:cubicBezTo>
                    <a:pt x="614" y="778"/>
                    <a:pt x="569" y="782"/>
                    <a:pt x="513" y="783"/>
                  </a:cubicBezTo>
                  <a:cubicBezTo>
                    <a:pt x="495" y="784"/>
                    <a:pt x="471" y="784"/>
                    <a:pt x="442" y="784"/>
                  </a:cubicBezTo>
                  <a:lnTo>
                    <a:pt x="304" y="784"/>
                  </a:lnTo>
                  <a:lnTo>
                    <a:pt x="848" y="0"/>
                  </a:lnTo>
                  <a:lnTo>
                    <a:pt x="143" y="0"/>
                  </a:lnTo>
                  <a:lnTo>
                    <a:pt x="56" y="191"/>
                  </a:lnTo>
                  <a:cubicBezTo>
                    <a:pt x="85" y="176"/>
                    <a:pt x="96" y="170"/>
                    <a:pt x="121" y="160"/>
                  </a:cubicBezTo>
                  <a:cubicBezTo>
                    <a:pt x="162" y="144"/>
                    <a:pt x="206" y="132"/>
                    <a:pt x="248" y="124"/>
                  </a:cubicBezTo>
                  <a:cubicBezTo>
                    <a:pt x="285" y="118"/>
                    <a:pt x="319" y="115"/>
                    <a:pt x="375" y="113"/>
                  </a:cubicBezTo>
                  <a:cubicBezTo>
                    <a:pt x="400" y="112"/>
                    <a:pt x="423" y="112"/>
                    <a:pt x="444" y="112"/>
                  </a:cubicBezTo>
                  <a:lnTo>
                    <a:pt x="549" y="112"/>
                  </a:lnTo>
                  <a:lnTo>
                    <a:pt x="0" y="897"/>
                  </a:lnTo>
                  <a:lnTo>
                    <a:pt x="776" y="897"/>
                  </a:lnTo>
                  <a:lnTo>
                    <a:pt x="865" y="692"/>
                  </a:lnTo>
                  <a:cubicBezTo>
                    <a:pt x="834" y="710"/>
                    <a:pt x="823" y="716"/>
                    <a:pt x="800" y="727"/>
                  </a:cubicBezTo>
                  <a:cubicBezTo>
                    <a:pt x="754" y="747"/>
                    <a:pt x="705" y="762"/>
                    <a:pt x="654" y="7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1" name="Freeform 12">
              <a:extLst>
                <a:ext uri="{FF2B5EF4-FFF2-40B4-BE49-F238E27FC236}">
                  <a16:creationId xmlns:a16="http://schemas.microsoft.com/office/drawing/2014/main" id="{17CA347B-4422-42D0-8D53-F54D93B92BFC}"/>
                </a:ext>
              </a:extLst>
            </p:cNvPr>
            <p:cNvSpPr>
              <a:spLocks noEditPoints="1"/>
            </p:cNvSpPr>
            <p:nvPr userDrawn="1"/>
          </p:nvSpPr>
          <p:spPr bwMode="auto">
            <a:xfrm>
              <a:off x="850" y="167"/>
              <a:ext cx="18" cy="18"/>
            </a:xfrm>
            <a:custGeom>
              <a:avLst/>
              <a:gdLst>
                <a:gd name="T0" fmla="*/ 102 w 203"/>
                <a:gd name="T1" fmla="*/ 189 h 203"/>
                <a:gd name="T2" fmla="*/ 102 w 203"/>
                <a:gd name="T3" fmla="*/ 189 h 203"/>
                <a:gd name="T4" fmla="*/ 17 w 203"/>
                <a:gd name="T5" fmla="*/ 102 h 203"/>
                <a:gd name="T6" fmla="*/ 102 w 203"/>
                <a:gd name="T7" fmla="*/ 15 h 203"/>
                <a:gd name="T8" fmla="*/ 187 w 203"/>
                <a:gd name="T9" fmla="*/ 102 h 203"/>
                <a:gd name="T10" fmla="*/ 102 w 203"/>
                <a:gd name="T11" fmla="*/ 189 h 203"/>
                <a:gd name="T12" fmla="*/ 102 w 203"/>
                <a:gd name="T13" fmla="*/ 189 h 203"/>
                <a:gd name="T14" fmla="*/ 102 w 203"/>
                <a:gd name="T15" fmla="*/ 0 h 203"/>
                <a:gd name="T16" fmla="*/ 102 w 203"/>
                <a:gd name="T17" fmla="*/ 0 h 203"/>
                <a:gd name="T18" fmla="*/ 0 w 203"/>
                <a:gd name="T19" fmla="*/ 102 h 203"/>
                <a:gd name="T20" fmla="*/ 102 w 203"/>
                <a:gd name="T21" fmla="*/ 203 h 203"/>
                <a:gd name="T22" fmla="*/ 203 w 203"/>
                <a:gd name="T23" fmla="*/ 102 h 203"/>
                <a:gd name="T24" fmla="*/ 102 w 203"/>
                <a:gd name="T2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203">
                  <a:moveTo>
                    <a:pt x="102" y="189"/>
                  </a:moveTo>
                  <a:lnTo>
                    <a:pt x="102" y="189"/>
                  </a:lnTo>
                  <a:cubicBezTo>
                    <a:pt x="54" y="189"/>
                    <a:pt x="17" y="154"/>
                    <a:pt x="17" y="102"/>
                  </a:cubicBezTo>
                  <a:cubicBezTo>
                    <a:pt x="17" y="50"/>
                    <a:pt x="54" y="15"/>
                    <a:pt x="102" y="15"/>
                  </a:cubicBezTo>
                  <a:cubicBezTo>
                    <a:pt x="150" y="15"/>
                    <a:pt x="187" y="50"/>
                    <a:pt x="187" y="102"/>
                  </a:cubicBezTo>
                  <a:cubicBezTo>
                    <a:pt x="187" y="154"/>
                    <a:pt x="150" y="189"/>
                    <a:pt x="102" y="189"/>
                  </a:cubicBezTo>
                  <a:lnTo>
                    <a:pt x="102" y="189"/>
                  </a:lnTo>
                  <a:close/>
                  <a:moveTo>
                    <a:pt x="102" y="0"/>
                  </a:moveTo>
                  <a:lnTo>
                    <a:pt x="102" y="0"/>
                  </a:lnTo>
                  <a:cubicBezTo>
                    <a:pt x="46" y="0"/>
                    <a:pt x="0" y="42"/>
                    <a:pt x="0" y="102"/>
                  </a:cubicBezTo>
                  <a:cubicBezTo>
                    <a:pt x="0" y="162"/>
                    <a:pt x="46" y="203"/>
                    <a:pt x="102" y="203"/>
                  </a:cubicBezTo>
                  <a:cubicBezTo>
                    <a:pt x="158" y="203"/>
                    <a:pt x="203" y="162"/>
                    <a:pt x="203" y="102"/>
                  </a:cubicBezTo>
                  <a:cubicBezTo>
                    <a:pt x="203" y="42"/>
                    <a:pt x="158" y="0"/>
                    <a:pt x="10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2" name="Freeform 13">
              <a:extLst>
                <a:ext uri="{FF2B5EF4-FFF2-40B4-BE49-F238E27FC236}">
                  <a16:creationId xmlns:a16="http://schemas.microsoft.com/office/drawing/2014/main" id="{E0DDBEEA-CFEE-403F-8FAC-331A201DFB6D}"/>
                </a:ext>
              </a:extLst>
            </p:cNvPr>
            <p:cNvSpPr>
              <a:spLocks noEditPoints="1"/>
            </p:cNvSpPr>
            <p:nvPr userDrawn="1"/>
          </p:nvSpPr>
          <p:spPr bwMode="auto">
            <a:xfrm>
              <a:off x="856" y="171"/>
              <a:ext cx="7" cy="9"/>
            </a:xfrm>
            <a:custGeom>
              <a:avLst/>
              <a:gdLst>
                <a:gd name="T0" fmla="*/ 40 w 87"/>
                <a:gd name="T1" fmla="*/ 50 h 107"/>
                <a:gd name="T2" fmla="*/ 40 w 87"/>
                <a:gd name="T3" fmla="*/ 50 h 107"/>
                <a:gd name="T4" fmla="*/ 15 w 87"/>
                <a:gd name="T5" fmla="*/ 50 h 107"/>
                <a:gd name="T6" fmla="*/ 15 w 87"/>
                <a:gd name="T7" fmla="*/ 16 h 107"/>
                <a:gd name="T8" fmla="*/ 38 w 87"/>
                <a:gd name="T9" fmla="*/ 16 h 107"/>
                <a:gd name="T10" fmla="*/ 66 w 87"/>
                <a:gd name="T11" fmla="*/ 33 h 107"/>
                <a:gd name="T12" fmla="*/ 40 w 87"/>
                <a:gd name="T13" fmla="*/ 50 h 107"/>
                <a:gd name="T14" fmla="*/ 40 w 87"/>
                <a:gd name="T15" fmla="*/ 50 h 107"/>
                <a:gd name="T16" fmla="*/ 83 w 87"/>
                <a:gd name="T17" fmla="*/ 33 h 107"/>
                <a:gd name="T18" fmla="*/ 83 w 87"/>
                <a:gd name="T19" fmla="*/ 33 h 107"/>
                <a:gd name="T20" fmla="*/ 32 w 87"/>
                <a:gd name="T21" fmla="*/ 0 h 107"/>
                <a:gd name="T22" fmla="*/ 0 w 87"/>
                <a:gd name="T23" fmla="*/ 0 h 107"/>
                <a:gd name="T24" fmla="*/ 0 w 87"/>
                <a:gd name="T25" fmla="*/ 107 h 107"/>
                <a:gd name="T26" fmla="*/ 15 w 87"/>
                <a:gd name="T27" fmla="*/ 107 h 107"/>
                <a:gd name="T28" fmla="*/ 15 w 87"/>
                <a:gd name="T29" fmla="*/ 66 h 107"/>
                <a:gd name="T30" fmla="*/ 44 w 87"/>
                <a:gd name="T31" fmla="*/ 66 h 107"/>
                <a:gd name="T32" fmla="*/ 46 w 87"/>
                <a:gd name="T33" fmla="*/ 65 h 107"/>
                <a:gd name="T34" fmla="*/ 69 w 87"/>
                <a:gd name="T35" fmla="*/ 107 h 107"/>
                <a:gd name="T36" fmla="*/ 87 w 87"/>
                <a:gd name="T37" fmla="*/ 107 h 107"/>
                <a:gd name="T38" fmla="*/ 62 w 87"/>
                <a:gd name="T39" fmla="*/ 62 h 107"/>
                <a:gd name="T40" fmla="*/ 83 w 87"/>
                <a:gd name="T41"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107">
                  <a:moveTo>
                    <a:pt x="40" y="50"/>
                  </a:moveTo>
                  <a:lnTo>
                    <a:pt x="40" y="50"/>
                  </a:lnTo>
                  <a:lnTo>
                    <a:pt x="15" y="50"/>
                  </a:lnTo>
                  <a:lnTo>
                    <a:pt x="15" y="16"/>
                  </a:lnTo>
                  <a:lnTo>
                    <a:pt x="38" y="16"/>
                  </a:lnTo>
                  <a:cubicBezTo>
                    <a:pt x="54" y="16"/>
                    <a:pt x="66" y="19"/>
                    <a:pt x="66" y="33"/>
                  </a:cubicBezTo>
                  <a:cubicBezTo>
                    <a:pt x="66" y="45"/>
                    <a:pt x="58" y="50"/>
                    <a:pt x="40" y="50"/>
                  </a:cubicBezTo>
                  <a:lnTo>
                    <a:pt x="40" y="50"/>
                  </a:lnTo>
                  <a:close/>
                  <a:moveTo>
                    <a:pt x="83" y="33"/>
                  </a:moveTo>
                  <a:lnTo>
                    <a:pt x="83" y="33"/>
                  </a:lnTo>
                  <a:cubicBezTo>
                    <a:pt x="83" y="5"/>
                    <a:pt x="64" y="0"/>
                    <a:pt x="32" y="0"/>
                  </a:cubicBezTo>
                  <a:lnTo>
                    <a:pt x="0" y="0"/>
                  </a:lnTo>
                  <a:lnTo>
                    <a:pt x="0" y="107"/>
                  </a:lnTo>
                  <a:lnTo>
                    <a:pt x="15" y="107"/>
                  </a:lnTo>
                  <a:lnTo>
                    <a:pt x="15" y="66"/>
                  </a:lnTo>
                  <a:lnTo>
                    <a:pt x="44" y="66"/>
                  </a:lnTo>
                  <a:cubicBezTo>
                    <a:pt x="45" y="66"/>
                    <a:pt x="46" y="66"/>
                    <a:pt x="46" y="65"/>
                  </a:cubicBezTo>
                  <a:lnTo>
                    <a:pt x="69" y="107"/>
                  </a:lnTo>
                  <a:lnTo>
                    <a:pt x="87" y="107"/>
                  </a:lnTo>
                  <a:lnTo>
                    <a:pt x="62" y="62"/>
                  </a:lnTo>
                  <a:cubicBezTo>
                    <a:pt x="76" y="56"/>
                    <a:pt x="83" y="45"/>
                    <a:pt x="83" y="3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grpSp>
      <p:sp>
        <p:nvSpPr>
          <p:cNvPr id="18" name="Slide Number Placeholder 5">
            <a:extLst>
              <a:ext uri="{FF2B5EF4-FFF2-40B4-BE49-F238E27FC236}">
                <a16:creationId xmlns:a16="http://schemas.microsoft.com/office/drawing/2014/main" id="{8031B39C-DF70-43CD-94D0-81EF6CC024A6}"/>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3" name="Footer Placeholder 3">
            <a:extLst>
              <a:ext uri="{FF2B5EF4-FFF2-40B4-BE49-F238E27FC236}">
                <a16:creationId xmlns:a16="http://schemas.microsoft.com/office/drawing/2014/main" id="{4ED371B5-D44C-4D74-B5F8-F89D42D7167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134469510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2 text boxes">
    <p:spTree>
      <p:nvGrpSpPr>
        <p:cNvPr id="1" name=""/>
        <p:cNvGrpSpPr/>
        <p:nvPr/>
      </p:nvGrpSpPr>
      <p:grpSpPr>
        <a:xfrm>
          <a:off x="0" y="0"/>
          <a:ext cx="0" cy="0"/>
          <a:chOff x="0" y="0"/>
          <a:chExt cx="0" cy="0"/>
        </a:xfrm>
      </p:grpSpPr>
      <p:sp>
        <p:nvSpPr>
          <p:cNvPr id="3" name="Content Placeholder 2"/>
          <p:cNvSpPr>
            <a:spLocks noGrp="1"/>
          </p:cNvSpPr>
          <p:nvPr>
            <p:ph idx="1"/>
          </p:nvPr>
        </p:nvSpPr>
        <p:spPr>
          <a:xfrm>
            <a:off x="250824" y="1206178"/>
            <a:ext cx="5573967"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7" name="Content Placeholder 2">
            <a:extLst>
              <a:ext uri="{FF2B5EF4-FFF2-40B4-BE49-F238E27FC236}">
                <a16:creationId xmlns:a16="http://schemas.microsoft.com/office/drawing/2014/main" id="{DD38D433-C715-4635-977C-8E54E7555A08}"/>
              </a:ext>
            </a:extLst>
          </p:cNvPr>
          <p:cNvSpPr>
            <a:spLocks noGrp="1"/>
          </p:cNvSpPr>
          <p:nvPr>
            <p:ph idx="13"/>
          </p:nvPr>
        </p:nvSpPr>
        <p:spPr>
          <a:xfrm>
            <a:off x="6280731" y="1206177"/>
            <a:ext cx="5578776"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20" name="Title 1">
            <a:extLst>
              <a:ext uri="{FF2B5EF4-FFF2-40B4-BE49-F238E27FC236}">
                <a16:creationId xmlns:a16="http://schemas.microsoft.com/office/drawing/2014/main" id="{69E92947-3625-9041-9213-E2B75D84A8F0}"/>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nl-NL"/>
              <a:t>Klik om stijl te bewerken</a:t>
            </a:r>
            <a:endParaRPr lang="en-US"/>
          </a:p>
        </p:txBody>
      </p:sp>
      <p:sp>
        <p:nvSpPr>
          <p:cNvPr id="21" name="Subtitle 2">
            <a:extLst>
              <a:ext uri="{FF2B5EF4-FFF2-40B4-BE49-F238E27FC236}">
                <a16:creationId xmlns:a16="http://schemas.microsoft.com/office/drawing/2014/main" id="{710AC261-10B5-584A-91F3-14A61852EFBE}"/>
              </a:ext>
            </a:extLst>
          </p:cNvPr>
          <p:cNvSpPr>
            <a:spLocks noGrp="1"/>
          </p:cNvSpPr>
          <p:nvPr>
            <p:ph type="subTitle" idx="14"/>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nl-NL"/>
              <a:t>Klikken om de ondertitelstijl van het model te bewerken</a:t>
            </a:r>
            <a:endParaRPr lang="en-GB" noProof="0"/>
          </a:p>
        </p:txBody>
      </p:sp>
      <p:grpSp>
        <p:nvGrpSpPr>
          <p:cNvPr id="19" name="Group 4">
            <a:extLst>
              <a:ext uri="{FF2B5EF4-FFF2-40B4-BE49-F238E27FC236}">
                <a16:creationId xmlns:a16="http://schemas.microsoft.com/office/drawing/2014/main" id="{A8A943C3-1379-499A-A8A6-41D5362C5C11}"/>
              </a:ext>
            </a:extLst>
          </p:cNvPr>
          <p:cNvGrpSpPr>
            <a:grpSpLocks noChangeAspect="1"/>
          </p:cNvGrpSpPr>
          <p:nvPr userDrawn="1"/>
        </p:nvGrpSpPr>
        <p:grpSpPr bwMode="auto">
          <a:xfrm>
            <a:off x="10178596" y="158751"/>
            <a:ext cx="1773767" cy="683683"/>
            <a:chOff x="79" y="75"/>
            <a:chExt cx="838" cy="323"/>
          </a:xfrm>
          <a:solidFill>
            <a:schemeClr val="accent1"/>
          </a:solidFill>
        </p:grpSpPr>
        <p:sp>
          <p:nvSpPr>
            <p:cNvPr id="22" name="AutoShape 3">
              <a:extLst>
                <a:ext uri="{FF2B5EF4-FFF2-40B4-BE49-F238E27FC236}">
                  <a16:creationId xmlns:a16="http://schemas.microsoft.com/office/drawing/2014/main" id="{26F7B60B-9BEA-49E4-8477-7195219E3403}"/>
                </a:ext>
              </a:extLst>
            </p:cNvPr>
            <p:cNvSpPr>
              <a:spLocks noChangeAspect="1" noChangeArrowheads="1" noTextEdit="1"/>
            </p:cNvSpPr>
            <p:nvPr userDrawn="1"/>
          </p:nvSpPr>
          <p:spPr bwMode="auto">
            <a:xfrm>
              <a:off x="79" y="75"/>
              <a:ext cx="838" cy="32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3" name="Freeform 5">
              <a:extLst>
                <a:ext uri="{FF2B5EF4-FFF2-40B4-BE49-F238E27FC236}">
                  <a16:creationId xmlns:a16="http://schemas.microsoft.com/office/drawing/2014/main" id="{0DA359F6-1339-49C3-9382-79BEA9F3D2DD}"/>
                </a:ext>
              </a:extLst>
            </p:cNvPr>
            <p:cNvSpPr>
              <a:spLocks/>
            </p:cNvSpPr>
            <p:nvPr userDrawn="1"/>
          </p:nvSpPr>
          <p:spPr bwMode="auto">
            <a:xfrm>
              <a:off x="159" y="155"/>
              <a:ext cx="163" cy="164"/>
            </a:xfrm>
            <a:custGeom>
              <a:avLst/>
              <a:gdLst>
                <a:gd name="T0" fmla="*/ 920 w 1841"/>
                <a:gd name="T1" fmla="*/ 0 h 1842"/>
                <a:gd name="T2" fmla="*/ 920 w 1841"/>
                <a:gd name="T3" fmla="*/ 0 h 1842"/>
                <a:gd name="T4" fmla="*/ 0 w 1841"/>
                <a:gd name="T5" fmla="*/ 921 h 1842"/>
                <a:gd name="T6" fmla="*/ 0 w 1841"/>
                <a:gd name="T7" fmla="*/ 921 h 1842"/>
                <a:gd name="T8" fmla="*/ 188 w 1841"/>
                <a:gd name="T9" fmla="*/ 1479 h 1842"/>
                <a:gd name="T10" fmla="*/ 954 w 1841"/>
                <a:gd name="T11" fmla="*/ 473 h 1842"/>
                <a:gd name="T12" fmla="*/ 871 w 1841"/>
                <a:gd name="T13" fmla="*/ 474 h 1842"/>
                <a:gd name="T14" fmla="*/ 790 w 1841"/>
                <a:gd name="T15" fmla="*/ 473 h 1842"/>
                <a:gd name="T16" fmla="*/ 561 w 1841"/>
                <a:gd name="T17" fmla="*/ 491 h 1842"/>
                <a:gd name="T18" fmla="*/ 467 w 1841"/>
                <a:gd name="T19" fmla="*/ 530 h 1842"/>
                <a:gd name="T20" fmla="*/ 374 w 1841"/>
                <a:gd name="T21" fmla="*/ 641 h 1842"/>
                <a:gd name="T22" fmla="*/ 361 w 1841"/>
                <a:gd name="T23" fmla="*/ 665 h 1842"/>
                <a:gd name="T24" fmla="*/ 316 w 1841"/>
                <a:gd name="T25" fmla="*/ 655 h 1842"/>
                <a:gd name="T26" fmla="*/ 392 w 1841"/>
                <a:gd name="T27" fmla="*/ 366 h 1842"/>
                <a:gd name="T28" fmla="*/ 1350 w 1841"/>
                <a:gd name="T29" fmla="*/ 366 h 1842"/>
                <a:gd name="T30" fmla="*/ 588 w 1841"/>
                <a:gd name="T31" fmla="*/ 1385 h 1842"/>
                <a:gd name="T32" fmla="*/ 698 w 1841"/>
                <a:gd name="T33" fmla="*/ 1379 h 1842"/>
                <a:gd name="T34" fmla="*/ 839 w 1841"/>
                <a:gd name="T35" fmla="*/ 1385 h 1842"/>
                <a:gd name="T36" fmla="*/ 974 w 1841"/>
                <a:gd name="T37" fmla="*/ 1393 h 1842"/>
                <a:gd name="T38" fmla="*/ 1095 w 1841"/>
                <a:gd name="T39" fmla="*/ 1397 h 1842"/>
                <a:gd name="T40" fmla="*/ 1255 w 1841"/>
                <a:gd name="T41" fmla="*/ 1378 h 1842"/>
                <a:gd name="T42" fmla="*/ 1354 w 1841"/>
                <a:gd name="T43" fmla="*/ 1331 h 1842"/>
                <a:gd name="T44" fmla="*/ 1491 w 1841"/>
                <a:gd name="T45" fmla="*/ 1175 h 1842"/>
                <a:gd name="T46" fmla="*/ 1504 w 1841"/>
                <a:gd name="T47" fmla="*/ 1147 h 1842"/>
                <a:gd name="T48" fmla="*/ 1545 w 1841"/>
                <a:gd name="T49" fmla="*/ 1158 h 1842"/>
                <a:gd name="T50" fmla="*/ 1505 w 1841"/>
                <a:gd name="T51" fmla="*/ 1273 h 1842"/>
                <a:gd name="T52" fmla="*/ 1354 w 1841"/>
                <a:gd name="T53" fmla="*/ 1472 h 1842"/>
                <a:gd name="T54" fmla="*/ 1131 w 1841"/>
                <a:gd name="T55" fmla="*/ 1546 h 1842"/>
                <a:gd name="T56" fmla="*/ 1118 w 1841"/>
                <a:gd name="T57" fmla="*/ 1546 h 1842"/>
                <a:gd name="T58" fmla="*/ 854 w 1841"/>
                <a:gd name="T59" fmla="*/ 1518 h 1842"/>
                <a:gd name="T60" fmla="*/ 544 w 1841"/>
                <a:gd name="T61" fmla="*/ 1486 h 1842"/>
                <a:gd name="T62" fmla="*/ 394 w 1841"/>
                <a:gd name="T63" fmla="*/ 1498 h 1842"/>
                <a:gd name="T64" fmla="*/ 242 w 1841"/>
                <a:gd name="T65" fmla="*/ 1543 h 1842"/>
                <a:gd name="T66" fmla="*/ 920 w 1841"/>
                <a:gd name="T67" fmla="*/ 1842 h 1842"/>
                <a:gd name="T68" fmla="*/ 1841 w 1841"/>
                <a:gd name="T69" fmla="*/ 921 h 1842"/>
                <a:gd name="T70" fmla="*/ 920 w 1841"/>
                <a:gd name="T71" fmla="*/ 0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41" h="1842">
                  <a:moveTo>
                    <a:pt x="920" y="0"/>
                  </a:moveTo>
                  <a:lnTo>
                    <a:pt x="920" y="0"/>
                  </a:lnTo>
                  <a:cubicBezTo>
                    <a:pt x="412" y="0"/>
                    <a:pt x="0" y="412"/>
                    <a:pt x="0" y="921"/>
                  </a:cubicBezTo>
                  <a:lnTo>
                    <a:pt x="0" y="921"/>
                  </a:lnTo>
                  <a:cubicBezTo>
                    <a:pt x="0" y="1131"/>
                    <a:pt x="70" y="1325"/>
                    <a:pt x="188" y="1479"/>
                  </a:cubicBezTo>
                  <a:lnTo>
                    <a:pt x="954" y="473"/>
                  </a:lnTo>
                  <a:lnTo>
                    <a:pt x="871" y="474"/>
                  </a:lnTo>
                  <a:lnTo>
                    <a:pt x="790" y="473"/>
                  </a:lnTo>
                  <a:cubicBezTo>
                    <a:pt x="702" y="473"/>
                    <a:pt x="620" y="480"/>
                    <a:pt x="561" y="491"/>
                  </a:cubicBezTo>
                  <a:cubicBezTo>
                    <a:pt x="525" y="498"/>
                    <a:pt x="493" y="511"/>
                    <a:pt x="467" y="530"/>
                  </a:cubicBezTo>
                  <a:cubicBezTo>
                    <a:pt x="437" y="551"/>
                    <a:pt x="399" y="596"/>
                    <a:pt x="374" y="641"/>
                  </a:cubicBezTo>
                  <a:cubicBezTo>
                    <a:pt x="371" y="646"/>
                    <a:pt x="367" y="654"/>
                    <a:pt x="361" y="665"/>
                  </a:cubicBezTo>
                  <a:lnTo>
                    <a:pt x="316" y="655"/>
                  </a:lnTo>
                  <a:lnTo>
                    <a:pt x="392" y="366"/>
                  </a:lnTo>
                  <a:lnTo>
                    <a:pt x="1350" y="366"/>
                  </a:lnTo>
                  <a:lnTo>
                    <a:pt x="588" y="1385"/>
                  </a:lnTo>
                  <a:cubicBezTo>
                    <a:pt x="638" y="1380"/>
                    <a:pt x="658" y="1379"/>
                    <a:pt x="698" y="1379"/>
                  </a:cubicBezTo>
                  <a:cubicBezTo>
                    <a:pt x="729" y="1379"/>
                    <a:pt x="776" y="1381"/>
                    <a:pt x="839" y="1385"/>
                  </a:cubicBezTo>
                  <a:lnTo>
                    <a:pt x="974" y="1393"/>
                  </a:lnTo>
                  <a:cubicBezTo>
                    <a:pt x="1023" y="1396"/>
                    <a:pt x="1064" y="1397"/>
                    <a:pt x="1095" y="1397"/>
                  </a:cubicBezTo>
                  <a:cubicBezTo>
                    <a:pt x="1165" y="1397"/>
                    <a:pt x="1210" y="1392"/>
                    <a:pt x="1255" y="1378"/>
                  </a:cubicBezTo>
                  <a:cubicBezTo>
                    <a:pt x="1290" y="1367"/>
                    <a:pt x="1324" y="1351"/>
                    <a:pt x="1354" y="1331"/>
                  </a:cubicBezTo>
                  <a:cubicBezTo>
                    <a:pt x="1408" y="1293"/>
                    <a:pt x="1460" y="1234"/>
                    <a:pt x="1491" y="1175"/>
                  </a:cubicBezTo>
                  <a:cubicBezTo>
                    <a:pt x="1494" y="1169"/>
                    <a:pt x="1499" y="1160"/>
                    <a:pt x="1504" y="1147"/>
                  </a:cubicBezTo>
                  <a:lnTo>
                    <a:pt x="1545" y="1158"/>
                  </a:lnTo>
                  <a:cubicBezTo>
                    <a:pt x="1532" y="1208"/>
                    <a:pt x="1525" y="1228"/>
                    <a:pt x="1505" y="1273"/>
                  </a:cubicBezTo>
                  <a:cubicBezTo>
                    <a:pt x="1464" y="1364"/>
                    <a:pt x="1417" y="1425"/>
                    <a:pt x="1354" y="1472"/>
                  </a:cubicBezTo>
                  <a:cubicBezTo>
                    <a:pt x="1289" y="1521"/>
                    <a:pt x="1216" y="1544"/>
                    <a:pt x="1131" y="1546"/>
                  </a:cubicBezTo>
                  <a:lnTo>
                    <a:pt x="1118" y="1546"/>
                  </a:lnTo>
                  <a:cubicBezTo>
                    <a:pt x="1055" y="1546"/>
                    <a:pt x="1006" y="1541"/>
                    <a:pt x="854" y="1518"/>
                  </a:cubicBezTo>
                  <a:cubicBezTo>
                    <a:pt x="700" y="1494"/>
                    <a:pt x="621" y="1486"/>
                    <a:pt x="544" y="1486"/>
                  </a:cubicBezTo>
                  <a:cubicBezTo>
                    <a:pt x="492" y="1486"/>
                    <a:pt x="444" y="1490"/>
                    <a:pt x="394" y="1498"/>
                  </a:cubicBezTo>
                  <a:cubicBezTo>
                    <a:pt x="328" y="1508"/>
                    <a:pt x="302" y="1516"/>
                    <a:pt x="242" y="1543"/>
                  </a:cubicBezTo>
                  <a:cubicBezTo>
                    <a:pt x="410" y="1727"/>
                    <a:pt x="652" y="1842"/>
                    <a:pt x="920" y="1842"/>
                  </a:cubicBezTo>
                  <a:cubicBezTo>
                    <a:pt x="1429" y="1842"/>
                    <a:pt x="1841" y="1430"/>
                    <a:pt x="1841" y="921"/>
                  </a:cubicBezTo>
                  <a:cubicBezTo>
                    <a:pt x="1841" y="412"/>
                    <a:pt x="1429" y="0"/>
                    <a:pt x="9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4" name="Freeform 6">
              <a:extLst>
                <a:ext uri="{FF2B5EF4-FFF2-40B4-BE49-F238E27FC236}">
                  <a16:creationId xmlns:a16="http://schemas.microsoft.com/office/drawing/2014/main" id="{04779FF0-DDCC-405A-8A7F-BAEF71FA8F36}"/>
                </a:ext>
              </a:extLst>
            </p:cNvPr>
            <p:cNvSpPr>
              <a:spLocks/>
            </p:cNvSpPr>
            <p:nvPr userDrawn="1"/>
          </p:nvSpPr>
          <p:spPr bwMode="auto">
            <a:xfrm>
              <a:off x="642" y="197"/>
              <a:ext cx="25" cy="80"/>
            </a:xfrm>
            <a:custGeom>
              <a:avLst/>
              <a:gdLst>
                <a:gd name="T0" fmla="*/ 232 w 288"/>
                <a:gd name="T1" fmla="*/ 166 h 897"/>
                <a:gd name="T2" fmla="*/ 232 w 288"/>
                <a:gd name="T3" fmla="*/ 166 h 897"/>
                <a:gd name="T4" fmla="*/ 241 w 288"/>
                <a:gd name="T5" fmla="*/ 65 h 897"/>
                <a:gd name="T6" fmla="*/ 254 w 288"/>
                <a:gd name="T7" fmla="*/ 37 h 897"/>
                <a:gd name="T8" fmla="*/ 288 w 288"/>
                <a:gd name="T9" fmla="*/ 0 h 897"/>
                <a:gd name="T10" fmla="*/ 0 w 288"/>
                <a:gd name="T11" fmla="*/ 0 h 897"/>
                <a:gd name="T12" fmla="*/ 33 w 288"/>
                <a:gd name="T13" fmla="*/ 35 h 897"/>
                <a:gd name="T14" fmla="*/ 47 w 288"/>
                <a:gd name="T15" fmla="*/ 64 h 897"/>
                <a:gd name="T16" fmla="*/ 56 w 288"/>
                <a:gd name="T17" fmla="*/ 161 h 897"/>
                <a:gd name="T18" fmla="*/ 56 w 288"/>
                <a:gd name="T19" fmla="*/ 215 h 897"/>
                <a:gd name="T20" fmla="*/ 56 w 288"/>
                <a:gd name="T21" fmla="*/ 752 h 897"/>
                <a:gd name="T22" fmla="*/ 42 w 288"/>
                <a:gd name="T23" fmla="*/ 839 h 897"/>
                <a:gd name="T24" fmla="*/ 28 w 288"/>
                <a:gd name="T25" fmla="*/ 865 h 897"/>
                <a:gd name="T26" fmla="*/ 1 w 288"/>
                <a:gd name="T27" fmla="*/ 897 h 897"/>
                <a:gd name="T28" fmla="*/ 285 w 288"/>
                <a:gd name="T29" fmla="*/ 897 h 897"/>
                <a:gd name="T30" fmla="*/ 258 w 288"/>
                <a:gd name="T31" fmla="*/ 865 h 897"/>
                <a:gd name="T32" fmla="*/ 243 w 288"/>
                <a:gd name="T33" fmla="*/ 838 h 897"/>
                <a:gd name="T34" fmla="*/ 231 w 288"/>
                <a:gd name="T35" fmla="*/ 759 h 897"/>
                <a:gd name="T36" fmla="*/ 231 w 288"/>
                <a:gd name="T37" fmla="*/ 218 h 897"/>
                <a:gd name="T38" fmla="*/ 232 w 288"/>
                <a:gd name="T39" fmla="*/ 16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897">
                  <a:moveTo>
                    <a:pt x="232" y="166"/>
                  </a:moveTo>
                  <a:lnTo>
                    <a:pt x="232" y="166"/>
                  </a:lnTo>
                  <a:cubicBezTo>
                    <a:pt x="232" y="106"/>
                    <a:pt x="233" y="89"/>
                    <a:pt x="241" y="65"/>
                  </a:cubicBezTo>
                  <a:cubicBezTo>
                    <a:pt x="244" y="55"/>
                    <a:pt x="248" y="46"/>
                    <a:pt x="254" y="37"/>
                  </a:cubicBezTo>
                  <a:cubicBezTo>
                    <a:pt x="263" y="22"/>
                    <a:pt x="270" y="14"/>
                    <a:pt x="288" y="0"/>
                  </a:cubicBezTo>
                  <a:lnTo>
                    <a:pt x="0" y="0"/>
                  </a:lnTo>
                  <a:cubicBezTo>
                    <a:pt x="18" y="16"/>
                    <a:pt x="24" y="22"/>
                    <a:pt x="33" y="35"/>
                  </a:cubicBezTo>
                  <a:cubicBezTo>
                    <a:pt x="39" y="44"/>
                    <a:pt x="44" y="54"/>
                    <a:pt x="47" y="64"/>
                  </a:cubicBezTo>
                  <a:cubicBezTo>
                    <a:pt x="53" y="86"/>
                    <a:pt x="56" y="108"/>
                    <a:pt x="56" y="161"/>
                  </a:cubicBezTo>
                  <a:cubicBezTo>
                    <a:pt x="56" y="188"/>
                    <a:pt x="56" y="206"/>
                    <a:pt x="56" y="215"/>
                  </a:cubicBezTo>
                  <a:lnTo>
                    <a:pt x="56" y="752"/>
                  </a:lnTo>
                  <a:cubicBezTo>
                    <a:pt x="56" y="784"/>
                    <a:pt x="51" y="817"/>
                    <a:pt x="42" y="839"/>
                  </a:cubicBezTo>
                  <a:cubicBezTo>
                    <a:pt x="39" y="848"/>
                    <a:pt x="34" y="857"/>
                    <a:pt x="28" y="865"/>
                  </a:cubicBezTo>
                  <a:cubicBezTo>
                    <a:pt x="21" y="875"/>
                    <a:pt x="16" y="880"/>
                    <a:pt x="1" y="897"/>
                  </a:cubicBezTo>
                  <a:lnTo>
                    <a:pt x="285" y="897"/>
                  </a:lnTo>
                  <a:cubicBezTo>
                    <a:pt x="271" y="885"/>
                    <a:pt x="266" y="879"/>
                    <a:pt x="258" y="865"/>
                  </a:cubicBezTo>
                  <a:cubicBezTo>
                    <a:pt x="252" y="856"/>
                    <a:pt x="247" y="847"/>
                    <a:pt x="243" y="838"/>
                  </a:cubicBezTo>
                  <a:cubicBezTo>
                    <a:pt x="236" y="817"/>
                    <a:pt x="231" y="787"/>
                    <a:pt x="231" y="759"/>
                  </a:cubicBezTo>
                  <a:lnTo>
                    <a:pt x="231" y="218"/>
                  </a:lnTo>
                  <a:lnTo>
                    <a:pt x="232" y="1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5" name="Freeform 7">
              <a:extLst>
                <a:ext uri="{FF2B5EF4-FFF2-40B4-BE49-F238E27FC236}">
                  <a16:creationId xmlns:a16="http://schemas.microsoft.com/office/drawing/2014/main" id="{E925ED24-DB1A-42EF-8C81-848273020D60}"/>
                </a:ext>
              </a:extLst>
            </p:cNvPr>
            <p:cNvSpPr>
              <a:spLocks/>
            </p:cNvSpPr>
            <p:nvPr userDrawn="1"/>
          </p:nvSpPr>
          <p:spPr bwMode="auto">
            <a:xfrm>
              <a:off x="761" y="197"/>
              <a:ext cx="77" cy="80"/>
            </a:xfrm>
            <a:custGeom>
              <a:avLst/>
              <a:gdLst>
                <a:gd name="T0" fmla="*/ 810 w 869"/>
                <a:gd name="T1" fmla="*/ 165 h 897"/>
                <a:gd name="T2" fmla="*/ 810 w 869"/>
                <a:gd name="T3" fmla="*/ 165 h 897"/>
                <a:gd name="T4" fmla="*/ 819 w 869"/>
                <a:gd name="T5" fmla="*/ 70 h 897"/>
                <a:gd name="T6" fmla="*/ 834 w 869"/>
                <a:gd name="T7" fmla="*/ 37 h 897"/>
                <a:gd name="T8" fmla="*/ 869 w 869"/>
                <a:gd name="T9" fmla="*/ 0 h 897"/>
                <a:gd name="T10" fmla="*/ 576 w 869"/>
                <a:gd name="T11" fmla="*/ 0 h 897"/>
                <a:gd name="T12" fmla="*/ 609 w 869"/>
                <a:gd name="T13" fmla="*/ 36 h 897"/>
                <a:gd name="T14" fmla="*/ 624 w 869"/>
                <a:gd name="T15" fmla="*/ 67 h 897"/>
                <a:gd name="T16" fmla="*/ 634 w 869"/>
                <a:gd name="T17" fmla="*/ 162 h 897"/>
                <a:gd name="T18" fmla="*/ 634 w 869"/>
                <a:gd name="T19" fmla="*/ 379 h 897"/>
                <a:gd name="T20" fmla="*/ 232 w 869"/>
                <a:gd name="T21" fmla="*/ 379 h 897"/>
                <a:gd name="T22" fmla="*/ 232 w 869"/>
                <a:gd name="T23" fmla="*/ 216 h 897"/>
                <a:gd name="T24" fmla="*/ 234 w 869"/>
                <a:gd name="T25" fmla="*/ 109 h 897"/>
                <a:gd name="T26" fmla="*/ 241 w 869"/>
                <a:gd name="T27" fmla="*/ 70 h 897"/>
                <a:gd name="T28" fmla="*/ 278 w 869"/>
                <a:gd name="T29" fmla="*/ 9 h 897"/>
                <a:gd name="T30" fmla="*/ 288 w 869"/>
                <a:gd name="T31" fmla="*/ 0 h 897"/>
                <a:gd name="T32" fmla="*/ 1 w 869"/>
                <a:gd name="T33" fmla="*/ 0 h 897"/>
                <a:gd name="T34" fmla="*/ 30 w 869"/>
                <a:gd name="T35" fmla="*/ 34 h 897"/>
                <a:gd name="T36" fmla="*/ 46 w 869"/>
                <a:gd name="T37" fmla="*/ 64 h 897"/>
                <a:gd name="T38" fmla="*/ 56 w 869"/>
                <a:gd name="T39" fmla="*/ 159 h 897"/>
                <a:gd name="T40" fmla="*/ 57 w 869"/>
                <a:gd name="T41" fmla="*/ 216 h 897"/>
                <a:gd name="T42" fmla="*/ 57 w 869"/>
                <a:gd name="T43" fmla="*/ 707 h 897"/>
                <a:gd name="T44" fmla="*/ 53 w 869"/>
                <a:gd name="T45" fmla="*/ 802 h 897"/>
                <a:gd name="T46" fmla="*/ 44 w 869"/>
                <a:gd name="T47" fmla="*/ 838 h 897"/>
                <a:gd name="T48" fmla="*/ 9 w 869"/>
                <a:gd name="T49" fmla="*/ 888 h 897"/>
                <a:gd name="T50" fmla="*/ 0 w 869"/>
                <a:gd name="T51" fmla="*/ 897 h 897"/>
                <a:gd name="T52" fmla="*/ 284 w 869"/>
                <a:gd name="T53" fmla="*/ 897 h 897"/>
                <a:gd name="T54" fmla="*/ 260 w 869"/>
                <a:gd name="T55" fmla="*/ 867 h 897"/>
                <a:gd name="T56" fmla="*/ 245 w 869"/>
                <a:gd name="T57" fmla="*/ 839 h 897"/>
                <a:gd name="T58" fmla="*/ 232 w 869"/>
                <a:gd name="T59" fmla="*/ 761 h 897"/>
                <a:gd name="T60" fmla="*/ 232 w 869"/>
                <a:gd name="T61" fmla="*/ 707 h 897"/>
                <a:gd name="T62" fmla="*/ 232 w 869"/>
                <a:gd name="T63" fmla="*/ 490 h 897"/>
                <a:gd name="T64" fmla="*/ 634 w 869"/>
                <a:gd name="T65" fmla="*/ 490 h 897"/>
                <a:gd name="T66" fmla="*/ 634 w 869"/>
                <a:gd name="T67" fmla="*/ 709 h 897"/>
                <a:gd name="T68" fmla="*/ 630 w 869"/>
                <a:gd name="T69" fmla="*/ 800 h 897"/>
                <a:gd name="T70" fmla="*/ 620 w 869"/>
                <a:gd name="T71" fmla="*/ 838 h 897"/>
                <a:gd name="T72" fmla="*/ 588 w 869"/>
                <a:gd name="T73" fmla="*/ 885 h 897"/>
                <a:gd name="T74" fmla="*/ 575 w 869"/>
                <a:gd name="T75" fmla="*/ 897 h 897"/>
                <a:gd name="T76" fmla="*/ 862 w 869"/>
                <a:gd name="T77" fmla="*/ 897 h 897"/>
                <a:gd name="T78" fmla="*/ 838 w 869"/>
                <a:gd name="T79" fmla="*/ 869 h 897"/>
                <a:gd name="T80" fmla="*/ 821 w 869"/>
                <a:gd name="T81" fmla="*/ 839 h 897"/>
                <a:gd name="T82" fmla="*/ 810 w 869"/>
                <a:gd name="T83" fmla="*/ 758 h 897"/>
                <a:gd name="T84" fmla="*/ 809 w 869"/>
                <a:gd name="T85" fmla="*/ 712 h 897"/>
                <a:gd name="T86" fmla="*/ 810 w 869"/>
                <a:gd name="T87" fmla="*/ 218 h 897"/>
                <a:gd name="T88" fmla="*/ 810 w 869"/>
                <a:gd name="T89" fmla="*/ 16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9" h="897">
                  <a:moveTo>
                    <a:pt x="810" y="165"/>
                  </a:moveTo>
                  <a:lnTo>
                    <a:pt x="810" y="165"/>
                  </a:lnTo>
                  <a:cubicBezTo>
                    <a:pt x="810" y="125"/>
                    <a:pt x="813" y="95"/>
                    <a:pt x="819" y="70"/>
                  </a:cubicBezTo>
                  <a:cubicBezTo>
                    <a:pt x="823" y="59"/>
                    <a:pt x="828" y="48"/>
                    <a:pt x="834" y="37"/>
                  </a:cubicBezTo>
                  <a:cubicBezTo>
                    <a:pt x="843" y="22"/>
                    <a:pt x="850" y="14"/>
                    <a:pt x="869" y="0"/>
                  </a:cubicBezTo>
                  <a:lnTo>
                    <a:pt x="576" y="0"/>
                  </a:lnTo>
                  <a:cubicBezTo>
                    <a:pt x="593" y="14"/>
                    <a:pt x="599" y="20"/>
                    <a:pt x="609" y="36"/>
                  </a:cubicBezTo>
                  <a:cubicBezTo>
                    <a:pt x="616" y="46"/>
                    <a:pt x="621" y="57"/>
                    <a:pt x="624" y="67"/>
                  </a:cubicBezTo>
                  <a:cubicBezTo>
                    <a:pt x="631" y="88"/>
                    <a:pt x="634" y="115"/>
                    <a:pt x="634" y="162"/>
                  </a:cubicBezTo>
                  <a:lnTo>
                    <a:pt x="634" y="379"/>
                  </a:lnTo>
                  <a:lnTo>
                    <a:pt x="232" y="379"/>
                  </a:lnTo>
                  <a:lnTo>
                    <a:pt x="232" y="216"/>
                  </a:lnTo>
                  <a:cubicBezTo>
                    <a:pt x="232" y="166"/>
                    <a:pt x="232" y="134"/>
                    <a:pt x="234" y="109"/>
                  </a:cubicBezTo>
                  <a:cubicBezTo>
                    <a:pt x="235" y="95"/>
                    <a:pt x="238" y="82"/>
                    <a:pt x="241" y="70"/>
                  </a:cubicBezTo>
                  <a:cubicBezTo>
                    <a:pt x="247" y="51"/>
                    <a:pt x="264" y="24"/>
                    <a:pt x="278" y="9"/>
                  </a:cubicBezTo>
                  <a:cubicBezTo>
                    <a:pt x="280" y="7"/>
                    <a:pt x="284" y="4"/>
                    <a:pt x="288" y="0"/>
                  </a:cubicBezTo>
                  <a:lnTo>
                    <a:pt x="1" y="0"/>
                  </a:lnTo>
                  <a:cubicBezTo>
                    <a:pt x="18" y="17"/>
                    <a:pt x="23" y="23"/>
                    <a:pt x="30" y="34"/>
                  </a:cubicBezTo>
                  <a:cubicBezTo>
                    <a:pt x="37" y="43"/>
                    <a:pt x="42" y="53"/>
                    <a:pt x="46" y="64"/>
                  </a:cubicBezTo>
                  <a:cubicBezTo>
                    <a:pt x="53" y="87"/>
                    <a:pt x="55" y="100"/>
                    <a:pt x="56" y="159"/>
                  </a:cubicBezTo>
                  <a:lnTo>
                    <a:pt x="57" y="216"/>
                  </a:lnTo>
                  <a:lnTo>
                    <a:pt x="57" y="707"/>
                  </a:lnTo>
                  <a:cubicBezTo>
                    <a:pt x="57" y="757"/>
                    <a:pt x="56" y="779"/>
                    <a:pt x="53" y="802"/>
                  </a:cubicBezTo>
                  <a:cubicBezTo>
                    <a:pt x="51" y="814"/>
                    <a:pt x="48" y="825"/>
                    <a:pt x="44" y="838"/>
                  </a:cubicBezTo>
                  <a:cubicBezTo>
                    <a:pt x="37" y="857"/>
                    <a:pt x="26" y="872"/>
                    <a:pt x="9" y="888"/>
                  </a:cubicBezTo>
                  <a:cubicBezTo>
                    <a:pt x="7" y="890"/>
                    <a:pt x="4" y="893"/>
                    <a:pt x="0" y="897"/>
                  </a:cubicBezTo>
                  <a:lnTo>
                    <a:pt x="284" y="897"/>
                  </a:lnTo>
                  <a:cubicBezTo>
                    <a:pt x="271" y="884"/>
                    <a:pt x="267" y="878"/>
                    <a:pt x="260" y="867"/>
                  </a:cubicBezTo>
                  <a:cubicBezTo>
                    <a:pt x="254" y="859"/>
                    <a:pt x="249" y="849"/>
                    <a:pt x="245" y="839"/>
                  </a:cubicBezTo>
                  <a:cubicBezTo>
                    <a:pt x="236" y="815"/>
                    <a:pt x="233" y="799"/>
                    <a:pt x="232" y="761"/>
                  </a:cubicBezTo>
                  <a:cubicBezTo>
                    <a:pt x="232" y="741"/>
                    <a:pt x="232" y="724"/>
                    <a:pt x="232" y="707"/>
                  </a:cubicBezTo>
                  <a:lnTo>
                    <a:pt x="232" y="490"/>
                  </a:lnTo>
                  <a:lnTo>
                    <a:pt x="634" y="490"/>
                  </a:lnTo>
                  <a:lnTo>
                    <a:pt x="634" y="709"/>
                  </a:lnTo>
                  <a:cubicBezTo>
                    <a:pt x="634" y="757"/>
                    <a:pt x="633" y="775"/>
                    <a:pt x="630" y="800"/>
                  </a:cubicBezTo>
                  <a:cubicBezTo>
                    <a:pt x="628" y="813"/>
                    <a:pt x="625" y="826"/>
                    <a:pt x="620" y="838"/>
                  </a:cubicBezTo>
                  <a:cubicBezTo>
                    <a:pt x="613" y="855"/>
                    <a:pt x="603" y="871"/>
                    <a:pt x="588" y="885"/>
                  </a:cubicBezTo>
                  <a:cubicBezTo>
                    <a:pt x="585" y="888"/>
                    <a:pt x="581" y="892"/>
                    <a:pt x="575" y="897"/>
                  </a:cubicBezTo>
                  <a:lnTo>
                    <a:pt x="862" y="897"/>
                  </a:lnTo>
                  <a:cubicBezTo>
                    <a:pt x="850" y="885"/>
                    <a:pt x="846" y="880"/>
                    <a:pt x="838" y="869"/>
                  </a:cubicBezTo>
                  <a:cubicBezTo>
                    <a:pt x="831" y="859"/>
                    <a:pt x="825" y="849"/>
                    <a:pt x="821" y="839"/>
                  </a:cubicBezTo>
                  <a:cubicBezTo>
                    <a:pt x="813" y="818"/>
                    <a:pt x="811" y="803"/>
                    <a:pt x="810" y="758"/>
                  </a:cubicBezTo>
                  <a:cubicBezTo>
                    <a:pt x="809" y="732"/>
                    <a:pt x="809" y="717"/>
                    <a:pt x="809" y="712"/>
                  </a:cubicBezTo>
                  <a:lnTo>
                    <a:pt x="810" y="218"/>
                  </a:lnTo>
                  <a:lnTo>
                    <a:pt x="810" y="16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6" name="Freeform 8">
              <a:extLst>
                <a:ext uri="{FF2B5EF4-FFF2-40B4-BE49-F238E27FC236}">
                  <a16:creationId xmlns:a16="http://schemas.microsoft.com/office/drawing/2014/main" id="{8CC5B0C1-B8B3-4F9C-8E68-FB9E998A567E}"/>
                </a:ext>
              </a:extLst>
            </p:cNvPr>
            <p:cNvSpPr>
              <a:spLocks noEditPoints="1"/>
            </p:cNvSpPr>
            <p:nvPr userDrawn="1"/>
          </p:nvSpPr>
          <p:spPr bwMode="auto">
            <a:xfrm>
              <a:off x="562" y="197"/>
              <a:ext cx="73" cy="80"/>
            </a:xfrm>
            <a:custGeom>
              <a:avLst/>
              <a:gdLst>
                <a:gd name="T0" fmla="*/ 408 w 822"/>
                <a:gd name="T1" fmla="*/ 395 h 897"/>
                <a:gd name="T2" fmla="*/ 408 w 822"/>
                <a:gd name="T3" fmla="*/ 395 h 897"/>
                <a:gd name="T4" fmla="*/ 295 w 822"/>
                <a:gd name="T5" fmla="*/ 431 h 897"/>
                <a:gd name="T6" fmla="*/ 248 w 822"/>
                <a:gd name="T7" fmla="*/ 435 h 897"/>
                <a:gd name="T8" fmla="*/ 233 w 822"/>
                <a:gd name="T9" fmla="*/ 435 h 897"/>
                <a:gd name="T10" fmla="*/ 233 w 822"/>
                <a:gd name="T11" fmla="*/ 103 h 897"/>
                <a:gd name="T12" fmla="*/ 257 w 822"/>
                <a:gd name="T13" fmla="*/ 102 h 897"/>
                <a:gd name="T14" fmla="*/ 378 w 822"/>
                <a:gd name="T15" fmla="*/ 117 h 897"/>
                <a:gd name="T16" fmla="*/ 439 w 822"/>
                <a:gd name="T17" fmla="*/ 149 h 897"/>
                <a:gd name="T18" fmla="*/ 485 w 822"/>
                <a:gd name="T19" fmla="*/ 260 h 897"/>
                <a:gd name="T20" fmla="*/ 450 w 822"/>
                <a:gd name="T21" fmla="*/ 361 h 897"/>
                <a:gd name="T22" fmla="*/ 408 w 822"/>
                <a:gd name="T23" fmla="*/ 395 h 897"/>
                <a:gd name="T24" fmla="*/ 408 w 822"/>
                <a:gd name="T25" fmla="*/ 395 h 897"/>
                <a:gd name="T26" fmla="*/ 750 w 822"/>
                <a:gd name="T27" fmla="*/ 835 h 897"/>
                <a:gd name="T28" fmla="*/ 750 w 822"/>
                <a:gd name="T29" fmla="*/ 835 h 897"/>
                <a:gd name="T30" fmla="*/ 649 w 822"/>
                <a:gd name="T31" fmla="*/ 730 h 897"/>
                <a:gd name="T32" fmla="*/ 583 w 822"/>
                <a:gd name="T33" fmla="*/ 657 h 897"/>
                <a:gd name="T34" fmla="*/ 444 w 822"/>
                <a:gd name="T35" fmla="*/ 493 h 897"/>
                <a:gd name="T36" fmla="*/ 484 w 822"/>
                <a:gd name="T37" fmla="*/ 480 h 897"/>
                <a:gd name="T38" fmla="*/ 594 w 822"/>
                <a:gd name="T39" fmla="*/ 416 h 897"/>
                <a:gd name="T40" fmla="*/ 665 w 822"/>
                <a:gd name="T41" fmla="*/ 313 h 897"/>
                <a:gd name="T42" fmla="*/ 676 w 822"/>
                <a:gd name="T43" fmla="*/ 244 h 897"/>
                <a:gd name="T44" fmla="*/ 615 w 822"/>
                <a:gd name="T45" fmla="*/ 97 h 897"/>
                <a:gd name="T46" fmla="*/ 470 w 822"/>
                <a:gd name="T47" fmla="*/ 16 h 897"/>
                <a:gd name="T48" fmla="*/ 316 w 822"/>
                <a:gd name="T49" fmla="*/ 1 h 897"/>
                <a:gd name="T50" fmla="*/ 233 w 822"/>
                <a:gd name="T51" fmla="*/ 0 h 897"/>
                <a:gd name="T52" fmla="*/ 2 w 822"/>
                <a:gd name="T53" fmla="*/ 0 h 897"/>
                <a:gd name="T54" fmla="*/ 32 w 822"/>
                <a:gd name="T55" fmla="*/ 33 h 897"/>
                <a:gd name="T56" fmla="*/ 47 w 822"/>
                <a:gd name="T57" fmla="*/ 66 h 897"/>
                <a:gd name="T58" fmla="*/ 56 w 822"/>
                <a:gd name="T59" fmla="*/ 162 h 897"/>
                <a:gd name="T60" fmla="*/ 56 w 822"/>
                <a:gd name="T61" fmla="*/ 750 h 897"/>
                <a:gd name="T62" fmla="*/ 46 w 822"/>
                <a:gd name="T63" fmla="*/ 837 h 897"/>
                <a:gd name="T64" fmla="*/ 31 w 822"/>
                <a:gd name="T65" fmla="*/ 865 h 897"/>
                <a:gd name="T66" fmla="*/ 0 w 822"/>
                <a:gd name="T67" fmla="*/ 897 h 897"/>
                <a:gd name="T68" fmla="*/ 285 w 822"/>
                <a:gd name="T69" fmla="*/ 897 h 897"/>
                <a:gd name="T70" fmla="*/ 261 w 822"/>
                <a:gd name="T71" fmla="*/ 867 h 897"/>
                <a:gd name="T72" fmla="*/ 245 w 822"/>
                <a:gd name="T73" fmla="*/ 840 h 897"/>
                <a:gd name="T74" fmla="*/ 234 w 822"/>
                <a:gd name="T75" fmla="*/ 757 h 897"/>
                <a:gd name="T76" fmla="*/ 233 w 822"/>
                <a:gd name="T77" fmla="*/ 712 h 897"/>
                <a:gd name="T78" fmla="*/ 233 w 822"/>
                <a:gd name="T79" fmla="*/ 510 h 897"/>
                <a:gd name="T80" fmla="*/ 400 w 822"/>
                <a:gd name="T81" fmla="*/ 710 h 897"/>
                <a:gd name="T82" fmla="*/ 437 w 822"/>
                <a:gd name="T83" fmla="*/ 753 h 897"/>
                <a:gd name="T84" fmla="*/ 481 w 822"/>
                <a:gd name="T85" fmla="*/ 801 h 897"/>
                <a:gd name="T86" fmla="*/ 573 w 822"/>
                <a:gd name="T87" fmla="*/ 875 h 897"/>
                <a:gd name="T88" fmla="*/ 662 w 822"/>
                <a:gd name="T89" fmla="*/ 896 h 897"/>
                <a:gd name="T90" fmla="*/ 709 w 822"/>
                <a:gd name="T91" fmla="*/ 897 h 897"/>
                <a:gd name="T92" fmla="*/ 822 w 822"/>
                <a:gd name="T93" fmla="*/ 897 h 897"/>
                <a:gd name="T94" fmla="*/ 789 w 822"/>
                <a:gd name="T95" fmla="*/ 870 h 897"/>
                <a:gd name="T96" fmla="*/ 750 w 822"/>
                <a:gd name="T97" fmla="*/ 83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897">
                  <a:moveTo>
                    <a:pt x="408" y="395"/>
                  </a:moveTo>
                  <a:lnTo>
                    <a:pt x="408" y="395"/>
                  </a:lnTo>
                  <a:cubicBezTo>
                    <a:pt x="376" y="413"/>
                    <a:pt x="343" y="424"/>
                    <a:pt x="295" y="431"/>
                  </a:cubicBezTo>
                  <a:cubicBezTo>
                    <a:pt x="277" y="434"/>
                    <a:pt x="261" y="435"/>
                    <a:pt x="248" y="435"/>
                  </a:cubicBezTo>
                  <a:cubicBezTo>
                    <a:pt x="243" y="435"/>
                    <a:pt x="240" y="435"/>
                    <a:pt x="233" y="435"/>
                  </a:cubicBezTo>
                  <a:lnTo>
                    <a:pt x="233" y="103"/>
                  </a:lnTo>
                  <a:cubicBezTo>
                    <a:pt x="245" y="102"/>
                    <a:pt x="249" y="102"/>
                    <a:pt x="257" y="102"/>
                  </a:cubicBezTo>
                  <a:cubicBezTo>
                    <a:pt x="301" y="102"/>
                    <a:pt x="344" y="107"/>
                    <a:pt x="378" y="117"/>
                  </a:cubicBezTo>
                  <a:cubicBezTo>
                    <a:pt x="400" y="123"/>
                    <a:pt x="421" y="135"/>
                    <a:pt x="439" y="149"/>
                  </a:cubicBezTo>
                  <a:cubicBezTo>
                    <a:pt x="469" y="175"/>
                    <a:pt x="485" y="213"/>
                    <a:pt x="485" y="260"/>
                  </a:cubicBezTo>
                  <a:cubicBezTo>
                    <a:pt x="485" y="300"/>
                    <a:pt x="473" y="335"/>
                    <a:pt x="450" y="361"/>
                  </a:cubicBezTo>
                  <a:cubicBezTo>
                    <a:pt x="439" y="373"/>
                    <a:pt x="425" y="385"/>
                    <a:pt x="408" y="395"/>
                  </a:cubicBezTo>
                  <a:lnTo>
                    <a:pt x="408" y="395"/>
                  </a:lnTo>
                  <a:close/>
                  <a:moveTo>
                    <a:pt x="750" y="835"/>
                  </a:moveTo>
                  <a:lnTo>
                    <a:pt x="750" y="835"/>
                  </a:lnTo>
                  <a:cubicBezTo>
                    <a:pt x="719" y="804"/>
                    <a:pt x="691" y="776"/>
                    <a:pt x="649" y="730"/>
                  </a:cubicBezTo>
                  <a:cubicBezTo>
                    <a:pt x="622" y="702"/>
                    <a:pt x="600" y="677"/>
                    <a:pt x="583" y="657"/>
                  </a:cubicBezTo>
                  <a:lnTo>
                    <a:pt x="444" y="493"/>
                  </a:lnTo>
                  <a:cubicBezTo>
                    <a:pt x="461" y="488"/>
                    <a:pt x="468" y="486"/>
                    <a:pt x="484" y="480"/>
                  </a:cubicBezTo>
                  <a:cubicBezTo>
                    <a:pt x="529" y="462"/>
                    <a:pt x="563" y="442"/>
                    <a:pt x="594" y="416"/>
                  </a:cubicBezTo>
                  <a:cubicBezTo>
                    <a:pt x="630" y="386"/>
                    <a:pt x="652" y="354"/>
                    <a:pt x="665" y="313"/>
                  </a:cubicBezTo>
                  <a:cubicBezTo>
                    <a:pt x="673" y="291"/>
                    <a:pt x="676" y="267"/>
                    <a:pt x="676" y="244"/>
                  </a:cubicBezTo>
                  <a:cubicBezTo>
                    <a:pt x="676" y="189"/>
                    <a:pt x="656" y="139"/>
                    <a:pt x="615" y="97"/>
                  </a:cubicBezTo>
                  <a:cubicBezTo>
                    <a:pt x="579" y="58"/>
                    <a:pt x="527" y="30"/>
                    <a:pt x="470" y="16"/>
                  </a:cubicBezTo>
                  <a:cubicBezTo>
                    <a:pt x="429" y="7"/>
                    <a:pt x="388" y="2"/>
                    <a:pt x="316" y="1"/>
                  </a:cubicBezTo>
                  <a:cubicBezTo>
                    <a:pt x="289" y="0"/>
                    <a:pt x="262" y="0"/>
                    <a:pt x="233" y="0"/>
                  </a:cubicBezTo>
                  <a:lnTo>
                    <a:pt x="2" y="0"/>
                  </a:lnTo>
                  <a:cubicBezTo>
                    <a:pt x="17" y="14"/>
                    <a:pt x="23" y="20"/>
                    <a:pt x="32" y="33"/>
                  </a:cubicBezTo>
                  <a:cubicBezTo>
                    <a:pt x="38" y="44"/>
                    <a:pt x="44" y="55"/>
                    <a:pt x="47" y="66"/>
                  </a:cubicBezTo>
                  <a:cubicBezTo>
                    <a:pt x="53" y="86"/>
                    <a:pt x="56" y="114"/>
                    <a:pt x="56" y="162"/>
                  </a:cubicBezTo>
                  <a:lnTo>
                    <a:pt x="56" y="750"/>
                  </a:lnTo>
                  <a:cubicBezTo>
                    <a:pt x="56" y="793"/>
                    <a:pt x="53" y="817"/>
                    <a:pt x="46" y="837"/>
                  </a:cubicBezTo>
                  <a:cubicBezTo>
                    <a:pt x="42" y="847"/>
                    <a:pt x="37" y="857"/>
                    <a:pt x="31" y="865"/>
                  </a:cubicBezTo>
                  <a:cubicBezTo>
                    <a:pt x="22" y="876"/>
                    <a:pt x="17" y="882"/>
                    <a:pt x="0" y="897"/>
                  </a:cubicBezTo>
                  <a:lnTo>
                    <a:pt x="285" y="897"/>
                  </a:lnTo>
                  <a:cubicBezTo>
                    <a:pt x="273" y="883"/>
                    <a:pt x="269" y="878"/>
                    <a:pt x="261" y="867"/>
                  </a:cubicBezTo>
                  <a:cubicBezTo>
                    <a:pt x="254" y="859"/>
                    <a:pt x="249" y="850"/>
                    <a:pt x="245" y="840"/>
                  </a:cubicBezTo>
                  <a:cubicBezTo>
                    <a:pt x="238" y="820"/>
                    <a:pt x="234" y="799"/>
                    <a:pt x="234" y="757"/>
                  </a:cubicBezTo>
                  <a:cubicBezTo>
                    <a:pt x="234" y="744"/>
                    <a:pt x="233" y="729"/>
                    <a:pt x="233" y="712"/>
                  </a:cubicBezTo>
                  <a:lnTo>
                    <a:pt x="233" y="510"/>
                  </a:lnTo>
                  <a:lnTo>
                    <a:pt x="400" y="710"/>
                  </a:lnTo>
                  <a:cubicBezTo>
                    <a:pt x="407" y="719"/>
                    <a:pt x="420" y="734"/>
                    <a:pt x="437" y="753"/>
                  </a:cubicBezTo>
                  <a:cubicBezTo>
                    <a:pt x="456" y="775"/>
                    <a:pt x="471" y="791"/>
                    <a:pt x="481" y="801"/>
                  </a:cubicBezTo>
                  <a:cubicBezTo>
                    <a:pt x="513" y="835"/>
                    <a:pt x="543" y="859"/>
                    <a:pt x="573" y="875"/>
                  </a:cubicBezTo>
                  <a:cubicBezTo>
                    <a:pt x="599" y="889"/>
                    <a:pt x="624" y="895"/>
                    <a:pt x="662" y="896"/>
                  </a:cubicBezTo>
                  <a:cubicBezTo>
                    <a:pt x="677" y="897"/>
                    <a:pt x="693" y="897"/>
                    <a:pt x="709" y="897"/>
                  </a:cubicBezTo>
                  <a:lnTo>
                    <a:pt x="822" y="897"/>
                  </a:lnTo>
                  <a:cubicBezTo>
                    <a:pt x="807" y="885"/>
                    <a:pt x="800" y="880"/>
                    <a:pt x="789" y="870"/>
                  </a:cubicBezTo>
                  <a:cubicBezTo>
                    <a:pt x="777" y="859"/>
                    <a:pt x="764" y="848"/>
                    <a:pt x="750" y="8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7" name="Freeform 9">
              <a:extLst>
                <a:ext uri="{FF2B5EF4-FFF2-40B4-BE49-F238E27FC236}">
                  <a16:creationId xmlns:a16="http://schemas.microsoft.com/office/drawing/2014/main" id="{34F3EDB6-FE7C-462E-BB43-CAE35EBC549E}"/>
                </a:ext>
              </a:extLst>
            </p:cNvPr>
            <p:cNvSpPr>
              <a:spLocks/>
            </p:cNvSpPr>
            <p:nvPr userDrawn="1"/>
          </p:nvSpPr>
          <p:spPr bwMode="auto">
            <a:xfrm>
              <a:off x="679" y="195"/>
              <a:ext cx="68" cy="84"/>
            </a:xfrm>
            <a:custGeom>
              <a:avLst/>
              <a:gdLst>
                <a:gd name="T0" fmla="*/ 668 w 765"/>
                <a:gd name="T1" fmla="*/ 790 h 944"/>
                <a:gd name="T2" fmla="*/ 668 w 765"/>
                <a:gd name="T3" fmla="*/ 790 h 944"/>
                <a:gd name="T4" fmla="*/ 512 w 765"/>
                <a:gd name="T5" fmla="*/ 823 h 944"/>
                <a:gd name="T6" fmla="*/ 281 w 765"/>
                <a:gd name="T7" fmla="*/ 727 h 944"/>
                <a:gd name="T8" fmla="*/ 191 w 765"/>
                <a:gd name="T9" fmla="*/ 478 h 944"/>
                <a:gd name="T10" fmla="*/ 272 w 765"/>
                <a:gd name="T11" fmla="*/ 236 h 944"/>
                <a:gd name="T12" fmla="*/ 354 w 765"/>
                <a:gd name="T13" fmla="*/ 170 h 944"/>
                <a:gd name="T14" fmla="*/ 527 w 765"/>
                <a:gd name="T15" fmla="*/ 126 h 944"/>
                <a:gd name="T16" fmla="*/ 688 w 765"/>
                <a:gd name="T17" fmla="*/ 159 h 944"/>
                <a:gd name="T18" fmla="*/ 762 w 765"/>
                <a:gd name="T19" fmla="*/ 199 h 944"/>
                <a:gd name="T20" fmla="*/ 762 w 765"/>
                <a:gd name="T21" fmla="*/ 31 h 944"/>
                <a:gd name="T22" fmla="*/ 708 w 765"/>
                <a:gd name="T23" fmla="*/ 16 h 944"/>
                <a:gd name="T24" fmla="*/ 550 w 765"/>
                <a:gd name="T25" fmla="*/ 0 h 944"/>
                <a:gd name="T26" fmla="*/ 294 w 765"/>
                <a:gd name="T27" fmla="*/ 48 h 944"/>
                <a:gd name="T28" fmla="*/ 171 w 765"/>
                <a:gd name="T29" fmla="*/ 121 h 944"/>
                <a:gd name="T30" fmla="*/ 0 w 765"/>
                <a:gd name="T31" fmla="*/ 488 h 944"/>
                <a:gd name="T32" fmla="*/ 164 w 765"/>
                <a:gd name="T33" fmla="*/ 840 h 944"/>
                <a:gd name="T34" fmla="*/ 499 w 765"/>
                <a:gd name="T35" fmla="*/ 944 h 944"/>
                <a:gd name="T36" fmla="*/ 751 w 765"/>
                <a:gd name="T37" fmla="*/ 904 h 944"/>
                <a:gd name="T38" fmla="*/ 765 w 765"/>
                <a:gd name="T39" fmla="*/ 899 h 944"/>
                <a:gd name="T40" fmla="*/ 765 w 765"/>
                <a:gd name="T41" fmla="*/ 736 h 944"/>
                <a:gd name="T42" fmla="*/ 724 w 765"/>
                <a:gd name="T43" fmla="*/ 763 h 944"/>
                <a:gd name="T44" fmla="*/ 668 w 765"/>
                <a:gd name="T45" fmla="*/ 79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5" h="944">
                  <a:moveTo>
                    <a:pt x="668" y="790"/>
                  </a:moveTo>
                  <a:lnTo>
                    <a:pt x="668" y="790"/>
                  </a:lnTo>
                  <a:cubicBezTo>
                    <a:pt x="614" y="813"/>
                    <a:pt x="565" y="823"/>
                    <a:pt x="512" y="823"/>
                  </a:cubicBezTo>
                  <a:cubicBezTo>
                    <a:pt x="419" y="823"/>
                    <a:pt x="340" y="790"/>
                    <a:pt x="281" y="727"/>
                  </a:cubicBezTo>
                  <a:cubicBezTo>
                    <a:pt x="222" y="664"/>
                    <a:pt x="191" y="577"/>
                    <a:pt x="191" y="478"/>
                  </a:cubicBezTo>
                  <a:cubicBezTo>
                    <a:pt x="191" y="384"/>
                    <a:pt x="220" y="297"/>
                    <a:pt x="272" y="236"/>
                  </a:cubicBezTo>
                  <a:cubicBezTo>
                    <a:pt x="295" y="210"/>
                    <a:pt x="322" y="187"/>
                    <a:pt x="354" y="170"/>
                  </a:cubicBezTo>
                  <a:cubicBezTo>
                    <a:pt x="404" y="141"/>
                    <a:pt x="463" y="126"/>
                    <a:pt x="527" y="126"/>
                  </a:cubicBezTo>
                  <a:cubicBezTo>
                    <a:pt x="582" y="126"/>
                    <a:pt x="635" y="137"/>
                    <a:pt x="688" y="159"/>
                  </a:cubicBezTo>
                  <a:cubicBezTo>
                    <a:pt x="722" y="172"/>
                    <a:pt x="734" y="179"/>
                    <a:pt x="762" y="199"/>
                  </a:cubicBezTo>
                  <a:lnTo>
                    <a:pt x="762" y="31"/>
                  </a:lnTo>
                  <a:cubicBezTo>
                    <a:pt x="740" y="24"/>
                    <a:pt x="731" y="21"/>
                    <a:pt x="708" y="16"/>
                  </a:cubicBezTo>
                  <a:cubicBezTo>
                    <a:pt x="656" y="5"/>
                    <a:pt x="606" y="0"/>
                    <a:pt x="550" y="0"/>
                  </a:cubicBezTo>
                  <a:cubicBezTo>
                    <a:pt x="453" y="0"/>
                    <a:pt x="370" y="16"/>
                    <a:pt x="294" y="48"/>
                  </a:cubicBezTo>
                  <a:cubicBezTo>
                    <a:pt x="249" y="67"/>
                    <a:pt x="207" y="91"/>
                    <a:pt x="171" y="121"/>
                  </a:cubicBezTo>
                  <a:cubicBezTo>
                    <a:pt x="60" y="210"/>
                    <a:pt x="0" y="339"/>
                    <a:pt x="0" y="488"/>
                  </a:cubicBezTo>
                  <a:cubicBezTo>
                    <a:pt x="0" y="632"/>
                    <a:pt x="58" y="756"/>
                    <a:pt x="164" y="840"/>
                  </a:cubicBezTo>
                  <a:cubicBezTo>
                    <a:pt x="251" y="909"/>
                    <a:pt x="364" y="944"/>
                    <a:pt x="499" y="944"/>
                  </a:cubicBezTo>
                  <a:cubicBezTo>
                    <a:pt x="583" y="944"/>
                    <a:pt x="662" y="931"/>
                    <a:pt x="751" y="904"/>
                  </a:cubicBezTo>
                  <a:cubicBezTo>
                    <a:pt x="754" y="903"/>
                    <a:pt x="759" y="901"/>
                    <a:pt x="765" y="899"/>
                  </a:cubicBezTo>
                  <a:lnTo>
                    <a:pt x="765" y="736"/>
                  </a:lnTo>
                  <a:cubicBezTo>
                    <a:pt x="744" y="750"/>
                    <a:pt x="736" y="755"/>
                    <a:pt x="724" y="763"/>
                  </a:cubicBezTo>
                  <a:cubicBezTo>
                    <a:pt x="706" y="773"/>
                    <a:pt x="688" y="782"/>
                    <a:pt x="668" y="7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8" name="Freeform 10">
              <a:extLst>
                <a:ext uri="{FF2B5EF4-FFF2-40B4-BE49-F238E27FC236}">
                  <a16:creationId xmlns:a16="http://schemas.microsoft.com/office/drawing/2014/main" id="{0C94C8B8-CBC0-42C8-8A35-C38A59218592}"/>
                </a:ext>
              </a:extLst>
            </p:cNvPr>
            <p:cNvSpPr>
              <a:spLocks/>
            </p:cNvSpPr>
            <p:nvPr userDrawn="1"/>
          </p:nvSpPr>
          <p:spPr bwMode="auto">
            <a:xfrm>
              <a:off x="471" y="197"/>
              <a:ext cx="78" cy="83"/>
            </a:xfrm>
            <a:custGeom>
              <a:avLst/>
              <a:gdLst>
                <a:gd name="T0" fmla="*/ 631 w 885"/>
                <a:gd name="T1" fmla="*/ 34 h 927"/>
                <a:gd name="T2" fmla="*/ 631 w 885"/>
                <a:gd name="T3" fmla="*/ 34 h 927"/>
                <a:gd name="T4" fmla="*/ 644 w 885"/>
                <a:gd name="T5" fmla="*/ 65 h 927"/>
                <a:gd name="T6" fmla="*/ 652 w 885"/>
                <a:gd name="T7" fmla="*/ 159 h 927"/>
                <a:gd name="T8" fmla="*/ 652 w 885"/>
                <a:gd name="T9" fmla="*/ 500 h 927"/>
                <a:gd name="T10" fmla="*/ 645 w 885"/>
                <a:gd name="T11" fmla="*/ 652 h 927"/>
                <a:gd name="T12" fmla="*/ 621 w 885"/>
                <a:gd name="T13" fmla="*/ 718 h 927"/>
                <a:gd name="T14" fmla="*/ 511 w 885"/>
                <a:gd name="T15" fmla="*/ 795 h 927"/>
                <a:gd name="T16" fmla="*/ 448 w 885"/>
                <a:gd name="T17" fmla="*/ 802 h 927"/>
                <a:gd name="T18" fmla="*/ 272 w 885"/>
                <a:gd name="T19" fmla="*/ 726 h 927"/>
                <a:gd name="T20" fmla="*/ 240 w 885"/>
                <a:gd name="T21" fmla="*/ 562 h 927"/>
                <a:gd name="T22" fmla="*/ 239 w 885"/>
                <a:gd name="T23" fmla="*/ 488 h 927"/>
                <a:gd name="T24" fmla="*/ 239 w 885"/>
                <a:gd name="T25" fmla="*/ 218 h 927"/>
                <a:gd name="T26" fmla="*/ 241 w 885"/>
                <a:gd name="T27" fmla="*/ 114 h 927"/>
                <a:gd name="T28" fmla="*/ 248 w 885"/>
                <a:gd name="T29" fmla="*/ 73 h 927"/>
                <a:gd name="T30" fmla="*/ 284 w 885"/>
                <a:gd name="T31" fmla="*/ 8 h 927"/>
                <a:gd name="T32" fmla="*/ 291 w 885"/>
                <a:gd name="T33" fmla="*/ 0 h 927"/>
                <a:gd name="T34" fmla="*/ 0 w 885"/>
                <a:gd name="T35" fmla="*/ 0 h 927"/>
                <a:gd name="T36" fmla="*/ 32 w 885"/>
                <a:gd name="T37" fmla="*/ 36 h 927"/>
                <a:gd name="T38" fmla="*/ 45 w 885"/>
                <a:gd name="T39" fmla="*/ 67 h 927"/>
                <a:gd name="T40" fmla="*/ 51 w 885"/>
                <a:gd name="T41" fmla="*/ 109 h 927"/>
                <a:gd name="T42" fmla="*/ 51 w 885"/>
                <a:gd name="T43" fmla="*/ 164 h 927"/>
                <a:gd name="T44" fmla="*/ 52 w 885"/>
                <a:gd name="T45" fmla="*/ 216 h 927"/>
                <a:gd name="T46" fmla="*/ 52 w 885"/>
                <a:gd name="T47" fmla="*/ 473 h 927"/>
                <a:gd name="T48" fmla="*/ 55 w 885"/>
                <a:gd name="T49" fmla="*/ 631 h 927"/>
                <a:gd name="T50" fmla="*/ 118 w 885"/>
                <a:gd name="T51" fmla="*/ 796 h 927"/>
                <a:gd name="T52" fmla="*/ 435 w 885"/>
                <a:gd name="T53" fmla="*/ 927 h 927"/>
                <a:gd name="T54" fmla="*/ 615 w 885"/>
                <a:gd name="T55" fmla="*/ 898 h 927"/>
                <a:gd name="T56" fmla="*/ 748 w 885"/>
                <a:gd name="T57" fmla="*/ 809 h 927"/>
                <a:gd name="T58" fmla="*/ 821 w 885"/>
                <a:gd name="T59" fmla="*/ 635 h 927"/>
                <a:gd name="T60" fmla="*/ 827 w 885"/>
                <a:gd name="T61" fmla="*/ 475 h 927"/>
                <a:gd name="T62" fmla="*/ 827 w 885"/>
                <a:gd name="T63" fmla="*/ 217 h 927"/>
                <a:gd name="T64" fmla="*/ 826 w 885"/>
                <a:gd name="T65" fmla="*/ 165 h 927"/>
                <a:gd name="T66" fmla="*/ 826 w 885"/>
                <a:gd name="T67" fmla="*/ 155 h 927"/>
                <a:gd name="T68" fmla="*/ 834 w 885"/>
                <a:gd name="T69" fmla="*/ 73 h 927"/>
                <a:gd name="T70" fmla="*/ 849 w 885"/>
                <a:gd name="T71" fmla="*/ 37 h 927"/>
                <a:gd name="T72" fmla="*/ 885 w 885"/>
                <a:gd name="T73" fmla="*/ 0 h 927"/>
                <a:gd name="T74" fmla="*/ 599 w 885"/>
                <a:gd name="T75" fmla="*/ 0 h 927"/>
                <a:gd name="T76" fmla="*/ 631 w 885"/>
                <a:gd name="T77" fmla="*/ 34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5" h="927">
                  <a:moveTo>
                    <a:pt x="631" y="34"/>
                  </a:moveTo>
                  <a:lnTo>
                    <a:pt x="631" y="34"/>
                  </a:lnTo>
                  <a:cubicBezTo>
                    <a:pt x="637" y="44"/>
                    <a:pt x="641" y="54"/>
                    <a:pt x="644" y="65"/>
                  </a:cubicBezTo>
                  <a:cubicBezTo>
                    <a:pt x="650" y="87"/>
                    <a:pt x="652" y="108"/>
                    <a:pt x="652" y="159"/>
                  </a:cubicBezTo>
                  <a:lnTo>
                    <a:pt x="652" y="500"/>
                  </a:lnTo>
                  <a:cubicBezTo>
                    <a:pt x="652" y="573"/>
                    <a:pt x="650" y="617"/>
                    <a:pt x="645" y="652"/>
                  </a:cubicBezTo>
                  <a:cubicBezTo>
                    <a:pt x="641" y="676"/>
                    <a:pt x="633" y="698"/>
                    <a:pt x="621" y="718"/>
                  </a:cubicBezTo>
                  <a:cubicBezTo>
                    <a:pt x="600" y="755"/>
                    <a:pt x="559" y="783"/>
                    <a:pt x="511" y="795"/>
                  </a:cubicBezTo>
                  <a:cubicBezTo>
                    <a:pt x="492" y="800"/>
                    <a:pt x="470" y="802"/>
                    <a:pt x="448" y="802"/>
                  </a:cubicBezTo>
                  <a:cubicBezTo>
                    <a:pt x="371" y="802"/>
                    <a:pt x="304" y="773"/>
                    <a:pt x="272" y="726"/>
                  </a:cubicBezTo>
                  <a:cubicBezTo>
                    <a:pt x="248" y="690"/>
                    <a:pt x="241" y="655"/>
                    <a:pt x="240" y="562"/>
                  </a:cubicBezTo>
                  <a:lnTo>
                    <a:pt x="239" y="488"/>
                  </a:lnTo>
                  <a:lnTo>
                    <a:pt x="239" y="218"/>
                  </a:lnTo>
                  <a:cubicBezTo>
                    <a:pt x="239" y="166"/>
                    <a:pt x="239" y="141"/>
                    <a:pt x="241" y="114"/>
                  </a:cubicBezTo>
                  <a:cubicBezTo>
                    <a:pt x="242" y="98"/>
                    <a:pt x="244" y="84"/>
                    <a:pt x="248" y="73"/>
                  </a:cubicBezTo>
                  <a:cubicBezTo>
                    <a:pt x="254" y="52"/>
                    <a:pt x="269" y="25"/>
                    <a:pt x="284" y="8"/>
                  </a:cubicBezTo>
                  <a:cubicBezTo>
                    <a:pt x="286" y="6"/>
                    <a:pt x="288" y="3"/>
                    <a:pt x="291" y="0"/>
                  </a:cubicBezTo>
                  <a:lnTo>
                    <a:pt x="0" y="0"/>
                  </a:lnTo>
                  <a:cubicBezTo>
                    <a:pt x="18" y="15"/>
                    <a:pt x="23" y="21"/>
                    <a:pt x="32" y="36"/>
                  </a:cubicBezTo>
                  <a:cubicBezTo>
                    <a:pt x="38" y="46"/>
                    <a:pt x="42" y="56"/>
                    <a:pt x="45" y="67"/>
                  </a:cubicBezTo>
                  <a:cubicBezTo>
                    <a:pt x="48" y="81"/>
                    <a:pt x="51" y="95"/>
                    <a:pt x="51" y="109"/>
                  </a:cubicBezTo>
                  <a:cubicBezTo>
                    <a:pt x="51" y="117"/>
                    <a:pt x="51" y="136"/>
                    <a:pt x="51" y="164"/>
                  </a:cubicBezTo>
                  <a:lnTo>
                    <a:pt x="52" y="216"/>
                  </a:lnTo>
                  <a:lnTo>
                    <a:pt x="52" y="473"/>
                  </a:lnTo>
                  <a:cubicBezTo>
                    <a:pt x="52" y="569"/>
                    <a:pt x="52" y="593"/>
                    <a:pt x="55" y="631"/>
                  </a:cubicBezTo>
                  <a:cubicBezTo>
                    <a:pt x="61" y="697"/>
                    <a:pt x="80" y="749"/>
                    <a:pt x="118" y="796"/>
                  </a:cubicBezTo>
                  <a:cubicBezTo>
                    <a:pt x="186" y="882"/>
                    <a:pt x="295" y="927"/>
                    <a:pt x="435" y="927"/>
                  </a:cubicBezTo>
                  <a:cubicBezTo>
                    <a:pt x="501" y="927"/>
                    <a:pt x="566" y="916"/>
                    <a:pt x="615" y="898"/>
                  </a:cubicBezTo>
                  <a:cubicBezTo>
                    <a:pt x="667" y="879"/>
                    <a:pt x="714" y="847"/>
                    <a:pt x="748" y="809"/>
                  </a:cubicBezTo>
                  <a:cubicBezTo>
                    <a:pt x="790" y="763"/>
                    <a:pt x="814" y="705"/>
                    <a:pt x="821" y="635"/>
                  </a:cubicBezTo>
                  <a:cubicBezTo>
                    <a:pt x="825" y="594"/>
                    <a:pt x="827" y="545"/>
                    <a:pt x="827" y="475"/>
                  </a:cubicBezTo>
                  <a:lnTo>
                    <a:pt x="827" y="217"/>
                  </a:lnTo>
                  <a:lnTo>
                    <a:pt x="826" y="165"/>
                  </a:lnTo>
                  <a:lnTo>
                    <a:pt x="826" y="155"/>
                  </a:lnTo>
                  <a:cubicBezTo>
                    <a:pt x="826" y="117"/>
                    <a:pt x="828" y="94"/>
                    <a:pt x="834" y="73"/>
                  </a:cubicBezTo>
                  <a:cubicBezTo>
                    <a:pt x="837" y="61"/>
                    <a:pt x="842" y="48"/>
                    <a:pt x="849" y="37"/>
                  </a:cubicBezTo>
                  <a:cubicBezTo>
                    <a:pt x="859" y="22"/>
                    <a:pt x="866" y="15"/>
                    <a:pt x="885" y="0"/>
                  </a:cubicBezTo>
                  <a:lnTo>
                    <a:pt x="599" y="0"/>
                  </a:lnTo>
                  <a:cubicBezTo>
                    <a:pt x="616" y="13"/>
                    <a:pt x="622" y="20"/>
                    <a:pt x="631"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9" name="Freeform 11">
              <a:extLst>
                <a:ext uri="{FF2B5EF4-FFF2-40B4-BE49-F238E27FC236}">
                  <a16:creationId xmlns:a16="http://schemas.microsoft.com/office/drawing/2014/main" id="{BD9D61AE-0A56-45EF-8877-45ED53B45F17}"/>
                </a:ext>
              </a:extLst>
            </p:cNvPr>
            <p:cNvSpPr>
              <a:spLocks/>
            </p:cNvSpPr>
            <p:nvPr userDrawn="1"/>
          </p:nvSpPr>
          <p:spPr bwMode="auto">
            <a:xfrm>
              <a:off x="381" y="197"/>
              <a:ext cx="77" cy="80"/>
            </a:xfrm>
            <a:custGeom>
              <a:avLst/>
              <a:gdLst>
                <a:gd name="T0" fmla="*/ 654 w 865"/>
                <a:gd name="T1" fmla="*/ 771 h 897"/>
                <a:gd name="T2" fmla="*/ 654 w 865"/>
                <a:gd name="T3" fmla="*/ 771 h 897"/>
                <a:gd name="T4" fmla="*/ 513 w 865"/>
                <a:gd name="T5" fmla="*/ 783 h 897"/>
                <a:gd name="T6" fmla="*/ 442 w 865"/>
                <a:gd name="T7" fmla="*/ 784 h 897"/>
                <a:gd name="T8" fmla="*/ 304 w 865"/>
                <a:gd name="T9" fmla="*/ 784 h 897"/>
                <a:gd name="T10" fmla="*/ 848 w 865"/>
                <a:gd name="T11" fmla="*/ 0 h 897"/>
                <a:gd name="T12" fmla="*/ 143 w 865"/>
                <a:gd name="T13" fmla="*/ 0 h 897"/>
                <a:gd name="T14" fmla="*/ 56 w 865"/>
                <a:gd name="T15" fmla="*/ 191 h 897"/>
                <a:gd name="T16" fmla="*/ 121 w 865"/>
                <a:gd name="T17" fmla="*/ 160 h 897"/>
                <a:gd name="T18" fmla="*/ 248 w 865"/>
                <a:gd name="T19" fmla="*/ 124 h 897"/>
                <a:gd name="T20" fmla="*/ 375 w 865"/>
                <a:gd name="T21" fmla="*/ 113 h 897"/>
                <a:gd name="T22" fmla="*/ 444 w 865"/>
                <a:gd name="T23" fmla="*/ 112 h 897"/>
                <a:gd name="T24" fmla="*/ 549 w 865"/>
                <a:gd name="T25" fmla="*/ 112 h 897"/>
                <a:gd name="T26" fmla="*/ 0 w 865"/>
                <a:gd name="T27" fmla="*/ 897 h 897"/>
                <a:gd name="T28" fmla="*/ 776 w 865"/>
                <a:gd name="T29" fmla="*/ 897 h 897"/>
                <a:gd name="T30" fmla="*/ 865 w 865"/>
                <a:gd name="T31" fmla="*/ 692 h 897"/>
                <a:gd name="T32" fmla="*/ 800 w 865"/>
                <a:gd name="T33" fmla="*/ 727 h 897"/>
                <a:gd name="T34" fmla="*/ 654 w 865"/>
                <a:gd name="T35" fmla="*/ 771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 h="897">
                  <a:moveTo>
                    <a:pt x="654" y="771"/>
                  </a:moveTo>
                  <a:lnTo>
                    <a:pt x="654" y="771"/>
                  </a:lnTo>
                  <a:cubicBezTo>
                    <a:pt x="614" y="778"/>
                    <a:pt x="569" y="782"/>
                    <a:pt x="513" y="783"/>
                  </a:cubicBezTo>
                  <a:cubicBezTo>
                    <a:pt x="495" y="784"/>
                    <a:pt x="471" y="784"/>
                    <a:pt x="442" y="784"/>
                  </a:cubicBezTo>
                  <a:lnTo>
                    <a:pt x="304" y="784"/>
                  </a:lnTo>
                  <a:lnTo>
                    <a:pt x="848" y="0"/>
                  </a:lnTo>
                  <a:lnTo>
                    <a:pt x="143" y="0"/>
                  </a:lnTo>
                  <a:lnTo>
                    <a:pt x="56" y="191"/>
                  </a:lnTo>
                  <a:cubicBezTo>
                    <a:pt x="85" y="176"/>
                    <a:pt x="96" y="170"/>
                    <a:pt x="121" y="160"/>
                  </a:cubicBezTo>
                  <a:cubicBezTo>
                    <a:pt x="162" y="144"/>
                    <a:pt x="206" y="132"/>
                    <a:pt x="248" y="124"/>
                  </a:cubicBezTo>
                  <a:cubicBezTo>
                    <a:pt x="285" y="118"/>
                    <a:pt x="319" y="115"/>
                    <a:pt x="375" y="113"/>
                  </a:cubicBezTo>
                  <a:cubicBezTo>
                    <a:pt x="400" y="112"/>
                    <a:pt x="423" y="112"/>
                    <a:pt x="444" y="112"/>
                  </a:cubicBezTo>
                  <a:lnTo>
                    <a:pt x="549" y="112"/>
                  </a:lnTo>
                  <a:lnTo>
                    <a:pt x="0" y="897"/>
                  </a:lnTo>
                  <a:lnTo>
                    <a:pt x="776" y="897"/>
                  </a:lnTo>
                  <a:lnTo>
                    <a:pt x="865" y="692"/>
                  </a:lnTo>
                  <a:cubicBezTo>
                    <a:pt x="834" y="710"/>
                    <a:pt x="823" y="716"/>
                    <a:pt x="800" y="727"/>
                  </a:cubicBezTo>
                  <a:cubicBezTo>
                    <a:pt x="754" y="747"/>
                    <a:pt x="705" y="762"/>
                    <a:pt x="654" y="7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0" name="Freeform 12">
              <a:extLst>
                <a:ext uri="{FF2B5EF4-FFF2-40B4-BE49-F238E27FC236}">
                  <a16:creationId xmlns:a16="http://schemas.microsoft.com/office/drawing/2014/main" id="{2049F35F-A4B0-4163-9D3A-5C38BFB360E8}"/>
                </a:ext>
              </a:extLst>
            </p:cNvPr>
            <p:cNvSpPr>
              <a:spLocks noEditPoints="1"/>
            </p:cNvSpPr>
            <p:nvPr userDrawn="1"/>
          </p:nvSpPr>
          <p:spPr bwMode="auto">
            <a:xfrm>
              <a:off x="850" y="167"/>
              <a:ext cx="18" cy="18"/>
            </a:xfrm>
            <a:custGeom>
              <a:avLst/>
              <a:gdLst>
                <a:gd name="T0" fmla="*/ 102 w 203"/>
                <a:gd name="T1" fmla="*/ 189 h 203"/>
                <a:gd name="T2" fmla="*/ 102 w 203"/>
                <a:gd name="T3" fmla="*/ 189 h 203"/>
                <a:gd name="T4" fmla="*/ 17 w 203"/>
                <a:gd name="T5" fmla="*/ 102 h 203"/>
                <a:gd name="T6" fmla="*/ 102 w 203"/>
                <a:gd name="T7" fmla="*/ 15 h 203"/>
                <a:gd name="T8" fmla="*/ 187 w 203"/>
                <a:gd name="T9" fmla="*/ 102 h 203"/>
                <a:gd name="T10" fmla="*/ 102 w 203"/>
                <a:gd name="T11" fmla="*/ 189 h 203"/>
                <a:gd name="T12" fmla="*/ 102 w 203"/>
                <a:gd name="T13" fmla="*/ 189 h 203"/>
                <a:gd name="T14" fmla="*/ 102 w 203"/>
                <a:gd name="T15" fmla="*/ 0 h 203"/>
                <a:gd name="T16" fmla="*/ 102 w 203"/>
                <a:gd name="T17" fmla="*/ 0 h 203"/>
                <a:gd name="T18" fmla="*/ 0 w 203"/>
                <a:gd name="T19" fmla="*/ 102 h 203"/>
                <a:gd name="T20" fmla="*/ 102 w 203"/>
                <a:gd name="T21" fmla="*/ 203 h 203"/>
                <a:gd name="T22" fmla="*/ 203 w 203"/>
                <a:gd name="T23" fmla="*/ 102 h 203"/>
                <a:gd name="T24" fmla="*/ 102 w 203"/>
                <a:gd name="T2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203">
                  <a:moveTo>
                    <a:pt x="102" y="189"/>
                  </a:moveTo>
                  <a:lnTo>
                    <a:pt x="102" y="189"/>
                  </a:lnTo>
                  <a:cubicBezTo>
                    <a:pt x="54" y="189"/>
                    <a:pt x="17" y="154"/>
                    <a:pt x="17" y="102"/>
                  </a:cubicBezTo>
                  <a:cubicBezTo>
                    <a:pt x="17" y="50"/>
                    <a:pt x="54" y="15"/>
                    <a:pt x="102" y="15"/>
                  </a:cubicBezTo>
                  <a:cubicBezTo>
                    <a:pt x="150" y="15"/>
                    <a:pt x="187" y="50"/>
                    <a:pt x="187" y="102"/>
                  </a:cubicBezTo>
                  <a:cubicBezTo>
                    <a:pt x="187" y="154"/>
                    <a:pt x="150" y="189"/>
                    <a:pt x="102" y="189"/>
                  </a:cubicBezTo>
                  <a:lnTo>
                    <a:pt x="102" y="189"/>
                  </a:lnTo>
                  <a:close/>
                  <a:moveTo>
                    <a:pt x="102" y="0"/>
                  </a:moveTo>
                  <a:lnTo>
                    <a:pt x="102" y="0"/>
                  </a:lnTo>
                  <a:cubicBezTo>
                    <a:pt x="46" y="0"/>
                    <a:pt x="0" y="42"/>
                    <a:pt x="0" y="102"/>
                  </a:cubicBezTo>
                  <a:cubicBezTo>
                    <a:pt x="0" y="162"/>
                    <a:pt x="46" y="203"/>
                    <a:pt x="102" y="203"/>
                  </a:cubicBezTo>
                  <a:cubicBezTo>
                    <a:pt x="158" y="203"/>
                    <a:pt x="203" y="162"/>
                    <a:pt x="203" y="102"/>
                  </a:cubicBezTo>
                  <a:cubicBezTo>
                    <a:pt x="203" y="42"/>
                    <a:pt x="158" y="0"/>
                    <a:pt x="10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1" name="Freeform 13">
              <a:extLst>
                <a:ext uri="{FF2B5EF4-FFF2-40B4-BE49-F238E27FC236}">
                  <a16:creationId xmlns:a16="http://schemas.microsoft.com/office/drawing/2014/main" id="{CBBC93A2-9074-49D3-B8A1-1C42390EFAD7}"/>
                </a:ext>
              </a:extLst>
            </p:cNvPr>
            <p:cNvSpPr>
              <a:spLocks noEditPoints="1"/>
            </p:cNvSpPr>
            <p:nvPr userDrawn="1"/>
          </p:nvSpPr>
          <p:spPr bwMode="auto">
            <a:xfrm>
              <a:off x="856" y="171"/>
              <a:ext cx="7" cy="9"/>
            </a:xfrm>
            <a:custGeom>
              <a:avLst/>
              <a:gdLst>
                <a:gd name="T0" fmla="*/ 40 w 87"/>
                <a:gd name="T1" fmla="*/ 50 h 107"/>
                <a:gd name="T2" fmla="*/ 40 w 87"/>
                <a:gd name="T3" fmla="*/ 50 h 107"/>
                <a:gd name="T4" fmla="*/ 15 w 87"/>
                <a:gd name="T5" fmla="*/ 50 h 107"/>
                <a:gd name="T6" fmla="*/ 15 w 87"/>
                <a:gd name="T7" fmla="*/ 16 h 107"/>
                <a:gd name="T8" fmla="*/ 38 w 87"/>
                <a:gd name="T9" fmla="*/ 16 h 107"/>
                <a:gd name="T10" fmla="*/ 66 w 87"/>
                <a:gd name="T11" fmla="*/ 33 h 107"/>
                <a:gd name="T12" fmla="*/ 40 w 87"/>
                <a:gd name="T13" fmla="*/ 50 h 107"/>
                <a:gd name="T14" fmla="*/ 40 w 87"/>
                <a:gd name="T15" fmla="*/ 50 h 107"/>
                <a:gd name="T16" fmla="*/ 83 w 87"/>
                <a:gd name="T17" fmla="*/ 33 h 107"/>
                <a:gd name="T18" fmla="*/ 83 w 87"/>
                <a:gd name="T19" fmla="*/ 33 h 107"/>
                <a:gd name="T20" fmla="*/ 32 w 87"/>
                <a:gd name="T21" fmla="*/ 0 h 107"/>
                <a:gd name="T22" fmla="*/ 0 w 87"/>
                <a:gd name="T23" fmla="*/ 0 h 107"/>
                <a:gd name="T24" fmla="*/ 0 w 87"/>
                <a:gd name="T25" fmla="*/ 107 h 107"/>
                <a:gd name="T26" fmla="*/ 15 w 87"/>
                <a:gd name="T27" fmla="*/ 107 h 107"/>
                <a:gd name="T28" fmla="*/ 15 w 87"/>
                <a:gd name="T29" fmla="*/ 66 h 107"/>
                <a:gd name="T30" fmla="*/ 44 w 87"/>
                <a:gd name="T31" fmla="*/ 66 h 107"/>
                <a:gd name="T32" fmla="*/ 46 w 87"/>
                <a:gd name="T33" fmla="*/ 65 h 107"/>
                <a:gd name="T34" fmla="*/ 69 w 87"/>
                <a:gd name="T35" fmla="*/ 107 h 107"/>
                <a:gd name="T36" fmla="*/ 87 w 87"/>
                <a:gd name="T37" fmla="*/ 107 h 107"/>
                <a:gd name="T38" fmla="*/ 62 w 87"/>
                <a:gd name="T39" fmla="*/ 62 h 107"/>
                <a:gd name="T40" fmla="*/ 83 w 87"/>
                <a:gd name="T41"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107">
                  <a:moveTo>
                    <a:pt x="40" y="50"/>
                  </a:moveTo>
                  <a:lnTo>
                    <a:pt x="40" y="50"/>
                  </a:lnTo>
                  <a:lnTo>
                    <a:pt x="15" y="50"/>
                  </a:lnTo>
                  <a:lnTo>
                    <a:pt x="15" y="16"/>
                  </a:lnTo>
                  <a:lnTo>
                    <a:pt x="38" y="16"/>
                  </a:lnTo>
                  <a:cubicBezTo>
                    <a:pt x="54" y="16"/>
                    <a:pt x="66" y="19"/>
                    <a:pt x="66" y="33"/>
                  </a:cubicBezTo>
                  <a:cubicBezTo>
                    <a:pt x="66" y="45"/>
                    <a:pt x="58" y="50"/>
                    <a:pt x="40" y="50"/>
                  </a:cubicBezTo>
                  <a:lnTo>
                    <a:pt x="40" y="50"/>
                  </a:lnTo>
                  <a:close/>
                  <a:moveTo>
                    <a:pt x="83" y="33"/>
                  </a:moveTo>
                  <a:lnTo>
                    <a:pt x="83" y="33"/>
                  </a:lnTo>
                  <a:cubicBezTo>
                    <a:pt x="83" y="5"/>
                    <a:pt x="64" y="0"/>
                    <a:pt x="32" y="0"/>
                  </a:cubicBezTo>
                  <a:lnTo>
                    <a:pt x="0" y="0"/>
                  </a:lnTo>
                  <a:lnTo>
                    <a:pt x="0" y="107"/>
                  </a:lnTo>
                  <a:lnTo>
                    <a:pt x="15" y="107"/>
                  </a:lnTo>
                  <a:lnTo>
                    <a:pt x="15" y="66"/>
                  </a:lnTo>
                  <a:lnTo>
                    <a:pt x="44" y="66"/>
                  </a:lnTo>
                  <a:cubicBezTo>
                    <a:pt x="45" y="66"/>
                    <a:pt x="46" y="66"/>
                    <a:pt x="46" y="65"/>
                  </a:cubicBezTo>
                  <a:lnTo>
                    <a:pt x="69" y="107"/>
                  </a:lnTo>
                  <a:lnTo>
                    <a:pt x="87" y="107"/>
                  </a:lnTo>
                  <a:lnTo>
                    <a:pt x="62" y="62"/>
                  </a:lnTo>
                  <a:cubicBezTo>
                    <a:pt x="76" y="56"/>
                    <a:pt x="83" y="45"/>
                    <a:pt x="83" y="3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grpSp>
      <p:sp>
        <p:nvSpPr>
          <p:cNvPr id="32" name="Slide Number Placeholder 5">
            <a:extLst>
              <a:ext uri="{FF2B5EF4-FFF2-40B4-BE49-F238E27FC236}">
                <a16:creationId xmlns:a16="http://schemas.microsoft.com/office/drawing/2014/main" id="{7778DC4A-6DD8-4810-A49B-89B671171FAE}"/>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B66B4EB9-2868-4BA8-BD4D-16B8E7A16DF5}"/>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222719923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text box and circle for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250824" y="1206178"/>
            <a:ext cx="5573967"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9" name="Picture Placeholder 2">
            <a:extLst>
              <a:ext uri="{FF2B5EF4-FFF2-40B4-BE49-F238E27FC236}">
                <a16:creationId xmlns:a16="http://schemas.microsoft.com/office/drawing/2014/main" id="{E1605E3C-D76A-4678-9277-BF9E20857561}"/>
              </a:ext>
            </a:extLst>
          </p:cNvPr>
          <p:cNvSpPr>
            <a:spLocks noGrp="1"/>
          </p:cNvSpPr>
          <p:nvPr>
            <p:ph type="pic" sz="quarter" idx="13"/>
          </p:nvPr>
        </p:nvSpPr>
        <p:spPr>
          <a:xfrm>
            <a:off x="6813444" y="1274619"/>
            <a:ext cx="5040000" cy="5040000"/>
          </a:xfrm>
          <a:prstGeom prst="ellipse">
            <a:avLst/>
          </a:prstGeom>
        </p:spPr>
        <p:txBody>
          <a:bodyPr/>
          <a:lstStyle>
            <a:lvl1pPr algn="ctr">
              <a:buNone/>
              <a:defRPr b="0" i="0">
                <a:solidFill>
                  <a:srgbClr val="1C67AF"/>
                </a:solidFill>
                <a:latin typeface="+mn-lt"/>
                <a:cs typeface="Arial" panose="020B0604020202020204" pitchFamily="34" charset="0"/>
              </a:defRPr>
            </a:lvl1pPr>
          </a:lstStyle>
          <a:p>
            <a:r>
              <a:rPr lang="nl-NL" noProof="0"/>
              <a:t>Klik op het pictogram als u een afbeelding wilt toevoegen</a:t>
            </a:r>
            <a:endParaRPr lang="en-US" noProof="0"/>
          </a:p>
        </p:txBody>
      </p:sp>
      <p:sp>
        <p:nvSpPr>
          <p:cNvPr id="20" name="Title 1">
            <a:extLst>
              <a:ext uri="{FF2B5EF4-FFF2-40B4-BE49-F238E27FC236}">
                <a16:creationId xmlns:a16="http://schemas.microsoft.com/office/drawing/2014/main" id="{C29EECA6-DA60-0545-94DA-DA2F8B81238E}"/>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nl-NL"/>
              <a:t>Klik om stijl te bewerken</a:t>
            </a:r>
            <a:endParaRPr lang="en-US"/>
          </a:p>
        </p:txBody>
      </p:sp>
      <p:sp>
        <p:nvSpPr>
          <p:cNvPr id="21" name="Subtitle 2">
            <a:extLst>
              <a:ext uri="{FF2B5EF4-FFF2-40B4-BE49-F238E27FC236}">
                <a16:creationId xmlns:a16="http://schemas.microsoft.com/office/drawing/2014/main" id="{78EE7002-C39A-5A48-B25E-20539A4FFD23}"/>
              </a:ext>
            </a:extLst>
          </p:cNvPr>
          <p:cNvSpPr>
            <a:spLocks noGrp="1"/>
          </p:cNvSpPr>
          <p:nvPr>
            <p:ph type="subTitle" idx="14"/>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nl-NL"/>
              <a:t>Klikken om de ondertitelstijl van het model te bewerken</a:t>
            </a:r>
            <a:endParaRPr lang="en-GB" noProof="0"/>
          </a:p>
        </p:txBody>
      </p:sp>
      <p:grpSp>
        <p:nvGrpSpPr>
          <p:cNvPr id="19" name="Group 4">
            <a:extLst>
              <a:ext uri="{FF2B5EF4-FFF2-40B4-BE49-F238E27FC236}">
                <a16:creationId xmlns:a16="http://schemas.microsoft.com/office/drawing/2014/main" id="{7F57E830-3329-4063-98C7-AA1FC1445B73}"/>
              </a:ext>
            </a:extLst>
          </p:cNvPr>
          <p:cNvGrpSpPr>
            <a:grpSpLocks noChangeAspect="1"/>
          </p:cNvGrpSpPr>
          <p:nvPr userDrawn="1"/>
        </p:nvGrpSpPr>
        <p:grpSpPr bwMode="auto">
          <a:xfrm>
            <a:off x="10178596" y="158751"/>
            <a:ext cx="1773767" cy="683683"/>
            <a:chOff x="79" y="75"/>
            <a:chExt cx="838" cy="323"/>
          </a:xfrm>
          <a:solidFill>
            <a:schemeClr val="accent1"/>
          </a:solidFill>
        </p:grpSpPr>
        <p:sp>
          <p:nvSpPr>
            <p:cNvPr id="22" name="AutoShape 3">
              <a:extLst>
                <a:ext uri="{FF2B5EF4-FFF2-40B4-BE49-F238E27FC236}">
                  <a16:creationId xmlns:a16="http://schemas.microsoft.com/office/drawing/2014/main" id="{688840B2-0A92-4968-8A8C-8571322121EC}"/>
                </a:ext>
              </a:extLst>
            </p:cNvPr>
            <p:cNvSpPr>
              <a:spLocks noChangeAspect="1" noChangeArrowheads="1" noTextEdit="1"/>
            </p:cNvSpPr>
            <p:nvPr userDrawn="1"/>
          </p:nvSpPr>
          <p:spPr bwMode="auto">
            <a:xfrm>
              <a:off x="79" y="75"/>
              <a:ext cx="838" cy="32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3" name="Freeform 5">
              <a:extLst>
                <a:ext uri="{FF2B5EF4-FFF2-40B4-BE49-F238E27FC236}">
                  <a16:creationId xmlns:a16="http://schemas.microsoft.com/office/drawing/2014/main" id="{41BDBAC3-497E-41B0-8987-40DE00FB5A70}"/>
                </a:ext>
              </a:extLst>
            </p:cNvPr>
            <p:cNvSpPr>
              <a:spLocks/>
            </p:cNvSpPr>
            <p:nvPr userDrawn="1"/>
          </p:nvSpPr>
          <p:spPr bwMode="auto">
            <a:xfrm>
              <a:off x="159" y="155"/>
              <a:ext cx="163" cy="164"/>
            </a:xfrm>
            <a:custGeom>
              <a:avLst/>
              <a:gdLst>
                <a:gd name="T0" fmla="*/ 920 w 1841"/>
                <a:gd name="T1" fmla="*/ 0 h 1842"/>
                <a:gd name="T2" fmla="*/ 920 w 1841"/>
                <a:gd name="T3" fmla="*/ 0 h 1842"/>
                <a:gd name="T4" fmla="*/ 0 w 1841"/>
                <a:gd name="T5" fmla="*/ 921 h 1842"/>
                <a:gd name="T6" fmla="*/ 0 w 1841"/>
                <a:gd name="T7" fmla="*/ 921 h 1842"/>
                <a:gd name="T8" fmla="*/ 188 w 1841"/>
                <a:gd name="T9" fmla="*/ 1479 h 1842"/>
                <a:gd name="T10" fmla="*/ 954 w 1841"/>
                <a:gd name="T11" fmla="*/ 473 h 1842"/>
                <a:gd name="T12" fmla="*/ 871 w 1841"/>
                <a:gd name="T13" fmla="*/ 474 h 1842"/>
                <a:gd name="T14" fmla="*/ 790 w 1841"/>
                <a:gd name="T15" fmla="*/ 473 h 1842"/>
                <a:gd name="T16" fmla="*/ 561 w 1841"/>
                <a:gd name="T17" fmla="*/ 491 h 1842"/>
                <a:gd name="T18" fmla="*/ 467 w 1841"/>
                <a:gd name="T19" fmla="*/ 530 h 1842"/>
                <a:gd name="T20" fmla="*/ 374 w 1841"/>
                <a:gd name="T21" fmla="*/ 641 h 1842"/>
                <a:gd name="T22" fmla="*/ 361 w 1841"/>
                <a:gd name="T23" fmla="*/ 665 h 1842"/>
                <a:gd name="T24" fmla="*/ 316 w 1841"/>
                <a:gd name="T25" fmla="*/ 655 h 1842"/>
                <a:gd name="T26" fmla="*/ 392 w 1841"/>
                <a:gd name="T27" fmla="*/ 366 h 1842"/>
                <a:gd name="T28" fmla="*/ 1350 w 1841"/>
                <a:gd name="T29" fmla="*/ 366 h 1842"/>
                <a:gd name="T30" fmla="*/ 588 w 1841"/>
                <a:gd name="T31" fmla="*/ 1385 h 1842"/>
                <a:gd name="T32" fmla="*/ 698 w 1841"/>
                <a:gd name="T33" fmla="*/ 1379 h 1842"/>
                <a:gd name="T34" fmla="*/ 839 w 1841"/>
                <a:gd name="T35" fmla="*/ 1385 h 1842"/>
                <a:gd name="T36" fmla="*/ 974 w 1841"/>
                <a:gd name="T37" fmla="*/ 1393 h 1842"/>
                <a:gd name="T38" fmla="*/ 1095 w 1841"/>
                <a:gd name="T39" fmla="*/ 1397 h 1842"/>
                <a:gd name="T40" fmla="*/ 1255 w 1841"/>
                <a:gd name="T41" fmla="*/ 1378 h 1842"/>
                <a:gd name="T42" fmla="*/ 1354 w 1841"/>
                <a:gd name="T43" fmla="*/ 1331 h 1842"/>
                <a:gd name="T44" fmla="*/ 1491 w 1841"/>
                <a:gd name="T45" fmla="*/ 1175 h 1842"/>
                <a:gd name="T46" fmla="*/ 1504 w 1841"/>
                <a:gd name="T47" fmla="*/ 1147 h 1842"/>
                <a:gd name="T48" fmla="*/ 1545 w 1841"/>
                <a:gd name="T49" fmla="*/ 1158 h 1842"/>
                <a:gd name="T50" fmla="*/ 1505 w 1841"/>
                <a:gd name="T51" fmla="*/ 1273 h 1842"/>
                <a:gd name="T52" fmla="*/ 1354 w 1841"/>
                <a:gd name="T53" fmla="*/ 1472 h 1842"/>
                <a:gd name="T54" fmla="*/ 1131 w 1841"/>
                <a:gd name="T55" fmla="*/ 1546 h 1842"/>
                <a:gd name="T56" fmla="*/ 1118 w 1841"/>
                <a:gd name="T57" fmla="*/ 1546 h 1842"/>
                <a:gd name="T58" fmla="*/ 854 w 1841"/>
                <a:gd name="T59" fmla="*/ 1518 h 1842"/>
                <a:gd name="T60" fmla="*/ 544 w 1841"/>
                <a:gd name="T61" fmla="*/ 1486 h 1842"/>
                <a:gd name="T62" fmla="*/ 394 w 1841"/>
                <a:gd name="T63" fmla="*/ 1498 h 1842"/>
                <a:gd name="T64" fmla="*/ 242 w 1841"/>
                <a:gd name="T65" fmla="*/ 1543 h 1842"/>
                <a:gd name="T66" fmla="*/ 920 w 1841"/>
                <a:gd name="T67" fmla="*/ 1842 h 1842"/>
                <a:gd name="T68" fmla="*/ 1841 w 1841"/>
                <a:gd name="T69" fmla="*/ 921 h 1842"/>
                <a:gd name="T70" fmla="*/ 920 w 1841"/>
                <a:gd name="T71" fmla="*/ 0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41" h="1842">
                  <a:moveTo>
                    <a:pt x="920" y="0"/>
                  </a:moveTo>
                  <a:lnTo>
                    <a:pt x="920" y="0"/>
                  </a:lnTo>
                  <a:cubicBezTo>
                    <a:pt x="412" y="0"/>
                    <a:pt x="0" y="412"/>
                    <a:pt x="0" y="921"/>
                  </a:cubicBezTo>
                  <a:lnTo>
                    <a:pt x="0" y="921"/>
                  </a:lnTo>
                  <a:cubicBezTo>
                    <a:pt x="0" y="1131"/>
                    <a:pt x="70" y="1325"/>
                    <a:pt x="188" y="1479"/>
                  </a:cubicBezTo>
                  <a:lnTo>
                    <a:pt x="954" y="473"/>
                  </a:lnTo>
                  <a:lnTo>
                    <a:pt x="871" y="474"/>
                  </a:lnTo>
                  <a:lnTo>
                    <a:pt x="790" y="473"/>
                  </a:lnTo>
                  <a:cubicBezTo>
                    <a:pt x="702" y="473"/>
                    <a:pt x="620" y="480"/>
                    <a:pt x="561" y="491"/>
                  </a:cubicBezTo>
                  <a:cubicBezTo>
                    <a:pt x="525" y="498"/>
                    <a:pt x="493" y="511"/>
                    <a:pt x="467" y="530"/>
                  </a:cubicBezTo>
                  <a:cubicBezTo>
                    <a:pt x="437" y="551"/>
                    <a:pt x="399" y="596"/>
                    <a:pt x="374" y="641"/>
                  </a:cubicBezTo>
                  <a:cubicBezTo>
                    <a:pt x="371" y="646"/>
                    <a:pt x="367" y="654"/>
                    <a:pt x="361" y="665"/>
                  </a:cubicBezTo>
                  <a:lnTo>
                    <a:pt x="316" y="655"/>
                  </a:lnTo>
                  <a:lnTo>
                    <a:pt x="392" y="366"/>
                  </a:lnTo>
                  <a:lnTo>
                    <a:pt x="1350" y="366"/>
                  </a:lnTo>
                  <a:lnTo>
                    <a:pt x="588" y="1385"/>
                  </a:lnTo>
                  <a:cubicBezTo>
                    <a:pt x="638" y="1380"/>
                    <a:pt x="658" y="1379"/>
                    <a:pt x="698" y="1379"/>
                  </a:cubicBezTo>
                  <a:cubicBezTo>
                    <a:pt x="729" y="1379"/>
                    <a:pt x="776" y="1381"/>
                    <a:pt x="839" y="1385"/>
                  </a:cubicBezTo>
                  <a:lnTo>
                    <a:pt x="974" y="1393"/>
                  </a:lnTo>
                  <a:cubicBezTo>
                    <a:pt x="1023" y="1396"/>
                    <a:pt x="1064" y="1397"/>
                    <a:pt x="1095" y="1397"/>
                  </a:cubicBezTo>
                  <a:cubicBezTo>
                    <a:pt x="1165" y="1397"/>
                    <a:pt x="1210" y="1392"/>
                    <a:pt x="1255" y="1378"/>
                  </a:cubicBezTo>
                  <a:cubicBezTo>
                    <a:pt x="1290" y="1367"/>
                    <a:pt x="1324" y="1351"/>
                    <a:pt x="1354" y="1331"/>
                  </a:cubicBezTo>
                  <a:cubicBezTo>
                    <a:pt x="1408" y="1293"/>
                    <a:pt x="1460" y="1234"/>
                    <a:pt x="1491" y="1175"/>
                  </a:cubicBezTo>
                  <a:cubicBezTo>
                    <a:pt x="1494" y="1169"/>
                    <a:pt x="1499" y="1160"/>
                    <a:pt x="1504" y="1147"/>
                  </a:cubicBezTo>
                  <a:lnTo>
                    <a:pt x="1545" y="1158"/>
                  </a:lnTo>
                  <a:cubicBezTo>
                    <a:pt x="1532" y="1208"/>
                    <a:pt x="1525" y="1228"/>
                    <a:pt x="1505" y="1273"/>
                  </a:cubicBezTo>
                  <a:cubicBezTo>
                    <a:pt x="1464" y="1364"/>
                    <a:pt x="1417" y="1425"/>
                    <a:pt x="1354" y="1472"/>
                  </a:cubicBezTo>
                  <a:cubicBezTo>
                    <a:pt x="1289" y="1521"/>
                    <a:pt x="1216" y="1544"/>
                    <a:pt x="1131" y="1546"/>
                  </a:cubicBezTo>
                  <a:lnTo>
                    <a:pt x="1118" y="1546"/>
                  </a:lnTo>
                  <a:cubicBezTo>
                    <a:pt x="1055" y="1546"/>
                    <a:pt x="1006" y="1541"/>
                    <a:pt x="854" y="1518"/>
                  </a:cubicBezTo>
                  <a:cubicBezTo>
                    <a:pt x="700" y="1494"/>
                    <a:pt x="621" y="1486"/>
                    <a:pt x="544" y="1486"/>
                  </a:cubicBezTo>
                  <a:cubicBezTo>
                    <a:pt x="492" y="1486"/>
                    <a:pt x="444" y="1490"/>
                    <a:pt x="394" y="1498"/>
                  </a:cubicBezTo>
                  <a:cubicBezTo>
                    <a:pt x="328" y="1508"/>
                    <a:pt x="302" y="1516"/>
                    <a:pt x="242" y="1543"/>
                  </a:cubicBezTo>
                  <a:cubicBezTo>
                    <a:pt x="410" y="1727"/>
                    <a:pt x="652" y="1842"/>
                    <a:pt x="920" y="1842"/>
                  </a:cubicBezTo>
                  <a:cubicBezTo>
                    <a:pt x="1429" y="1842"/>
                    <a:pt x="1841" y="1430"/>
                    <a:pt x="1841" y="921"/>
                  </a:cubicBezTo>
                  <a:cubicBezTo>
                    <a:pt x="1841" y="412"/>
                    <a:pt x="1429" y="0"/>
                    <a:pt x="9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4" name="Freeform 6">
              <a:extLst>
                <a:ext uri="{FF2B5EF4-FFF2-40B4-BE49-F238E27FC236}">
                  <a16:creationId xmlns:a16="http://schemas.microsoft.com/office/drawing/2014/main" id="{BEE17792-2541-41AB-A3A4-1488AC914260}"/>
                </a:ext>
              </a:extLst>
            </p:cNvPr>
            <p:cNvSpPr>
              <a:spLocks/>
            </p:cNvSpPr>
            <p:nvPr userDrawn="1"/>
          </p:nvSpPr>
          <p:spPr bwMode="auto">
            <a:xfrm>
              <a:off x="642" y="197"/>
              <a:ext cx="25" cy="80"/>
            </a:xfrm>
            <a:custGeom>
              <a:avLst/>
              <a:gdLst>
                <a:gd name="T0" fmla="*/ 232 w 288"/>
                <a:gd name="T1" fmla="*/ 166 h 897"/>
                <a:gd name="T2" fmla="*/ 232 w 288"/>
                <a:gd name="T3" fmla="*/ 166 h 897"/>
                <a:gd name="T4" fmla="*/ 241 w 288"/>
                <a:gd name="T5" fmla="*/ 65 h 897"/>
                <a:gd name="T6" fmla="*/ 254 w 288"/>
                <a:gd name="T7" fmla="*/ 37 h 897"/>
                <a:gd name="T8" fmla="*/ 288 w 288"/>
                <a:gd name="T9" fmla="*/ 0 h 897"/>
                <a:gd name="T10" fmla="*/ 0 w 288"/>
                <a:gd name="T11" fmla="*/ 0 h 897"/>
                <a:gd name="T12" fmla="*/ 33 w 288"/>
                <a:gd name="T13" fmla="*/ 35 h 897"/>
                <a:gd name="T14" fmla="*/ 47 w 288"/>
                <a:gd name="T15" fmla="*/ 64 h 897"/>
                <a:gd name="T16" fmla="*/ 56 w 288"/>
                <a:gd name="T17" fmla="*/ 161 h 897"/>
                <a:gd name="T18" fmla="*/ 56 w 288"/>
                <a:gd name="T19" fmla="*/ 215 h 897"/>
                <a:gd name="T20" fmla="*/ 56 w 288"/>
                <a:gd name="T21" fmla="*/ 752 h 897"/>
                <a:gd name="T22" fmla="*/ 42 w 288"/>
                <a:gd name="T23" fmla="*/ 839 h 897"/>
                <a:gd name="T24" fmla="*/ 28 w 288"/>
                <a:gd name="T25" fmla="*/ 865 h 897"/>
                <a:gd name="T26" fmla="*/ 1 w 288"/>
                <a:gd name="T27" fmla="*/ 897 h 897"/>
                <a:gd name="T28" fmla="*/ 285 w 288"/>
                <a:gd name="T29" fmla="*/ 897 h 897"/>
                <a:gd name="T30" fmla="*/ 258 w 288"/>
                <a:gd name="T31" fmla="*/ 865 h 897"/>
                <a:gd name="T32" fmla="*/ 243 w 288"/>
                <a:gd name="T33" fmla="*/ 838 h 897"/>
                <a:gd name="T34" fmla="*/ 231 w 288"/>
                <a:gd name="T35" fmla="*/ 759 h 897"/>
                <a:gd name="T36" fmla="*/ 231 w 288"/>
                <a:gd name="T37" fmla="*/ 218 h 897"/>
                <a:gd name="T38" fmla="*/ 232 w 288"/>
                <a:gd name="T39" fmla="*/ 16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897">
                  <a:moveTo>
                    <a:pt x="232" y="166"/>
                  </a:moveTo>
                  <a:lnTo>
                    <a:pt x="232" y="166"/>
                  </a:lnTo>
                  <a:cubicBezTo>
                    <a:pt x="232" y="106"/>
                    <a:pt x="233" y="89"/>
                    <a:pt x="241" y="65"/>
                  </a:cubicBezTo>
                  <a:cubicBezTo>
                    <a:pt x="244" y="55"/>
                    <a:pt x="248" y="46"/>
                    <a:pt x="254" y="37"/>
                  </a:cubicBezTo>
                  <a:cubicBezTo>
                    <a:pt x="263" y="22"/>
                    <a:pt x="270" y="14"/>
                    <a:pt x="288" y="0"/>
                  </a:cubicBezTo>
                  <a:lnTo>
                    <a:pt x="0" y="0"/>
                  </a:lnTo>
                  <a:cubicBezTo>
                    <a:pt x="18" y="16"/>
                    <a:pt x="24" y="22"/>
                    <a:pt x="33" y="35"/>
                  </a:cubicBezTo>
                  <a:cubicBezTo>
                    <a:pt x="39" y="44"/>
                    <a:pt x="44" y="54"/>
                    <a:pt x="47" y="64"/>
                  </a:cubicBezTo>
                  <a:cubicBezTo>
                    <a:pt x="53" y="86"/>
                    <a:pt x="56" y="108"/>
                    <a:pt x="56" y="161"/>
                  </a:cubicBezTo>
                  <a:cubicBezTo>
                    <a:pt x="56" y="188"/>
                    <a:pt x="56" y="206"/>
                    <a:pt x="56" y="215"/>
                  </a:cubicBezTo>
                  <a:lnTo>
                    <a:pt x="56" y="752"/>
                  </a:lnTo>
                  <a:cubicBezTo>
                    <a:pt x="56" y="784"/>
                    <a:pt x="51" y="817"/>
                    <a:pt x="42" y="839"/>
                  </a:cubicBezTo>
                  <a:cubicBezTo>
                    <a:pt x="39" y="848"/>
                    <a:pt x="34" y="857"/>
                    <a:pt x="28" y="865"/>
                  </a:cubicBezTo>
                  <a:cubicBezTo>
                    <a:pt x="21" y="875"/>
                    <a:pt x="16" y="880"/>
                    <a:pt x="1" y="897"/>
                  </a:cubicBezTo>
                  <a:lnTo>
                    <a:pt x="285" y="897"/>
                  </a:lnTo>
                  <a:cubicBezTo>
                    <a:pt x="271" y="885"/>
                    <a:pt x="266" y="879"/>
                    <a:pt x="258" y="865"/>
                  </a:cubicBezTo>
                  <a:cubicBezTo>
                    <a:pt x="252" y="856"/>
                    <a:pt x="247" y="847"/>
                    <a:pt x="243" y="838"/>
                  </a:cubicBezTo>
                  <a:cubicBezTo>
                    <a:pt x="236" y="817"/>
                    <a:pt x="231" y="787"/>
                    <a:pt x="231" y="759"/>
                  </a:cubicBezTo>
                  <a:lnTo>
                    <a:pt x="231" y="218"/>
                  </a:lnTo>
                  <a:lnTo>
                    <a:pt x="232" y="1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5" name="Freeform 7">
              <a:extLst>
                <a:ext uri="{FF2B5EF4-FFF2-40B4-BE49-F238E27FC236}">
                  <a16:creationId xmlns:a16="http://schemas.microsoft.com/office/drawing/2014/main" id="{7FE4A7E9-42E0-43D0-B996-856DC1B0758B}"/>
                </a:ext>
              </a:extLst>
            </p:cNvPr>
            <p:cNvSpPr>
              <a:spLocks/>
            </p:cNvSpPr>
            <p:nvPr userDrawn="1"/>
          </p:nvSpPr>
          <p:spPr bwMode="auto">
            <a:xfrm>
              <a:off x="761" y="197"/>
              <a:ext cx="77" cy="80"/>
            </a:xfrm>
            <a:custGeom>
              <a:avLst/>
              <a:gdLst>
                <a:gd name="T0" fmla="*/ 810 w 869"/>
                <a:gd name="T1" fmla="*/ 165 h 897"/>
                <a:gd name="T2" fmla="*/ 810 w 869"/>
                <a:gd name="T3" fmla="*/ 165 h 897"/>
                <a:gd name="T4" fmla="*/ 819 w 869"/>
                <a:gd name="T5" fmla="*/ 70 h 897"/>
                <a:gd name="T6" fmla="*/ 834 w 869"/>
                <a:gd name="T7" fmla="*/ 37 h 897"/>
                <a:gd name="T8" fmla="*/ 869 w 869"/>
                <a:gd name="T9" fmla="*/ 0 h 897"/>
                <a:gd name="T10" fmla="*/ 576 w 869"/>
                <a:gd name="T11" fmla="*/ 0 h 897"/>
                <a:gd name="T12" fmla="*/ 609 w 869"/>
                <a:gd name="T13" fmla="*/ 36 h 897"/>
                <a:gd name="T14" fmla="*/ 624 w 869"/>
                <a:gd name="T15" fmla="*/ 67 h 897"/>
                <a:gd name="T16" fmla="*/ 634 w 869"/>
                <a:gd name="T17" fmla="*/ 162 h 897"/>
                <a:gd name="T18" fmla="*/ 634 w 869"/>
                <a:gd name="T19" fmla="*/ 379 h 897"/>
                <a:gd name="T20" fmla="*/ 232 w 869"/>
                <a:gd name="T21" fmla="*/ 379 h 897"/>
                <a:gd name="T22" fmla="*/ 232 w 869"/>
                <a:gd name="T23" fmla="*/ 216 h 897"/>
                <a:gd name="T24" fmla="*/ 234 w 869"/>
                <a:gd name="T25" fmla="*/ 109 h 897"/>
                <a:gd name="T26" fmla="*/ 241 w 869"/>
                <a:gd name="T27" fmla="*/ 70 h 897"/>
                <a:gd name="T28" fmla="*/ 278 w 869"/>
                <a:gd name="T29" fmla="*/ 9 h 897"/>
                <a:gd name="T30" fmla="*/ 288 w 869"/>
                <a:gd name="T31" fmla="*/ 0 h 897"/>
                <a:gd name="T32" fmla="*/ 1 w 869"/>
                <a:gd name="T33" fmla="*/ 0 h 897"/>
                <a:gd name="T34" fmla="*/ 30 w 869"/>
                <a:gd name="T35" fmla="*/ 34 h 897"/>
                <a:gd name="T36" fmla="*/ 46 w 869"/>
                <a:gd name="T37" fmla="*/ 64 h 897"/>
                <a:gd name="T38" fmla="*/ 56 w 869"/>
                <a:gd name="T39" fmla="*/ 159 h 897"/>
                <a:gd name="T40" fmla="*/ 57 w 869"/>
                <a:gd name="T41" fmla="*/ 216 h 897"/>
                <a:gd name="T42" fmla="*/ 57 w 869"/>
                <a:gd name="T43" fmla="*/ 707 h 897"/>
                <a:gd name="T44" fmla="*/ 53 w 869"/>
                <a:gd name="T45" fmla="*/ 802 h 897"/>
                <a:gd name="T46" fmla="*/ 44 w 869"/>
                <a:gd name="T47" fmla="*/ 838 h 897"/>
                <a:gd name="T48" fmla="*/ 9 w 869"/>
                <a:gd name="T49" fmla="*/ 888 h 897"/>
                <a:gd name="T50" fmla="*/ 0 w 869"/>
                <a:gd name="T51" fmla="*/ 897 h 897"/>
                <a:gd name="T52" fmla="*/ 284 w 869"/>
                <a:gd name="T53" fmla="*/ 897 h 897"/>
                <a:gd name="T54" fmla="*/ 260 w 869"/>
                <a:gd name="T55" fmla="*/ 867 h 897"/>
                <a:gd name="T56" fmla="*/ 245 w 869"/>
                <a:gd name="T57" fmla="*/ 839 h 897"/>
                <a:gd name="T58" fmla="*/ 232 w 869"/>
                <a:gd name="T59" fmla="*/ 761 h 897"/>
                <a:gd name="T60" fmla="*/ 232 w 869"/>
                <a:gd name="T61" fmla="*/ 707 h 897"/>
                <a:gd name="T62" fmla="*/ 232 w 869"/>
                <a:gd name="T63" fmla="*/ 490 h 897"/>
                <a:gd name="T64" fmla="*/ 634 w 869"/>
                <a:gd name="T65" fmla="*/ 490 h 897"/>
                <a:gd name="T66" fmla="*/ 634 w 869"/>
                <a:gd name="T67" fmla="*/ 709 h 897"/>
                <a:gd name="T68" fmla="*/ 630 w 869"/>
                <a:gd name="T69" fmla="*/ 800 h 897"/>
                <a:gd name="T70" fmla="*/ 620 w 869"/>
                <a:gd name="T71" fmla="*/ 838 h 897"/>
                <a:gd name="T72" fmla="*/ 588 w 869"/>
                <a:gd name="T73" fmla="*/ 885 h 897"/>
                <a:gd name="T74" fmla="*/ 575 w 869"/>
                <a:gd name="T75" fmla="*/ 897 h 897"/>
                <a:gd name="T76" fmla="*/ 862 w 869"/>
                <a:gd name="T77" fmla="*/ 897 h 897"/>
                <a:gd name="T78" fmla="*/ 838 w 869"/>
                <a:gd name="T79" fmla="*/ 869 h 897"/>
                <a:gd name="T80" fmla="*/ 821 w 869"/>
                <a:gd name="T81" fmla="*/ 839 h 897"/>
                <a:gd name="T82" fmla="*/ 810 w 869"/>
                <a:gd name="T83" fmla="*/ 758 h 897"/>
                <a:gd name="T84" fmla="*/ 809 w 869"/>
                <a:gd name="T85" fmla="*/ 712 h 897"/>
                <a:gd name="T86" fmla="*/ 810 w 869"/>
                <a:gd name="T87" fmla="*/ 218 h 897"/>
                <a:gd name="T88" fmla="*/ 810 w 869"/>
                <a:gd name="T89" fmla="*/ 16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9" h="897">
                  <a:moveTo>
                    <a:pt x="810" y="165"/>
                  </a:moveTo>
                  <a:lnTo>
                    <a:pt x="810" y="165"/>
                  </a:lnTo>
                  <a:cubicBezTo>
                    <a:pt x="810" y="125"/>
                    <a:pt x="813" y="95"/>
                    <a:pt x="819" y="70"/>
                  </a:cubicBezTo>
                  <a:cubicBezTo>
                    <a:pt x="823" y="59"/>
                    <a:pt x="828" y="48"/>
                    <a:pt x="834" y="37"/>
                  </a:cubicBezTo>
                  <a:cubicBezTo>
                    <a:pt x="843" y="22"/>
                    <a:pt x="850" y="14"/>
                    <a:pt x="869" y="0"/>
                  </a:cubicBezTo>
                  <a:lnTo>
                    <a:pt x="576" y="0"/>
                  </a:lnTo>
                  <a:cubicBezTo>
                    <a:pt x="593" y="14"/>
                    <a:pt x="599" y="20"/>
                    <a:pt x="609" y="36"/>
                  </a:cubicBezTo>
                  <a:cubicBezTo>
                    <a:pt x="616" y="46"/>
                    <a:pt x="621" y="57"/>
                    <a:pt x="624" y="67"/>
                  </a:cubicBezTo>
                  <a:cubicBezTo>
                    <a:pt x="631" y="88"/>
                    <a:pt x="634" y="115"/>
                    <a:pt x="634" y="162"/>
                  </a:cubicBezTo>
                  <a:lnTo>
                    <a:pt x="634" y="379"/>
                  </a:lnTo>
                  <a:lnTo>
                    <a:pt x="232" y="379"/>
                  </a:lnTo>
                  <a:lnTo>
                    <a:pt x="232" y="216"/>
                  </a:lnTo>
                  <a:cubicBezTo>
                    <a:pt x="232" y="166"/>
                    <a:pt x="232" y="134"/>
                    <a:pt x="234" y="109"/>
                  </a:cubicBezTo>
                  <a:cubicBezTo>
                    <a:pt x="235" y="95"/>
                    <a:pt x="238" y="82"/>
                    <a:pt x="241" y="70"/>
                  </a:cubicBezTo>
                  <a:cubicBezTo>
                    <a:pt x="247" y="51"/>
                    <a:pt x="264" y="24"/>
                    <a:pt x="278" y="9"/>
                  </a:cubicBezTo>
                  <a:cubicBezTo>
                    <a:pt x="280" y="7"/>
                    <a:pt x="284" y="4"/>
                    <a:pt x="288" y="0"/>
                  </a:cubicBezTo>
                  <a:lnTo>
                    <a:pt x="1" y="0"/>
                  </a:lnTo>
                  <a:cubicBezTo>
                    <a:pt x="18" y="17"/>
                    <a:pt x="23" y="23"/>
                    <a:pt x="30" y="34"/>
                  </a:cubicBezTo>
                  <a:cubicBezTo>
                    <a:pt x="37" y="43"/>
                    <a:pt x="42" y="53"/>
                    <a:pt x="46" y="64"/>
                  </a:cubicBezTo>
                  <a:cubicBezTo>
                    <a:pt x="53" y="87"/>
                    <a:pt x="55" y="100"/>
                    <a:pt x="56" y="159"/>
                  </a:cubicBezTo>
                  <a:lnTo>
                    <a:pt x="57" y="216"/>
                  </a:lnTo>
                  <a:lnTo>
                    <a:pt x="57" y="707"/>
                  </a:lnTo>
                  <a:cubicBezTo>
                    <a:pt x="57" y="757"/>
                    <a:pt x="56" y="779"/>
                    <a:pt x="53" y="802"/>
                  </a:cubicBezTo>
                  <a:cubicBezTo>
                    <a:pt x="51" y="814"/>
                    <a:pt x="48" y="825"/>
                    <a:pt x="44" y="838"/>
                  </a:cubicBezTo>
                  <a:cubicBezTo>
                    <a:pt x="37" y="857"/>
                    <a:pt x="26" y="872"/>
                    <a:pt x="9" y="888"/>
                  </a:cubicBezTo>
                  <a:cubicBezTo>
                    <a:pt x="7" y="890"/>
                    <a:pt x="4" y="893"/>
                    <a:pt x="0" y="897"/>
                  </a:cubicBezTo>
                  <a:lnTo>
                    <a:pt x="284" y="897"/>
                  </a:lnTo>
                  <a:cubicBezTo>
                    <a:pt x="271" y="884"/>
                    <a:pt x="267" y="878"/>
                    <a:pt x="260" y="867"/>
                  </a:cubicBezTo>
                  <a:cubicBezTo>
                    <a:pt x="254" y="859"/>
                    <a:pt x="249" y="849"/>
                    <a:pt x="245" y="839"/>
                  </a:cubicBezTo>
                  <a:cubicBezTo>
                    <a:pt x="236" y="815"/>
                    <a:pt x="233" y="799"/>
                    <a:pt x="232" y="761"/>
                  </a:cubicBezTo>
                  <a:cubicBezTo>
                    <a:pt x="232" y="741"/>
                    <a:pt x="232" y="724"/>
                    <a:pt x="232" y="707"/>
                  </a:cubicBezTo>
                  <a:lnTo>
                    <a:pt x="232" y="490"/>
                  </a:lnTo>
                  <a:lnTo>
                    <a:pt x="634" y="490"/>
                  </a:lnTo>
                  <a:lnTo>
                    <a:pt x="634" y="709"/>
                  </a:lnTo>
                  <a:cubicBezTo>
                    <a:pt x="634" y="757"/>
                    <a:pt x="633" y="775"/>
                    <a:pt x="630" y="800"/>
                  </a:cubicBezTo>
                  <a:cubicBezTo>
                    <a:pt x="628" y="813"/>
                    <a:pt x="625" y="826"/>
                    <a:pt x="620" y="838"/>
                  </a:cubicBezTo>
                  <a:cubicBezTo>
                    <a:pt x="613" y="855"/>
                    <a:pt x="603" y="871"/>
                    <a:pt x="588" y="885"/>
                  </a:cubicBezTo>
                  <a:cubicBezTo>
                    <a:pt x="585" y="888"/>
                    <a:pt x="581" y="892"/>
                    <a:pt x="575" y="897"/>
                  </a:cubicBezTo>
                  <a:lnTo>
                    <a:pt x="862" y="897"/>
                  </a:lnTo>
                  <a:cubicBezTo>
                    <a:pt x="850" y="885"/>
                    <a:pt x="846" y="880"/>
                    <a:pt x="838" y="869"/>
                  </a:cubicBezTo>
                  <a:cubicBezTo>
                    <a:pt x="831" y="859"/>
                    <a:pt x="825" y="849"/>
                    <a:pt x="821" y="839"/>
                  </a:cubicBezTo>
                  <a:cubicBezTo>
                    <a:pt x="813" y="818"/>
                    <a:pt x="811" y="803"/>
                    <a:pt x="810" y="758"/>
                  </a:cubicBezTo>
                  <a:cubicBezTo>
                    <a:pt x="809" y="732"/>
                    <a:pt x="809" y="717"/>
                    <a:pt x="809" y="712"/>
                  </a:cubicBezTo>
                  <a:lnTo>
                    <a:pt x="810" y="218"/>
                  </a:lnTo>
                  <a:lnTo>
                    <a:pt x="810" y="16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6" name="Freeform 8">
              <a:extLst>
                <a:ext uri="{FF2B5EF4-FFF2-40B4-BE49-F238E27FC236}">
                  <a16:creationId xmlns:a16="http://schemas.microsoft.com/office/drawing/2014/main" id="{451758A0-E6AE-4136-8372-7F123E721594}"/>
                </a:ext>
              </a:extLst>
            </p:cNvPr>
            <p:cNvSpPr>
              <a:spLocks noEditPoints="1"/>
            </p:cNvSpPr>
            <p:nvPr userDrawn="1"/>
          </p:nvSpPr>
          <p:spPr bwMode="auto">
            <a:xfrm>
              <a:off x="562" y="197"/>
              <a:ext cx="73" cy="80"/>
            </a:xfrm>
            <a:custGeom>
              <a:avLst/>
              <a:gdLst>
                <a:gd name="T0" fmla="*/ 408 w 822"/>
                <a:gd name="T1" fmla="*/ 395 h 897"/>
                <a:gd name="T2" fmla="*/ 408 w 822"/>
                <a:gd name="T3" fmla="*/ 395 h 897"/>
                <a:gd name="T4" fmla="*/ 295 w 822"/>
                <a:gd name="T5" fmla="*/ 431 h 897"/>
                <a:gd name="T6" fmla="*/ 248 w 822"/>
                <a:gd name="T7" fmla="*/ 435 h 897"/>
                <a:gd name="T8" fmla="*/ 233 w 822"/>
                <a:gd name="T9" fmla="*/ 435 h 897"/>
                <a:gd name="T10" fmla="*/ 233 w 822"/>
                <a:gd name="T11" fmla="*/ 103 h 897"/>
                <a:gd name="T12" fmla="*/ 257 w 822"/>
                <a:gd name="T13" fmla="*/ 102 h 897"/>
                <a:gd name="T14" fmla="*/ 378 w 822"/>
                <a:gd name="T15" fmla="*/ 117 h 897"/>
                <a:gd name="T16" fmla="*/ 439 w 822"/>
                <a:gd name="T17" fmla="*/ 149 h 897"/>
                <a:gd name="T18" fmla="*/ 485 w 822"/>
                <a:gd name="T19" fmla="*/ 260 h 897"/>
                <a:gd name="T20" fmla="*/ 450 w 822"/>
                <a:gd name="T21" fmla="*/ 361 h 897"/>
                <a:gd name="T22" fmla="*/ 408 w 822"/>
                <a:gd name="T23" fmla="*/ 395 h 897"/>
                <a:gd name="T24" fmla="*/ 408 w 822"/>
                <a:gd name="T25" fmla="*/ 395 h 897"/>
                <a:gd name="T26" fmla="*/ 750 w 822"/>
                <a:gd name="T27" fmla="*/ 835 h 897"/>
                <a:gd name="T28" fmla="*/ 750 w 822"/>
                <a:gd name="T29" fmla="*/ 835 h 897"/>
                <a:gd name="T30" fmla="*/ 649 w 822"/>
                <a:gd name="T31" fmla="*/ 730 h 897"/>
                <a:gd name="T32" fmla="*/ 583 w 822"/>
                <a:gd name="T33" fmla="*/ 657 h 897"/>
                <a:gd name="T34" fmla="*/ 444 w 822"/>
                <a:gd name="T35" fmla="*/ 493 h 897"/>
                <a:gd name="T36" fmla="*/ 484 w 822"/>
                <a:gd name="T37" fmla="*/ 480 h 897"/>
                <a:gd name="T38" fmla="*/ 594 w 822"/>
                <a:gd name="T39" fmla="*/ 416 h 897"/>
                <a:gd name="T40" fmla="*/ 665 w 822"/>
                <a:gd name="T41" fmla="*/ 313 h 897"/>
                <a:gd name="T42" fmla="*/ 676 w 822"/>
                <a:gd name="T43" fmla="*/ 244 h 897"/>
                <a:gd name="T44" fmla="*/ 615 w 822"/>
                <a:gd name="T45" fmla="*/ 97 h 897"/>
                <a:gd name="T46" fmla="*/ 470 w 822"/>
                <a:gd name="T47" fmla="*/ 16 h 897"/>
                <a:gd name="T48" fmla="*/ 316 w 822"/>
                <a:gd name="T49" fmla="*/ 1 h 897"/>
                <a:gd name="T50" fmla="*/ 233 w 822"/>
                <a:gd name="T51" fmla="*/ 0 h 897"/>
                <a:gd name="T52" fmla="*/ 2 w 822"/>
                <a:gd name="T53" fmla="*/ 0 h 897"/>
                <a:gd name="T54" fmla="*/ 32 w 822"/>
                <a:gd name="T55" fmla="*/ 33 h 897"/>
                <a:gd name="T56" fmla="*/ 47 w 822"/>
                <a:gd name="T57" fmla="*/ 66 h 897"/>
                <a:gd name="T58" fmla="*/ 56 w 822"/>
                <a:gd name="T59" fmla="*/ 162 h 897"/>
                <a:gd name="T60" fmla="*/ 56 w 822"/>
                <a:gd name="T61" fmla="*/ 750 h 897"/>
                <a:gd name="T62" fmla="*/ 46 w 822"/>
                <a:gd name="T63" fmla="*/ 837 h 897"/>
                <a:gd name="T64" fmla="*/ 31 w 822"/>
                <a:gd name="T65" fmla="*/ 865 h 897"/>
                <a:gd name="T66" fmla="*/ 0 w 822"/>
                <a:gd name="T67" fmla="*/ 897 h 897"/>
                <a:gd name="T68" fmla="*/ 285 w 822"/>
                <a:gd name="T69" fmla="*/ 897 h 897"/>
                <a:gd name="T70" fmla="*/ 261 w 822"/>
                <a:gd name="T71" fmla="*/ 867 h 897"/>
                <a:gd name="T72" fmla="*/ 245 w 822"/>
                <a:gd name="T73" fmla="*/ 840 h 897"/>
                <a:gd name="T74" fmla="*/ 234 w 822"/>
                <a:gd name="T75" fmla="*/ 757 h 897"/>
                <a:gd name="T76" fmla="*/ 233 w 822"/>
                <a:gd name="T77" fmla="*/ 712 h 897"/>
                <a:gd name="T78" fmla="*/ 233 w 822"/>
                <a:gd name="T79" fmla="*/ 510 h 897"/>
                <a:gd name="T80" fmla="*/ 400 w 822"/>
                <a:gd name="T81" fmla="*/ 710 h 897"/>
                <a:gd name="T82" fmla="*/ 437 w 822"/>
                <a:gd name="T83" fmla="*/ 753 h 897"/>
                <a:gd name="T84" fmla="*/ 481 w 822"/>
                <a:gd name="T85" fmla="*/ 801 h 897"/>
                <a:gd name="T86" fmla="*/ 573 w 822"/>
                <a:gd name="T87" fmla="*/ 875 h 897"/>
                <a:gd name="T88" fmla="*/ 662 w 822"/>
                <a:gd name="T89" fmla="*/ 896 h 897"/>
                <a:gd name="T90" fmla="*/ 709 w 822"/>
                <a:gd name="T91" fmla="*/ 897 h 897"/>
                <a:gd name="T92" fmla="*/ 822 w 822"/>
                <a:gd name="T93" fmla="*/ 897 h 897"/>
                <a:gd name="T94" fmla="*/ 789 w 822"/>
                <a:gd name="T95" fmla="*/ 870 h 897"/>
                <a:gd name="T96" fmla="*/ 750 w 822"/>
                <a:gd name="T97" fmla="*/ 83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897">
                  <a:moveTo>
                    <a:pt x="408" y="395"/>
                  </a:moveTo>
                  <a:lnTo>
                    <a:pt x="408" y="395"/>
                  </a:lnTo>
                  <a:cubicBezTo>
                    <a:pt x="376" y="413"/>
                    <a:pt x="343" y="424"/>
                    <a:pt x="295" y="431"/>
                  </a:cubicBezTo>
                  <a:cubicBezTo>
                    <a:pt x="277" y="434"/>
                    <a:pt x="261" y="435"/>
                    <a:pt x="248" y="435"/>
                  </a:cubicBezTo>
                  <a:cubicBezTo>
                    <a:pt x="243" y="435"/>
                    <a:pt x="240" y="435"/>
                    <a:pt x="233" y="435"/>
                  </a:cubicBezTo>
                  <a:lnTo>
                    <a:pt x="233" y="103"/>
                  </a:lnTo>
                  <a:cubicBezTo>
                    <a:pt x="245" y="102"/>
                    <a:pt x="249" y="102"/>
                    <a:pt x="257" y="102"/>
                  </a:cubicBezTo>
                  <a:cubicBezTo>
                    <a:pt x="301" y="102"/>
                    <a:pt x="344" y="107"/>
                    <a:pt x="378" y="117"/>
                  </a:cubicBezTo>
                  <a:cubicBezTo>
                    <a:pt x="400" y="123"/>
                    <a:pt x="421" y="135"/>
                    <a:pt x="439" y="149"/>
                  </a:cubicBezTo>
                  <a:cubicBezTo>
                    <a:pt x="469" y="175"/>
                    <a:pt x="485" y="213"/>
                    <a:pt x="485" y="260"/>
                  </a:cubicBezTo>
                  <a:cubicBezTo>
                    <a:pt x="485" y="300"/>
                    <a:pt x="473" y="335"/>
                    <a:pt x="450" y="361"/>
                  </a:cubicBezTo>
                  <a:cubicBezTo>
                    <a:pt x="439" y="373"/>
                    <a:pt x="425" y="385"/>
                    <a:pt x="408" y="395"/>
                  </a:cubicBezTo>
                  <a:lnTo>
                    <a:pt x="408" y="395"/>
                  </a:lnTo>
                  <a:close/>
                  <a:moveTo>
                    <a:pt x="750" y="835"/>
                  </a:moveTo>
                  <a:lnTo>
                    <a:pt x="750" y="835"/>
                  </a:lnTo>
                  <a:cubicBezTo>
                    <a:pt x="719" y="804"/>
                    <a:pt x="691" y="776"/>
                    <a:pt x="649" y="730"/>
                  </a:cubicBezTo>
                  <a:cubicBezTo>
                    <a:pt x="622" y="702"/>
                    <a:pt x="600" y="677"/>
                    <a:pt x="583" y="657"/>
                  </a:cubicBezTo>
                  <a:lnTo>
                    <a:pt x="444" y="493"/>
                  </a:lnTo>
                  <a:cubicBezTo>
                    <a:pt x="461" y="488"/>
                    <a:pt x="468" y="486"/>
                    <a:pt x="484" y="480"/>
                  </a:cubicBezTo>
                  <a:cubicBezTo>
                    <a:pt x="529" y="462"/>
                    <a:pt x="563" y="442"/>
                    <a:pt x="594" y="416"/>
                  </a:cubicBezTo>
                  <a:cubicBezTo>
                    <a:pt x="630" y="386"/>
                    <a:pt x="652" y="354"/>
                    <a:pt x="665" y="313"/>
                  </a:cubicBezTo>
                  <a:cubicBezTo>
                    <a:pt x="673" y="291"/>
                    <a:pt x="676" y="267"/>
                    <a:pt x="676" y="244"/>
                  </a:cubicBezTo>
                  <a:cubicBezTo>
                    <a:pt x="676" y="189"/>
                    <a:pt x="656" y="139"/>
                    <a:pt x="615" y="97"/>
                  </a:cubicBezTo>
                  <a:cubicBezTo>
                    <a:pt x="579" y="58"/>
                    <a:pt x="527" y="30"/>
                    <a:pt x="470" y="16"/>
                  </a:cubicBezTo>
                  <a:cubicBezTo>
                    <a:pt x="429" y="7"/>
                    <a:pt x="388" y="2"/>
                    <a:pt x="316" y="1"/>
                  </a:cubicBezTo>
                  <a:cubicBezTo>
                    <a:pt x="289" y="0"/>
                    <a:pt x="262" y="0"/>
                    <a:pt x="233" y="0"/>
                  </a:cubicBezTo>
                  <a:lnTo>
                    <a:pt x="2" y="0"/>
                  </a:lnTo>
                  <a:cubicBezTo>
                    <a:pt x="17" y="14"/>
                    <a:pt x="23" y="20"/>
                    <a:pt x="32" y="33"/>
                  </a:cubicBezTo>
                  <a:cubicBezTo>
                    <a:pt x="38" y="44"/>
                    <a:pt x="44" y="55"/>
                    <a:pt x="47" y="66"/>
                  </a:cubicBezTo>
                  <a:cubicBezTo>
                    <a:pt x="53" y="86"/>
                    <a:pt x="56" y="114"/>
                    <a:pt x="56" y="162"/>
                  </a:cubicBezTo>
                  <a:lnTo>
                    <a:pt x="56" y="750"/>
                  </a:lnTo>
                  <a:cubicBezTo>
                    <a:pt x="56" y="793"/>
                    <a:pt x="53" y="817"/>
                    <a:pt x="46" y="837"/>
                  </a:cubicBezTo>
                  <a:cubicBezTo>
                    <a:pt x="42" y="847"/>
                    <a:pt x="37" y="857"/>
                    <a:pt x="31" y="865"/>
                  </a:cubicBezTo>
                  <a:cubicBezTo>
                    <a:pt x="22" y="876"/>
                    <a:pt x="17" y="882"/>
                    <a:pt x="0" y="897"/>
                  </a:cubicBezTo>
                  <a:lnTo>
                    <a:pt x="285" y="897"/>
                  </a:lnTo>
                  <a:cubicBezTo>
                    <a:pt x="273" y="883"/>
                    <a:pt x="269" y="878"/>
                    <a:pt x="261" y="867"/>
                  </a:cubicBezTo>
                  <a:cubicBezTo>
                    <a:pt x="254" y="859"/>
                    <a:pt x="249" y="850"/>
                    <a:pt x="245" y="840"/>
                  </a:cubicBezTo>
                  <a:cubicBezTo>
                    <a:pt x="238" y="820"/>
                    <a:pt x="234" y="799"/>
                    <a:pt x="234" y="757"/>
                  </a:cubicBezTo>
                  <a:cubicBezTo>
                    <a:pt x="234" y="744"/>
                    <a:pt x="233" y="729"/>
                    <a:pt x="233" y="712"/>
                  </a:cubicBezTo>
                  <a:lnTo>
                    <a:pt x="233" y="510"/>
                  </a:lnTo>
                  <a:lnTo>
                    <a:pt x="400" y="710"/>
                  </a:lnTo>
                  <a:cubicBezTo>
                    <a:pt x="407" y="719"/>
                    <a:pt x="420" y="734"/>
                    <a:pt x="437" y="753"/>
                  </a:cubicBezTo>
                  <a:cubicBezTo>
                    <a:pt x="456" y="775"/>
                    <a:pt x="471" y="791"/>
                    <a:pt x="481" y="801"/>
                  </a:cubicBezTo>
                  <a:cubicBezTo>
                    <a:pt x="513" y="835"/>
                    <a:pt x="543" y="859"/>
                    <a:pt x="573" y="875"/>
                  </a:cubicBezTo>
                  <a:cubicBezTo>
                    <a:pt x="599" y="889"/>
                    <a:pt x="624" y="895"/>
                    <a:pt x="662" y="896"/>
                  </a:cubicBezTo>
                  <a:cubicBezTo>
                    <a:pt x="677" y="897"/>
                    <a:pt x="693" y="897"/>
                    <a:pt x="709" y="897"/>
                  </a:cubicBezTo>
                  <a:lnTo>
                    <a:pt x="822" y="897"/>
                  </a:lnTo>
                  <a:cubicBezTo>
                    <a:pt x="807" y="885"/>
                    <a:pt x="800" y="880"/>
                    <a:pt x="789" y="870"/>
                  </a:cubicBezTo>
                  <a:cubicBezTo>
                    <a:pt x="777" y="859"/>
                    <a:pt x="764" y="848"/>
                    <a:pt x="750" y="8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7" name="Freeform 9">
              <a:extLst>
                <a:ext uri="{FF2B5EF4-FFF2-40B4-BE49-F238E27FC236}">
                  <a16:creationId xmlns:a16="http://schemas.microsoft.com/office/drawing/2014/main" id="{7F1B4E05-1C49-4628-8296-6E4C82BBB070}"/>
                </a:ext>
              </a:extLst>
            </p:cNvPr>
            <p:cNvSpPr>
              <a:spLocks/>
            </p:cNvSpPr>
            <p:nvPr userDrawn="1"/>
          </p:nvSpPr>
          <p:spPr bwMode="auto">
            <a:xfrm>
              <a:off x="679" y="195"/>
              <a:ext cx="68" cy="84"/>
            </a:xfrm>
            <a:custGeom>
              <a:avLst/>
              <a:gdLst>
                <a:gd name="T0" fmla="*/ 668 w 765"/>
                <a:gd name="T1" fmla="*/ 790 h 944"/>
                <a:gd name="T2" fmla="*/ 668 w 765"/>
                <a:gd name="T3" fmla="*/ 790 h 944"/>
                <a:gd name="T4" fmla="*/ 512 w 765"/>
                <a:gd name="T5" fmla="*/ 823 h 944"/>
                <a:gd name="T6" fmla="*/ 281 w 765"/>
                <a:gd name="T7" fmla="*/ 727 h 944"/>
                <a:gd name="T8" fmla="*/ 191 w 765"/>
                <a:gd name="T9" fmla="*/ 478 h 944"/>
                <a:gd name="T10" fmla="*/ 272 w 765"/>
                <a:gd name="T11" fmla="*/ 236 h 944"/>
                <a:gd name="T12" fmla="*/ 354 w 765"/>
                <a:gd name="T13" fmla="*/ 170 h 944"/>
                <a:gd name="T14" fmla="*/ 527 w 765"/>
                <a:gd name="T15" fmla="*/ 126 h 944"/>
                <a:gd name="T16" fmla="*/ 688 w 765"/>
                <a:gd name="T17" fmla="*/ 159 h 944"/>
                <a:gd name="T18" fmla="*/ 762 w 765"/>
                <a:gd name="T19" fmla="*/ 199 h 944"/>
                <a:gd name="T20" fmla="*/ 762 w 765"/>
                <a:gd name="T21" fmla="*/ 31 h 944"/>
                <a:gd name="T22" fmla="*/ 708 w 765"/>
                <a:gd name="T23" fmla="*/ 16 h 944"/>
                <a:gd name="T24" fmla="*/ 550 w 765"/>
                <a:gd name="T25" fmla="*/ 0 h 944"/>
                <a:gd name="T26" fmla="*/ 294 w 765"/>
                <a:gd name="T27" fmla="*/ 48 h 944"/>
                <a:gd name="T28" fmla="*/ 171 w 765"/>
                <a:gd name="T29" fmla="*/ 121 h 944"/>
                <a:gd name="T30" fmla="*/ 0 w 765"/>
                <a:gd name="T31" fmla="*/ 488 h 944"/>
                <a:gd name="T32" fmla="*/ 164 w 765"/>
                <a:gd name="T33" fmla="*/ 840 h 944"/>
                <a:gd name="T34" fmla="*/ 499 w 765"/>
                <a:gd name="T35" fmla="*/ 944 h 944"/>
                <a:gd name="T36" fmla="*/ 751 w 765"/>
                <a:gd name="T37" fmla="*/ 904 h 944"/>
                <a:gd name="T38" fmla="*/ 765 w 765"/>
                <a:gd name="T39" fmla="*/ 899 h 944"/>
                <a:gd name="T40" fmla="*/ 765 w 765"/>
                <a:gd name="T41" fmla="*/ 736 h 944"/>
                <a:gd name="T42" fmla="*/ 724 w 765"/>
                <a:gd name="T43" fmla="*/ 763 h 944"/>
                <a:gd name="T44" fmla="*/ 668 w 765"/>
                <a:gd name="T45" fmla="*/ 79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5" h="944">
                  <a:moveTo>
                    <a:pt x="668" y="790"/>
                  </a:moveTo>
                  <a:lnTo>
                    <a:pt x="668" y="790"/>
                  </a:lnTo>
                  <a:cubicBezTo>
                    <a:pt x="614" y="813"/>
                    <a:pt x="565" y="823"/>
                    <a:pt x="512" y="823"/>
                  </a:cubicBezTo>
                  <a:cubicBezTo>
                    <a:pt x="419" y="823"/>
                    <a:pt x="340" y="790"/>
                    <a:pt x="281" y="727"/>
                  </a:cubicBezTo>
                  <a:cubicBezTo>
                    <a:pt x="222" y="664"/>
                    <a:pt x="191" y="577"/>
                    <a:pt x="191" y="478"/>
                  </a:cubicBezTo>
                  <a:cubicBezTo>
                    <a:pt x="191" y="384"/>
                    <a:pt x="220" y="297"/>
                    <a:pt x="272" y="236"/>
                  </a:cubicBezTo>
                  <a:cubicBezTo>
                    <a:pt x="295" y="210"/>
                    <a:pt x="322" y="187"/>
                    <a:pt x="354" y="170"/>
                  </a:cubicBezTo>
                  <a:cubicBezTo>
                    <a:pt x="404" y="141"/>
                    <a:pt x="463" y="126"/>
                    <a:pt x="527" y="126"/>
                  </a:cubicBezTo>
                  <a:cubicBezTo>
                    <a:pt x="582" y="126"/>
                    <a:pt x="635" y="137"/>
                    <a:pt x="688" y="159"/>
                  </a:cubicBezTo>
                  <a:cubicBezTo>
                    <a:pt x="722" y="172"/>
                    <a:pt x="734" y="179"/>
                    <a:pt x="762" y="199"/>
                  </a:cubicBezTo>
                  <a:lnTo>
                    <a:pt x="762" y="31"/>
                  </a:lnTo>
                  <a:cubicBezTo>
                    <a:pt x="740" y="24"/>
                    <a:pt x="731" y="21"/>
                    <a:pt x="708" y="16"/>
                  </a:cubicBezTo>
                  <a:cubicBezTo>
                    <a:pt x="656" y="5"/>
                    <a:pt x="606" y="0"/>
                    <a:pt x="550" y="0"/>
                  </a:cubicBezTo>
                  <a:cubicBezTo>
                    <a:pt x="453" y="0"/>
                    <a:pt x="370" y="16"/>
                    <a:pt x="294" y="48"/>
                  </a:cubicBezTo>
                  <a:cubicBezTo>
                    <a:pt x="249" y="67"/>
                    <a:pt x="207" y="91"/>
                    <a:pt x="171" y="121"/>
                  </a:cubicBezTo>
                  <a:cubicBezTo>
                    <a:pt x="60" y="210"/>
                    <a:pt x="0" y="339"/>
                    <a:pt x="0" y="488"/>
                  </a:cubicBezTo>
                  <a:cubicBezTo>
                    <a:pt x="0" y="632"/>
                    <a:pt x="58" y="756"/>
                    <a:pt x="164" y="840"/>
                  </a:cubicBezTo>
                  <a:cubicBezTo>
                    <a:pt x="251" y="909"/>
                    <a:pt x="364" y="944"/>
                    <a:pt x="499" y="944"/>
                  </a:cubicBezTo>
                  <a:cubicBezTo>
                    <a:pt x="583" y="944"/>
                    <a:pt x="662" y="931"/>
                    <a:pt x="751" y="904"/>
                  </a:cubicBezTo>
                  <a:cubicBezTo>
                    <a:pt x="754" y="903"/>
                    <a:pt x="759" y="901"/>
                    <a:pt x="765" y="899"/>
                  </a:cubicBezTo>
                  <a:lnTo>
                    <a:pt x="765" y="736"/>
                  </a:lnTo>
                  <a:cubicBezTo>
                    <a:pt x="744" y="750"/>
                    <a:pt x="736" y="755"/>
                    <a:pt x="724" y="763"/>
                  </a:cubicBezTo>
                  <a:cubicBezTo>
                    <a:pt x="706" y="773"/>
                    <a:pt x="688" y="782"/>
                    <a:pt x="668" y="7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8" name="Freeform 10">
              <a:extLst>
                <a:ext uri="{FF2B5EF4-FFF2-40B4-BE49-F238E27FC236}">
                  <a16:creationId xmlns:a16="http://schemas.microsoft.com/office/drawing/2014/main" id="{1E04FE10-677A-40F8-8E43-1902F64A8BB0}"/>
                </a:ext>
              </a:extLst>
            </p:cNvPr>
            <p:cNvSpPr>
              <a:spLocks/>
            </p:cNvSpPr>
            <p:nvPr userDrawn="1"/>
          </p:nvSpPr>
          <p:spPr bwMode="auto">
            <a:xfrm>
              <a:off x="471" y="197"/>
              <a:ext cx="78" cy="83"/>
            </a:xfrm>
            <a:custGeom>
              <a:avLst/>
              <a:gdLst>
                <a:gd name="T0" fmla="*/ 631 w 885"/>
                <a:gd name="T1" fmla="*/ 34 h 927"/>
                <a:gd name="T2" fmla="*/ 631 w 885"/>
                <a:gd name="T3" fmla="*/ 34 h 927"/>
                <a:gd name="T4" fmla="*/ 644 w 885"/>
                <a:gd name="T5" fmla="*/ 65 h 927"/>
                <a:gd name="T6" fmla="*/ 652 w 885"/>
                <a:gd name="T7" fmla="*/ 159 h 927"/>
                <a:gd name="T8" fmla="*/ 652 w 885"/>
                <a:gd name="T9" fmla="*/ 500 h 927"/>
                <a:gd name="T10" fmla="*/ 645 w 885"/>
                <a:gd name="T11" fmla="*/ 652 h 927"/>
                <a:gd name="T12" fmla="*/ 621 w 885"/>
                <a:gd name="T13" fmla="*/ 718 h 927"/>
                <a:gd name="T14" fmla="*/ 511 w 885"/>
                <a:gd name="T15" fmla="*/ 795 h 927"/>
                <a:gd name="T16" fmla="*/ 448 w 885"/>
                <a:gd name="T17" fmla="*/ 802 h 927"/>
                <a:gd name="T18" fmla="*/ 272 w 885"/>
                <a:gd name="T19" fmla="*/ 726 h 927"/>
                <a:gd name="T20" fmla="*/ 240 w 885"/>
                <a:gd name="T21" fmla="*/ 562 h 927"/>
                <a:gd name="T22" fmla="*/ 239 w 885"/>
                <a:gd name="T23" fmla="*/ 488 h 927"/>
                <a:gd name="T24" fmla="*/ 239 w 885"/>
                <a:gd name="T25" fmla="*/ 218 h 927"/>
                <a:gd name="T26" fmla="*/ 241 w 885"/>
                <a:gd name="T27" fmla="*/ 114 h 927"/>
                <a:gd name="T28" fmla="*/ 248 w 885"/>
                <a:gd name="T29" fmla="*/ 73 h 927"/>
                <a:gd name="T30" fmla="*/ 284 w 885"/>
                <a:gd name="T31" fmla="*/ 8 h 927"/>
                <a:gd name="T32" fmla="*/ 291 w 885"/>
                <a:gd name="T33" fmla="*/ 0 h 927"/>
                <a:gd name="T34" fmla="*/ 0 w 885"/>
                <a:gd name="T35" fmla="*/ 0 h 927"/>
                <a:gd name="T36" fmla="*/ 32 w 885"/>
                <a:gd name="T37" fmla="*/ 36 h 927"/>
                <a:gd name="T38" fmla="*/ 45 w 885"/>
                <a:gd name="T39" fmla="*/ 67 h 927"/>
                <a:gd name="T40" fmla="*/ 51 w 885"/>
                <a:gd name="T41" fmla="*/ 109 h 927"/>
                <a:gd name="T42" fmla="*/ 51 w 885"/>
                <a:gd name="T43" fmla="*/ 164 h 927"/>
                <a:gd name="T44" fmla="*/ 52 w 885"/>
                <a:gd name="T45" fmla="*/ 216 h 927"/>
                <a:gd name="T46" fmla="*/ 52 w 885"/>
                <a:gd name="T47" fmla="*/ 473 h 927"/>
                <a:gd name="T48" fmla="*/ 55 w 885"/>
                <a:gd name="T49" fmla="*/ 631 h 927"/>
                <a:gd name="T50" fmla="*/ 118 w 885"/>
                <a:gd name="T51" fmla="*/ 796 h 927"/>
                <a:gd name="T52" fmla="*/ 435 w 885"/>
                <a:gd name="T53" fmla="*/ 927 h 927"/>
                <a:gd name="T54" fmla="*/ 615 w 885"/>
                <a:gd name="T55" fmla="*/ 898 h 927"/>
                <a:gd name="T56" fmla="*/ 748 w 885"/>
                <a:gd name="T57" fmla="*/ 809 h 927"/>
                <a:gd name="T58" fmla="*/ 821 w 885"/>
                <a:gd name="T59" fmla="*/ 635 h 927"/>
                <a:gd name="T60" fmla="*/ 827 w 885"/>
                <a:gd name="T61" fmla="*/ 475 h 927"/>
                <a:gd name="T62" fmla="*/ 827 w 885"/>
                <a:gd name="T63" fmla="*/ 217 h 927"/>
                <a:gd name="T64" fmla="*/ 826 w 885"/>
                <a:gd name="T65" fmla="*/ 165 h 927"/>
                <a:gd name="T66" fmla="*/ 826 w 885"/>
                <a:gd name="T67" fmla="*/ 155 h 927"/>
                <a:gd name="T68" fmla="*/ 834 w 885"/>
                <a:gd name="T69" fmla="*/ 73 h 927"/>
                <a:gd name="T70" fmla="*/ 849 w 885"/>
                <a:gd name="T71" fmla="*/ 37 h 927"/>
                <a:gd name="T72" fmla="*/ 885 w 885"/>
                <a:gd name="T73" fmla="*/ 0 h 927"/>
                <a:gd name="T74" fmla="*/ 599 w 885"/>
                <a:gd name="T75" fmla="*/ 0 h 927"/>
                <a:gd name="T76" fmla="*/ 631 w 885"/>
                <a:gd name="T77" fmla="*/ 34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5" h="927">
                  <a:moveTo>
                    <a:pt x="631" y="34"/>
                  </a:moveTo>
                  <a:lnTo>
                    <a:pt x="631" y="34"/>
                  </a:lnTo>
                  <a:cubicBezTo>
                    <a:pt x="637" y="44"/>
                    <a:pt x="641" y="54"/>
                    <a:pt x="644" y="65"/>
                  </a:cubicBezTo>
                  <a:cubicBezTo>
                    <a:pt x="650" y="87"/>
                    <a:pt x="652" y="108"/>
                    <a:pt x="652" y="159"/>
                  </a:cubicBezTo>
                  <a:lnTo>
                    <a:pt x="652" y="500"/>
                  </a:lnTo>
                  <a:cubicBezTo>
                    <a:pt x="652" y="573"/>
                    <a:pt x="650" y="617"/>
                    <a:pt x="645" y="652"/>
                  </a:cubicBezTo>
                  <a:cubicBezTo>
                    <a:pt x="641" y="676"/>
                    <a:pt x="633" y="698"/>
                    <a:pt x="621" y="718"/>
                  </a:cubicBezTo>
                  <a:cubicBezTo>
                    <a:pt x="600" y="755"/>
                    <a:pt x="559" y="783"/>
                    <a:pt x="511" y="795"/>
                  </a:cubicBezTo>
                  <a:cubicBezTo>
                    <a:pt x="492" y="800"/>
                    <a:pt x="470" y="802"/>
                    <a:pt x="448" y="802"/>
                  </a:cubicBezTo>
                  <a:cubicBezTo>
                    <a:pt x="371" y="802"/>
                    <a:pt x="304" y="773"/>
                    <a:pt x="272" y="726"/>
                  </a:cubicBezTo>
                  <a:cubicBezTo>
                    <a:pt x="248" y="690"/>
                    <a:pt x="241" y="655"/>
                    <a:pt x="240" y="562"/>
                  </a:cubicBezTo>
                  <a:lnTo>
                    <a:pt x="239" y="488"/>
                  </a:lnTo>
                  <a:lnTo>
                    <a:pt x="239" y="218"/>
                  </a:lnTo>
                  <a:cubicBezTo>
                    <a:pt x="239" y="166"/>
                    <a:pt x="239" y="141"/>
                    <a:pt x="241" y="114"/>
                  </a:cubicBezTo>
                  <a:cubicBezTo>
                    <a:pt x="242" y="98"/>
                    <a:pt x="244" y="84"/>
                    <a:pt x="248" y="73"/>
                  </a:cubicBezTo>
                  <a:cubicBezTo>
                    <a:pt x="254" y="52"/>
                    <a:pt x="269" y="25"/>
                    <a:pt x="284" y="8"/>
                  </a:cubicBezTo>
                  <a:cubicBezTo>
                    <a:pt x="286" y="6"/>
                    <a:pt x="288" y="3"/>
                    <a:pt x="291" y="0"/>
                  </a:cubicBezTo>
                  <a:lnTo>
                    <a:pt x="0" y="0"/>
                  </a:lnTo>
                  <a:cubicBezTo>
                    <a:pt x="18" y="15"/>
                    <a:pt x="23" y="21"/>
                    <a:pt x="32" y="36"/>
                  </a:cubicBezTo>
                  <a:cubicBezTo>
                    <a:pt x="38" y="46"/>
                    <a:pt x="42" y="56"/>
                    <a:pt x="45" y="67"/>
                  </a:cubicBezTo>
                  <a:cubicBezTo>
                    <a:pt x="48" y="81"/>
                    <a:pt x="51" y="95"/>
                    <a:pt x="51" y="109"/>
                  </a:cubicBezTo>
                  <a:cubicBezTo>
                    <a:pt x="51" y="117"/>
                    <a:pt x="51" y="136"/>
                    <a:pt x="51" y="164"/>
                  </a:cubicBezTo>
                  <a:lnTo>
                    <a:pt x="52" y="216"/>
                  </a:lnTo>
                  <a:lnTo>
                    <a:pt x="52" y="473"/>
                  </a:lnTo>
                  <a:cubicBezTo>
                    <a:pt x="52" y="569"/>
                    <a:pt x="52" y="593"/>
                    <a:pt x="55" y="631"/>
                  </a:cubicBezTo>
                  <a:cubicBezTo>
                    <a:pt x="61" y="697"/>
                    <a:pt x="80" y="749"/>
                    <a:pt x="118" y="796"/>
                  </a:cubicBezTo>
                  <a:cubicBezTo>
                    <a:pt x="186" y="882"/>
                    <a:pt x="295" y="927"/>
                    <a:pt x="435" y="927"/>
                  </a:cubicBezTo>
                  <a:cubicBezTo>
                    <a:pt x="501" y="927"/>
                    <a:pt x="566" y="916"/>
                    <a:pt x="615" y="898"/>
                  </a:cubicBezTo>
                  <a:cubicBezTo>
                    <a:pt x="667" y="879"/>
                    <a:pt x="714" y="847"/>
                    <a:pt x="748" y="809"/>
                  </a:cubicBezTo>
                  <a:cubicBezTo>
                    <a:pt x="790" y="763"/>
                    <a:pt x="814" y="705"/>
                    <a:pt x="821" y="635"/>
                  </a:cubicBezTo>
                  <a:cubicBezTo>
                    <a:pt x="825" y="594"/>
                    <a:pt x="827" y="545"/>
                    <a:pt x="827" y="475"/>
                  </a:cubicBezTo>
                  <a:lnTo>
                    <a:pt x="827" y="217"/>
                  </a:lnTo>
                  <a:lnTo>
                    <a:pt x="826" y="165"/>
                  </a:lnTo>
                  <a:lnTo>
                    <a:pt x="826" y="155"/>
                  </a:lnTo>
                  <a:cubicBezTo>
                    <a:pt x="826" y="117"/>
                    <a:pt x="828" y="94"/>
                    <a:pt x="834" y="73"/>
                  </a:cubicBezTo>
                  <a:cubicBezTo>
                    <a:pt x="837" y="61"/>
                    <a:pt x="842" y="48"/>
                    <a:pt x="849" y="37"/>
                  </a:cubicBezTo>
                  <a:cubicBezTo>
                    <a:pt x="859" y="22"/>
                    <a:pt x="866" y="15"/>
                    <a:pt x="885" y="0"/>
                  </a:cubicBezTo>
                  <a:lnTo>
                    <a:pt x="599" y="0"/>
                  </a:lnTo>
                  <a:cubicBezTo>
                    <a:pt x="616" y="13"/>
                    <a:pt x="622" y="20"/>
                    <a:pt x="631"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9" name="Freeform 11">
              <a:extLst>
                <a:ext uri="{FF2B5EF4-FFF2-40B4-BE49-F238E27FC236}">
                  <a16:creationId xmlns:a16="http://schemas.microsoft.com/office/drawing/2014/main" id="{41247AD3-2593-4B15-AE2E-32BD9D241310}"/>
                </a:ext>
              </a:extLst>
            </p:cNvPr>
            <p:cNvSpPr>
              <a:spLocks/>
            </p:cNvSpPr>
            <p:nvPr userDrawn="1"/>
          </p:nvSpPr>
          <p:spPr bwMode="auto">
            <a:xfrm>
              <a:off x="381" y="197"/>
              <a:ext cx="77" cy="80"/>
            </a:xfrm>
            <a:custGeom>
              <a:avLst/>
              <a:gdLst>
                <a:gd name="T0" fmla="*/ 654 w 865"/>
                <a:gd name="T1" fmla="*/ 771 h 897"/>
                <a:gd name="T2" fmla="*/ 654 w 865"/>
                <a:gd name="T3" fmla="*/ 771 h 897"/>
                <a:gd name="T4" fmla="*/ 513 w 865"/>
                <a:gd name="T5" fmla="*/ 783 h 897"/>
                <a:gd name="T6" fmla="*/ 442 w 865"/>
                <a:gd name="T7" fmla="*/ 784 h 897"/>
                <a:gd name="T8" fmla="*/ 304 w 865"/>
                <a:gd name="T9" fmla="*/ 784 h 897"/>
                <a:gd name="T10" fmla="*/ 848 w 865"/>
                <a:gd name="T11" fmla="*/ 0 h 897"/>
                <a:gd name="T12" fmla="*/ 143 w 865"/>
                <a:gd name="T13" fmla="*/ 0 h 897"/>
                <a:gd name="T14" fmla="*/ 56 w 865"/>
                <a:gd name="T15" fmla="*/ 191 h 897"/>
                <a:gd name="T16" fmla="*/ 121 w 865"/>
                <a:gd name="T17" fmla="*/ 160 h 897"/>
                <a:gd name="T18" fmla="*/ 248 w 865"/>
                <a:gd name="T19" fmla="*/ 124 h 897"/>
                <a:gd name="T20" fmla="*/ 375 w 865"/>
                <a:gd name="T21" fmla="*/ 113 h 897"/>
                <a:gd name="T22" fmla="*/ 444 w 865"/>
                <a:gd name="T23" fmla="*/ 112 h 897"/>
                <a:gd name="T24" fmla="*/ 549 w 865"/>
                <a:gd name="T25" fmla="*/ 112 h 897"/>
                <a:gd name="T26" fmla="*/ 0 w 865"/>
                <a:gd name="T27" fmla="*/ 897 h 897"/>
                <a:gd name="T28" fmla="*/ 776 w 865"/>
                <a:gd name="T29" fmla="*/ 897 h 897"/>
                <a:gd name="T30" fmla="*/ 865 w 865"/>
                <a:gd name="T31" fmla="*/ 692 h 897"/>
                <a:gd name="T32" fmla="*/ 800 w 865"/>
                <a:gd name="T33" fmla="*/ 727 h 897"/>
                <a:gd name="T34" fmla="*/ 654 w 865"/>
                <a:gd name="T35" fmla="*/ 771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 h="897">
                  <a:moveTo>
                    <a:pt x="654" y="771"/>
                  </a:moveTo>
                  <a:lnTo>
                    <a:pt x="654" y="771"/>
                  </a:lnTo>
                  <a:cubicBezTo>
                    <a:pt x="614" y="778"/>
                    <a:pt x="569" y="782"/>
                    <a:pt x="513" y="783"/>
                  </a:cubicBezTo>
                  <a:cubicBezTo>
                    <a:pt x="495" y="784"/>
                    <a:pt x="471" y="784"/>
                    <a:pt x="442" y="784"/>
                  </a:cubicBezTo>
                  <a:lnTo>
                    <a:pt x="304" y="784"/>
                  </a:lnTo>
                  <a:lnTo>
                    <a:pt x="848" y="0"/>
                  </a:lnTo>
                  <a:lnTo>
                    <a:pt x="143" y="0"/>
                  </a:lnTo>
                  <a:lnTo>
                    <a:pt x="56" y="191"/>
                  </a:lnTo>
                  <a:cubicBezTo>
                    <a:pt x="85" y="176"/>
                    <a:pt x="96" y="170"/>
                    <a:pt x="121" y="160"/>
                  </a:cubicBezTo>
                  <a:cubicBezTo>
                    <a:pt x="162" y="144"/>
                    <a:pt x="206" y="132"/>
                    <a:pt x="248" y="124"/>
                  </a:cubicBezTo>
                  <a:cubicBezTo>
                    <a:pt x="285" y="118"/>
                    <a:pt x="319" y="115"/>
                    <a:pt x="375" y="113"/>
                  </a:cubicBezTo>
                  <a:cubicBezTo>
                    <a:pt x="400" y="112"/>
                    <a:pt x="423" y="112"/>
                    <a:pt x="444" y="112"/>
                  </a:cubicBezTo>
                  <a:lnTo>
                    <a:pt x="549" y="112"/>
                  </a:lnTo>
                  <a:lnTo>
                    <a:pt x="0" y="897"/>
                  </a:lnTo>
                  <a:lnTo>
                    <a:pt x="776" y="897"/>
                  </a:lnTo>
                  <a:lnTo>
                    <a:pt x="865" y="692"/>
                  </a:lnTo>
                  <a:cubicBezTo>
                    <a:pt x="834" y="710"/>
                    <a:pt x="823" y="716"/>
                    <a:pt x="800" y="727"/>
                  </a:cubicBezTo>
                  <a:cubicBezTo>
                    <a:pt x="754" y="747"/>
                    <a:pt x="705" y="762"/>
                    <a:pt x="654" y="7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0" name="Freeform 12">
              <a:extLst>
                <a:ext uri="{FF2B5EF4-FFF2-40B4-BE49-F238E27FC236}">
                  <a16:creationId xmlns:a16="http://schemas.microsoft.com/office/drawing/2014/main" id="{572ADC10-CD08-4D6A-B222-9D3819CDFDBB}"/>
                </a:ext>
              </a:extLst>
            </p:cNvPr>
            <p:cNvSpPr>
              <a:spLocks noEditPoints="1"/>
            </p:cNvSpPr>
            <p:nvPr userDrawn="1"/>
          </p:nvSpPr>
          <p:spPr bwMode="auto">
            <a:xfrm>
              <a:off x="850" y="167"/>
              <a:ext cx="18" cy="18"/>
            </a:xfrm>
            <a:custGeom>
              <a:avLst/>
              <a:gdLst>
                <a:gd name="T0" fmla="*/ 102 w 203"/>
                <a:gd name="T1" fmla="*/ 189 h 203"/>
                <a:gd name="T2" fmla="*/ 102 w 203"/>
                <a:gd name="T3" fmla="*/ 189 h 203"/>
                <a:gd name="T4" fmla="*/ 17 w 203"/>
                <a:gd name="T5" fmla="*/ 102 h 203"/>
                <a:gd name="T6" fmla="*/ 102 w 203"/>
                <a:gd name="T7" fmla="*/ 15 h 203"/>
                <a:gd name="T8" fmla="*/ 187 w 203"/>
                <a:gd name="T9" fmla="*/ 102 h 203"/>
                <a:gd name="T10" fmla="*/ 102 w 203"/>
                <a:gd name="T11" fmla="*/ 189 h 203"/>
                <a:gd name="T12" fmla="*/ 102 w 203"/>
                <a:gd name="T13" fmla="*/ 189 h 203"/>
                <a:gd name="T14" fmla="*/ 102 w 203"/>
                <a:gd name="T15" fmla="*/ 0 h 203"/>
                <a:gd name="T16" fmla="*/ 102 w 203"/>
                <a:gd name="T17" fmla="*/ 0 h 203"/>
                <a:gd name="T18" fmla="*/ 0 w 203"/>
                <a:gd name="T19" fmla="*/ 102 h 203"/>
                <a:gd name="T20" fmla="*/ 102 w 203"/>
                <a:gd name="T21" fmla="*/ 203 h 203"/>
                <a:gd name="T22" fmla="*/ 203 w 203"/>
                <a:gd name="T23" fmla="*/ 102 h 203"/>
                <a:gd name="T24" fmla="*/ 102 w 203"/>
                <a:gd name="T2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203">
                  <a:moveTo>
                    <a:pt x="102" y="189"/>
                  </a:moveTo>
                  <a:lnTo>
                    <a:pt x="102" y="189"/>
                  </a:lnTo>
                  <a:cubicBezTo>
                    <a:pt x="54" y="189"/>
                    <a:pt x="17" y="154"/>
                    <a:pt x="17" y="102"/>
                  </a:cubicBezTo>
                  <a:cubicBezTo>
                    <a:pt x="17" y="50"/>
                    <a:pt x="54" y="15"/>
                    <a:pt x="102" y="15"/>
                  </a:cubicBezTo>
                  <a:cubicBezTo>
                    <a:pt x="150" y="15"/>
                    <a:pt x="187" y="50"/>
                    <a:pt x="187" y="102"/>
                  </a:cubicBezTo>
                  <a:cubicBezTo>
                    <a:pt x="187" y="154"/>
                    <a:pt x="150" y="189"/>
                    <a:pt x="102" y="189"/>
                  </a:cubicBezTo>
                  <a:lnTo>
                    <a:pt x="102" y="189"/>
                  </a:lnTo>
                  <a:close/>
                  <a:moveTo>
                    <a:pt x="102" y="0"/>
                  </a:moveTo>
                  <a:lnTo>
                    <a:pt x="102" y="0"/>
                  </a:lnTo>
                  <a:cubicBezTo>
                    <a:pt x="46" y="0"/>
                    <a:pt x="0" y="42"/>
                    <a:pt x="0" y="102"/>
                  </a:cubicBezTo>
                  <a:cubicBezTo>
                    <a:pt x="0" y="162"/>
                    <a:pt x="46" y="203"/>
                    <a:pt x="102" y="203"/>
                  </a:cubicBezTo>
                  <a:cubicBezTo>
                    <a:pt x="158" y="203"/>
                    <a:pt x="203" y="162"/>
                    <a:pt x="203" y="102"/>
                  </a:cubicBezTo>
                  <a:cubicBezTo>
                    <a:pt x="203" y="42"/>
                    <a:pt x="158" y="0"/>
                    <a:pt x="10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1" name="Freeform 13">
              <a:extLst>
                <a:ext uri="{FF2B5EF4-FFF2-40B4-BE49-F238E27FC236}">
                  <a16:creationId xmlns:a16="http://schemas.microsoft.com/office/drawing/2014/main" id="{398F446D-EC4D-4BFB-87DA-8DE6584F8CF0}"/>
                </a:ext>
              </a:extLst>
            </p:cNvPr>
            <p:cNvSpPr>
              <a:spLocks noEditPoints="1"/>
            </p:cNvSpPr>
            <p:nvPr userDrawn="1"/>
          </p:nvSpPr>
          <p:spPr bwMode="auto">
            <a:xfrm>
              <a:off x="856" y="171"/>
              <a:ext cx="7" cy="9"/>
            </a:xfrm>
            <a:custGeom>
              <a:avLst/>
              <a:gdLst>
                <a:gd name="T0" fmla="*/ 40 w 87"/>
                <a:gd name="T1" fmla="*/ 50 h 107"/>
                <a:gd name="T2" fmla="*/ 40 w 87"/>
                <a:gd name="T3" fmla="*/ 50 h 107"/>
                <a:gd name="T4" fmla="*/ 15 w 87"/>
                <a:gd name="T5" fmla="*/ 50 h 107"/>
                <a:gd name="T6" fmla="*/ 15 w 87"/>
                <a:gd name="T7" fmla="*/ 16 h 107"/>
                <a:gd name="T8" fmla="*/ 38 w 87"/>
                <a:gd name="T9" fmla="*/ 16 h 107"/>
                <a:gd name="T10" fmla="*/ 66 w 87"/>
                <a:gd name="T11" fmla="*/ 33 h 107"/>
                <a:gd name="T12" fmla="*/ 40 w 87"/>
                <a:gd name="T13" fmla="*/ 50 h 107"/>
                <a:gd name="T14" fmla="*/ 40 w 87"/>
                <a:gd name="T15" fmla="*/ 50 h 107"/>
                <a:gd name="T16" fmla="*/ 83 w 87"/>
                <a:gd name="T17" fmla="*/ 33 h 107"/>
                <a:gd name="T18" fmla="*/ 83 w 87"/>
                <a:gd name="T19" fmla="*/ 33 h 107"/>
                <a:gd name="T20" fmla="*/ 32 w 87"/>
                <a:gd name="T21" fmla="*/ 0 h 107"/>
                <a:gd name="T22" fmla="*/ 0 w 87"/>
                <a:gd name="T23" fmla="*/ 0 h 107"/>
                <a:gd name="T24" fmla="*/ 0 w 87"/>
                <a:gd name="T25" fmla="*/ 107 h 107"/>
                <a:gd name="T26" fmla="*/ 15 w 87"/>
                <a:gd name="T27" fmla="*/ 107 h 107"/>
                <a:gd name="T28" fmla="*/ 15 w 87"/>
                <a:gd name="T29" fmla="*/ 66 h 107"/>
                <a:gd name="T30" fmla="*/ 44 w 87"/>
                <a:gd name="T31" fmla="*/ 66 h 107"/>
                <a:gd name="T32" fmla="*/ 46 w 87"/>
                <a:gd name="T33" fmla="*/ 65 h 107"/>
                <a:gd name="T34" fmla="*/ 69 w 87"/>
                <a:gd name="T35" fmla="*/ 107 h 107"/>
                <a:gd name="T36" fmla="*/ 87 w 87"/>
                <a:gd name="T37" fmla="*/ 107 h 107"/>
                <a:gd name="T38" fmla="*/ 62 w 87"/>
                <a:gd name="T39" fmla="*/ 62 h 107"/>
                <a:gd name="T40" fmla="*/ 83 w 87"/>
                <a:gd name="T41"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107">
                  <a:moveTo>
                    <a:pt x="40" y="50"/>
                  </a:moveTo>
                  <a:lnTo>
                    <a:pt x="40" y="50"/>
                  </a:lnTo>
                  <a:lnTo>
                    <a:pt x="15" y="50"/>
                  </a:lnTo>
                  <a:lnTo>
                    <a:pt x="15" y="16"/>
                  </a:lnTo>
                  <a:lnTo>
                    <a:pt x="38" y="16"/>
                  </a:lnTo>
                  <a:cubicBezTo>
                    <a:pt x="54" y="16"/>
                    <a:pt x="66" y="19"/>
                    <a:pt x="66" y="33"/>
                  </a:cubicBezTo>
                  <a:cubicBezTo>
                    <a:pt x="66" y="45"/>
                    <a:pt x="58" y="50"/>
                    <a:pt x="40" y="50"/>
                  </a:cubicBezTo>
                  <a:lnTo>
                    <a:pt x="40" y="50"/>
                  </a:lnTo>
                  <a:close/>
                  <a:moveTo>
                    <a:pt x="83" y="33"/>
                  </a:moveTo>
                  <a:lnTo>
                    <a:pt x="83" y="33"/>
                  </a:lnTo>
                  <a:cubicBezTo>
                    <a:pt x="83" y="5"/>
                    <a:pt x="64" y="0"/>
                    <a:pt x="32" y="0"/>
                  </a:cubicBezTo>
                  <a:lnTo>
                    <a:pt x="0" y="0"/>
                  </a:lnTo>
                  <a:lnTo>
                    <a:pt x="0" y="107"/>
                  </a:lnTo>
                  <a:lnTo>
                    <a:pt x="15" y="107"/>
                  </a:lnTo>
                  <a:lnTo>
                    <a:pt x="15" y="66"/>
                  </a:lnTo>
                  <a:lnTo>
                    <a:pt x="44" y="66"/>
                  </a:lnTo>
                  <a:cubicBezTo>
                    <a:pt x="45" y="66"/>
                    <a:pt x="46" y="66"/>
                    <a:pt x="46" y="65"/>
                  </a:cubicBezTo>
                  <a:lnTo>
                    <a:pt x="69" y="107"/>
                  </a:lnTo>
                  <a:lnTo>
                    <a:pt x="87" y="107"/>
                  </a:lnTo>
                  <a:lnTo>
                    <a:pt x="62" y="62"/>
                  </a:lnTo>
                  <a:cubicBezTo>
                    <a:pt x="76" y="56"/>
                    <a:pt x="83" y="45"/>
                    <a:pt x="83" y="3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grpSp>
      <p:sp>
        <p:nvSpPr>
          <p:cNvPr id="32" name="Slide Number Placeholder 5">
            <a:extLst>
              <a:ext uri="{FF2B5EF4-FFF2-40B4-BE49-F238E27FC236}">
                <a16:creationId xmlns:a16="http://schemas.microsoft.com/office/drawing/2014/main" id="{3A975D44-BBDE-415E-AD10-4B5D27EC1F20}"/>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D7853777-3467-41CD-B494-D2A35BD43D1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207249796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text box, Safe Space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250824" y="1206178"/>
            <a:ext cx="5573967"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20" name="Title 1">
            <a:extLst>
              <a:ext uri="{FF2B5EF4-FFF2-40B4-BE49-F238E27FC236}">
                <a16:creationId xmlns:a16="http://schemas.microsoft.com/office/drawing/2014/main" id="{C29EECA6-DA60-0545-94DA-DA2F8B81238E}"/>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nl-NL"/>
              <a:t>Klik om stijl te bewerken</a:t>
            </a:r>
            <a:endParaRPr lang="en-US"/>
          </a:p>
        </p:txBody>
      </p:sp>
      <p:sp>
        <p:nvSpPr>
          <p:cNvPr id="21" name="Subtitle 2">
            <a:extLst>
              <a:ext uri="{FF2B5EF4-FFF2-40B4-BE49-F238E27FC236}">
                <a16:creationId xmlns:a16="http://schemas.microsoft.com/office/drawing/2014/main" id="{78EE7002-C39A-5A48-B25E-20539A4FFD23}"/>
              </a:ext>
            </a:extLst>
          </p:cNvPr>
          <p:cNvSpPr>
            <a:spLocks noGrp="1"/>
          </p:cNvSpPr>
          <p:nvPr>
            <p:ph type="subTitle" idx="14"/>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nl-NL"/>
              <a:t>Klikken om de ondertitelstijl van het model te bewerken</a:t>
            </a:r>
            <a:endParaRPr lang="en-GB" noProof="0"/>
          </a:p>
        </p:txBody>
      </p:sp>
      <p:grpSp>
        <p:nvGrpSpPr>
          <p:cNvPr id="19" name="Group 4">
            <a:extLst>
              <a:ext uri="{FF2B5EF4-FFF2-40B4-BE49-F238E27FC236}">
                <a16:creationId xmlns:a16="http://schemas.microsoft.com/office/drawing/2014/main" id="{7F57E830-3329-4063-98C7-AA1FC1445B73}"/>
              </a:ext>
            </a:extLst>
          </p:cNvPr>
          <p:cNvGrpSpPr>
            <a:grpSpLocks noChangeAspect="1"/>
          </p:cNvGrpSpPr>
          <p:nvPr userDrawn="1"/>
        </p:nvGrpSpPr>
        <p:grpSpPr bwMode="auto">
          <a:xfrm>
            <a:off x="10178596" y="158751"/>
            <a:ext cx="1773767" cy="683683"/>
            <a:chOff x="79" y="75"/>
            <a:chExt cx="838" cy="323"/>
          </a:xfrm>
          <a:solidFill>
            <a:schemeClr val="accent1"/>
          </a:solidFill>
        </p:grpSpPr>
        <p:sp>
          <p:nvSpPr>
            <p:cNvPr id="22" name="AutoShape 3">
              <a:extLst>
                <a:ext uri="{FF2B5EF4-FFF2-40B4-BE49-F238E27FC236}">
                  <a16:creationId xmlns:a16="http://schemas.microsoft.com/office/drawing/2014/main" id="{688840B2-0A92-4968-8A8C-8571322121EC}"/>
                </a:ext>
              </a:extLst>
            </p:cNvPr>
            <p:cNvSpPr>
              <a:spLocks noChangeAspect="1" noChangeArrowheads="1" noTextEdit="1"/>
            </p:cNvSpPr>
            <p:nvPr userDrawn="1"/>
          </p:nvSpPr>
          <p:spPr bwMode="auto">
            <a:xfrm>
              <a:off x="79" y="75"/>
              <a:ext cx="838" cy="32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3" name="Freeform 5">
              <a:extLst>
                <a:ext uri="{FF2B5EF4-FFF2-40B4-BE49-F238E27FC236}">
                  <a16:creationId xmlns:a16="http://schemas.microsoft.com/office/drawing/2014/main" id="{41BDBAC3-497E-41B0-8987-40DE00FB5A70}"/>
                </a:ext>
              </a:extLst>
            </p:cNvPr>
            <p:cNvSpPr>
              <a:spLocks/>
            </p:cNvSpPr>
            <p:nvPr userDrawn="1"/>
          </p:nvSpPr>
          <p:spPr bwMode="auto">
            <a:xfrm>
              <a:off x="159" y="155"/>
              <a:ext cx="163" cy="164"/>
            </a:xfrm>
            <a:custGeom>
              <a:avLst/>
              <a:gdLst>
                <a:gd name="T0" fmla="*/ 920 w 1841"/>
                <a:gd name="T1" fmla="*/ 0 h 1842"/>
                <a:gd name="T2" fmla="*/ 920 w 1841"/>
                <a:gd name="T3" fmla="*/ 0 h 1842"/>
                <a:gd name="T4" fmla="*/ 0 w 1841"/>
                <a:gd name="T5" fmla="*/ 921 h 1842"/>
                <a:gd name="T6" fmla="*/ 0 w 1841"/>
                <a:gd name="T7" fmla="*/ 921 h 1842"/>
                <a:gd name="T8" fmla="*/ 188 w 1841"/>
                <a:gd name="T9" fmla="*/ 1479 h 1842"/>
                <a:gd name="T10" fmla="*/ 954 w 1841"/>
                <a:gd name="T11" fmla="*/ 473 h 1842"/>
                <a:gd name="T12" fmla="*/ 871 w 1841"/>
                <a:gd name="T13" fmla="*/ 474 h 1842"/>
                <a:gd name="T14" fmla="*/ 790 w 1841"/>
                <a:gd name="T15" fmla="*/ 473 h 1842"/>
                <a:gd name="T16" fmla="*/ 561 w 1841"/>
                <a:gd name="T17" fmla="*/ 491 h 1842"/>
                <a:gd name="T18" fmla="*/ 467 w 1841"/>
                <a:gd name="T19" fmla="*/ 530 h 1842"/>
                <a:gd name="T20" fmla="*/ 374 w 1841"/>
                <a:gd name="T21" fmla="*/ 641 h 1842"/>
                <a:gd name="T22" fmla="*/ 361 w 1841"/>
                <a:gd name="T23" fmla="*/ 665 h 1842"/>
                <a:gd name="T24" fmla="*/ 316 w 1841"/>
                <a:gd name="T25" fmla="*/ 655 h 1842"/>
                <a:gd name="T26" fmla="*/ 392 w 1841"/>
                <a:gd name="T27" fmla="*/ 366 h 1842"/>
                <a:gd name="T28" fmla="*/ 1350 w 1841"/>
                <a:gd name="T29" fmla="*/ 366 h 1842"/>
                <a:gd name="T30" fmla="*/ 588 w 1841"/>
                <a:gd name="T31" fmla="*/ 1385 h 1842"/>
                <a:gd name="T32" fmla="*/ 698 w 1841"/>
                <a:gd name="T33" fmla="*/ 1379 h 1842"/>
                <a:gd name="T34" fmla="*/ 839 w 1841"/>
                <a:gd name="T35" fmla="*/ 1385 h 1842"/>
                <a:gd name="T36" fmla="*/ 974 w 1841"/>
                <a:gd name="T37" fmla="*/ 1393 h 1842"/>
                <a:gd name="T38" fmla="*/ 1095 w 1841"/>
                <a:gd name="T39" fmla="*/ 1397 h 1842"/>
                <a:gd name="T40" fmla="*/ 1255 w 1841"/>
                <a:gd name="T41" fmla="*/ 1378 h 1842"/>
                <a:gd name="T42" fmla="*/ 1354 w 1841"/>
                <a:gd name="T43" fmla="*/ 1331 h 1842"/>
                <a:gd name="T44" fmla="*/ 1491 w 1841"/>
                <a:gd name="T45" fmla="*/ 1175 h 1842"/>
                <a:gd name="T46" fmla="*/ 1504 w 1841"/>
                <a:gd name="T47" fmla="*/ 1147 h 1842"/>
                <a:gd name="T48" fmla="*/ 1545 w 1841"/>
                <a:gd name="T49" fmla="*/ 1158 h 1842"/>
                <a:gd name="T50" fmla="*/ 1505 w 1841"/>
                <a:gd name="T51" fmla="*/ 1273 h 1842"/>
                <a:gd name="T52" fmla="*/ 1354 w 1841"/>
                <a:gd name="T53" fmla="*/ 1472 h 1842"/>
                <a:gd name="T54" fmla="*/ 1131 w 1841"/>
                <a:gd name="T55" fmla="*/ 1546 h 1842"/>
                <a:gd name="T56" fmla="*/ 1118 w 1841"/>
                <a:gd name="T57" fmla="*/ 1546 h 1842"/>
                <a:gd name="T58" fmla="*/ 854 w 1841"/>
                <a:gd name="T59" fmla="*/ 1518 h 1842"/>
                <a:gd name="T60" fmla="*/ 544 w 1841"/>
                <a:gd name="T61" fmla="*/ 1486 h 1842"/>
                <a:gd name="T62" fmla="*/ 394 w 1841"/>
                <a:gd name="T63" fmla="*/ 1498 h 1842"/>
                <a:gd name="T64" fmla="*/ 242 w 1841"/>
                <a:gd name="T65" fmla="*/ 1543 h 1842"/>
                <a:gd name="T66" fmla="*/ 920 w 1841"/>
                <a:gd name="T67" fmla="*/ 1842 h 1842"/>
                <a:gd name="T68" fmla="*/ 1841 w 1841"/>
                <a:gd name="T69" fmla="*/ 921 h 1842"/>
                <a:gd name="T70" fmla="*/ 920 w 1841"/>
                <a:gd name="T71" fmla="*/ 0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41" h="1842">
                  <a:moveTo>
                    <a:pt x="920" y="0"/>
                  </a:moveTo>
                  <a:lnTo>
                    <a:pt x="920" y="0"/>
                  </a:lnTo>
                  <a:cubicBezTo>
                    <a:pt x="412" y="0"/>
                    <a:pt x="0" y="412"/>
                    <a:pt x="0" y="921"/>
                  </a:cubicBezTo>
                  <a:lnTo>
                    <a:pt x="0" y="921"/>
                  </a:lnTo>
                  <a:cubicBezTo>
                    <a:pt x="0" y="1131"/>
                    <a:pt x="70" y="1325"/>
                    <a:pt x="188" y="1479"/>
                  </a:cubicBezTo>
                  <a:lnTo>
                    <a:pt x="954" y="473"/>
                  </a:lnTo>
                  <a:lnTo>
                    <a:pt x="871" y="474"/>
                  </a:lnTo>
                  <a:lnTo>
                    <a:pt x="790" y="473"/>
                  </a:lnTo>
                  <a:cubicBezTo>
                    <a:pt x="702" y="473"/>
                    <a:pt x="620" y="480"/>
                    <a:pt x="561" y="491"/>
                  </a:cubicBezTo>
                  <a:cubicBezTo>
                    <a:pt x="525" y="498"/>
                    <a:pt x="493" y="511"/>
                    <a:pt x="467" y="530"/>
                  </a:cubicBezTo>
                  <a:cubicBezTo>
                    <a:pt x="437" y="551"/>
                    <a:pt x="399" y="596"/>
                    <a:pt x="374" y="641"/>
                  </a:cubicBezTo>
                  <a:cubicBezTo>
                    <a:pt x="371" y="646"/>
                    <a:pt x="367" y="654"/>
                    <a:pt x="361" y="665"/>
                  </a:cubicBezTo>
                  <a:lnTo>
                    <a:pt x="316" y="655"/>
                  </a:lnTo>
                  <a:lnTo>
                    <a:pt x="392" y="366"/>
                  </a:lnTo>
                  <a:lnTo>
                    <a:pt x="1350" y="366"/>
                  </a:lnTo>
                  <a:lnTo>
                    <a:pt x="588" y="1385"/>
                  </a:lnTo>
                  <a:cubicBezTo>
                    <a:pt x="638" y="1380"/>
                    <a:pt x="658" y="1379"/>
                    <a:pt x="698" y="1379"/>
                  </a:cubicBezTo>
                  <a:cubicBezTo>
                    <a:pt x="729" y="1379"/>
                    <a:pt x="776" y="1381"/>
                    <a:pt x="839" y="1385"/>
                  </a:cubicBezTo>
                  <a:lnTo>
                    <a:pt x="974" y="1393"/>
                  </a:lnTo>
                  <a:cubicBezTo>
                    <a:pt x="1023" y="1396"/>
                    <a:pt x="1064" y="1397"/>
                    <a:pt x="1095" y="1397"/>
                  </a:cubicBezTo>
                  <a:cubicBezTo>
                    <a:pt x="1165" y="1397"/>
                    <a:pt x="1210" y="1392"/>
                    <a:pt x="1255" y="1378"/>
                  </a:cubicBezTo>
                  <a:cubicBezTo>
                    <a:pt x="1290" y="1367"/>
                    <a:pt x="1324" y="1351"/>
                    <a:pt x="1354" y="1331"/>
                  </a:cubicBezTo>
                  <a:cubicBezTo>
                    <a:pt x="1408" y="1293"/>
                    <a:pt x="1460" y="1234"/>
                    <a:pt x="1491" y="1175"/>
                  </a:cubicBezTo>
                  <a:cubicBezTo>
                    <a:pt x="1494" y="1169"/>
                    <a:pt x="1499" y="1160"/>
                    <a:pt x="1504" y="1147"/>
                  </a:cubicBezTo>
                  <a:lnTo>
                    <a:pt x="1545" y="1158"/>
                  </a:lnTo>
                  <a:cubicBezTo>
                    <a:pt x="1532" y="1208"/>
                    <a:pt x="1525" y="1228"/>
                    <a:pt x="1505" y="1273"/>
                  </a:cubicBezTo>
                  <a:cubicBezTo>
                    <a:pt x="1464" y="1364"/>
                    <a:pt x="1417" y="1425"/>
                    <a:pt x="1354" y="1472"/>
                  </a:cubicBezTo>
                  <a:cubicBezTo>
                    <a:pt x="1289" y="1521"/>
                    <a:pt x="1216" y="1544"/>
                    <a:pt x="1131" y="1546"/>
                  </a:cubicBezTo>
                  <a:lnTo>
                    <a:pt x="1118" y="1546"/>
                  </a:lnTo>
                  <a:cubicBezTo>
                    <a:pt x="1055" y="1546"/>
                    <a:pt x="1006" y="1541"/>
                    <a:pt x="854" y="1518"/>
                  </a:cubicBezTo>
                  <a:cubicBezTo>
                    <a:pt x="700" y="1494"/>
                    <a:pt x="621" y="1486"/>
                    <a:pt x="544" y="1486"/>
                  </a:cubicBezTo>
                  <a:cubicBezTo>
                    <a:pt x="492" y="1486"/>
                    <a:pt x="444" y="1490"/>
                    <a:pt x="394" y="1498"/>
                  </a:cubicBezTo>
                  <a:cubicBezTo>
                    <a:pt x="328" y="1508"/>
                    <a:pt x="302" y="1516"/>
                    <a:pt x="242" y="1543"/>
                  </a:cubicBezTo>
                  <a:cubicBezTo>
                    <a:pt x="410" y="1727"/>
                    <a:pt x="652" y="1842"/>
                    <a:pt x="920" y="1842"/>
                  </a:cubicBezTo>
                  <a:cubicBezTo>
                    <a:pt x="1429" y="1842"/>
                    <a:pt x="1841" y="1430"/>
                    <a:pt x="1841" y="921"/>
                  </a:cubicBezTo>
                  <a:cubicBezTo>
                    <a:pt x="1841" y="412"/>
                    <a:pt x="1429" y="0"/>
                    <a:pt x="9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4" name="Freeform 6">
              <a:extLst>
                <a:ext uri="{FF2B5EF4-FFF2-40B4-BE49-F238E27FC236}">
                  <a16:creationId xmlns:a16="http://schemas.microsoft.com/office/drawing/2014/main" id="{BEE17792-2541-41AB-A3A4-1488AC914260}"/>
                </a:ext>
              </a:extLst>
            </p:cNvPr>
            <p:cNvSpPr>
              <a:spLocks/>
            </p:cNvSpPr>
            <p:nvPr userDrawn="1"/>
          </p:nvSpPr>
          <p:spPr bwMode="auto">
            <a:xfrm>
              <a:off x="642" y="197"/>
              <a:ext cx="25" cy="80"/>
            </a:xfrm>
            <a:custGeom>
              <a:avLst/>
              <a:gdLst>
                <a:gd name="T0" fmla="*/ 232 w 288"/>
                <a:gd name="T1" fmla="*/ 166 h 897"/>
                <a:gd name="T2" fmla="*/ 232 w 288"/>
                <a:gd name="T3" fmla="*/ 166 h 897"/>
                <a:gd name="T4" fmla="*/ 241 w 288"/>
                <a:gd name="T5" fmla="*/ 65 h 897"/>
                <a:gd name="T6" fmla="*/ 254 w 288"/>
                <a:gd name="T7" fmla="*/ 37 h 897"/>
                <a:gd name="T8" fmla="*/ 288 w 288"/>
                <a:gd name="T9" fmla="*/ 0 h 897"/>
                <a:gd name="T10" fmla="*/ 0 w 288"/>
                <a:gd name="T11" fmla="*/ 0 h 897"/>
                <a:gd name="T12" fmla="*/ 33 w 288"/>
                <a:gd name="T13" fmla="*/ 35 h 897"/>
                <a:gd name="T14" fmla="*/ 47 w 288"/>
                <a:gd name="T15" fmla="*/ 64 h 897"/>
                <a:gd name="T16" fmla="*/ 56 w 288"/>
                <a:gd name="T17" fmla="*/ 161 h 897"/>
                <a:gd name="T18" fmla="*/ 56 w 288"/>
                <a:gd name="T19" fmla="*/ 215 h 897"/>
                <a:gd name="T20" fmla="*/ 56 w 288"/>
                <a:gd name="T21" fmla="*/ 752 h 897"/>
                <a:gd name="T22" fmla="*/ 42 w 288"/>
                <a:gd name="T23" fmla="*/ 839 h 897"/>
                <a:gd name="T24" fmla="*/ 28 w 288"/>
                <a:gd name="T25" fmla="*/ 865 h 897"/>
                <a:gd name="T26" fmla="*/ 1 w 288"/>
                <a:gd name="T27" fmla="*/ 897 h 897"/>
                <a:gd name="T28" fmla="*/ 285 w 288"/>
                <a:gd name="T29" fmla="*/ 897 h 897"/>
                <a:gd name="T30" fmla="*/ 258 w 288"/>
                <a:gd name="T31" fmla="*/ 865 h 897"/>
                <a:gd name="T32" fmla="*/ 243 w 288"/>
                <a:gd name="T33" fmla="*/ 838 h 897"/>
                <a:gd name="T34" fmla="*/ 231 w 288"/>
                <a:gd name="T35" fmla="*/ 759 h 897"/>
                <a:gd name="T36" fmla="*/ 231 w 288"/>
                <a:gd name="T37" fmla="*/ 218 h 897"/>
                <a:gd name="T38" fmla="*/ 232 w 288"/>
                <a:gd name="T39" fmla="*/ 16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897">
                  <a:moveTo>
                    <a:pt x="232" y="166"/>
                  </a:moveTo>
                  <a:lnTo>
                    <a:pt x="232" y="166"/>
                  </a:lnTo>
                  <a:cubicBezTo>
                    <a:pt x="232" y="106"/>
                    <a:pt x="233" y="89"/>
                    <a:pt x="241" y="65"/>
                  </a:cubicBezTo>
                  <a:cubicBezTo>
                    <a:pt x="244" y="55"/>
                    <a:pt x="248" y="46"/>
                    <a:pt x="254" y="37"/>
                  </a:cubicBezTo>
                  <a:cubicBezTo>
                    <a:pt x="263" y="22"/>
                    <a:pt x="270" y="14"/>
                    <a:pt x="288" y="0"/>
                  </a:cubicBezTo>
                  <a:lnTo>
                    <a:pt x="0" y="0"/>
                  </a:lnTo>
                  <a:cubicBezTo>
                    <a:pt x="18" y="16"/>
                    <a:pt x="24" y="22"/>
                    <a:pt x="33" y="35"/>
                  </a:cubicBezTo>
                  <a:cubicBezTo>
                    <a:pt x="39" y="44"/>
                    <a:pt x="44" y="54"/>
                    <a:pt x="47" y="64"/>
                  </a:cubicBezTo>
                  <a:cubicBezTo>
                    <a:pt x="53" y="86"/>
                    <a:pt x="56" y="108"/>
                    <a:pt x="56" y="161"/>
                  </a:cubicBezTo>
                  <a:cubicBezTo>
                    <a:pt x="56" y="188"/>
                    <a:pt x="56" y="206"/>
                    <a:pt x="56" y="215"/>
                  </a:cubicBezTo>
                  <a:lnTo>
                    <a:pt x="56" y="752"/>
                  </a:lnTo>
                  <a:cubicBezTo>
                    <a:pt x="56" y="784"/>
                    <a:pt x="51" y="817"/>
                    <a:pt x="42" y="839"/>
                  </a:cubicBezTo>
                  <a:cubicBezTo>
                    <a:pt x="39" y="848"/>
                    <a:pt x="34" y="857"/>
                    <a:pt x="28" y="865"/>
                  </a:cubicBezTo>
                  <a:cubicBezTo>
                    <a:pt x="21" y="875"/>
                    <a:pt x="16" y="880"/>
                    <a:pt x="1" y="897"/>
                  </a:cubicBezTo>
                  <a:lnTo>
                    <a:pt x="285" y="897"/>
                  </a:lnTo>
                  <a:cubicBezTo>
                    <a:pt x="271" y="885"/>
                    <a:pt x="266" y="879"/>
                    <a:pt x="258" y="865"/>
                  </a:cubicBezTo>
                  <a:cubicBezTo>
                    <a:pt x="252" y="856"/>
                    <a:pt x="247" y="847"/>
                    <a:pt x="243" y="838"/>
                  </a:cubicBezTo>
                  <a:cubicBezTo>
                    <a:pt x="236" y="817"/>
                    <a:pt x="231" y="787"/>
                    <a:pt x="231" y="759"/>
                  </a:cubicBezTo>
                  <a:lnTo>
                    <a:pt x="231" y="218"/>
                  </a:lnTo>
                  <a:lnTo>
                    <a:pt x="232" y="1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5" name="Freeform 7">
              <a:extLst>
                <a:ext uri="{FF2B5EF4-FFF2-40B4-BE49-F238E27FC236}">
                  <a16:creationId xmlns:a16="http://schemas.microsoft.com/office/drawing/2014/main" id="{7FE4A7E9-42E0-43D0-B996-856DC1B0758B}"/>
                </a:ext>
              </a:extLst>
            </p:cNvPr>
            <p:cNvSpPr>
              <a:spLocks/>
            </p:cNvSpPr>
            <p:nvPr userDrawn="1"/>
          </p:nvSpPr>
          <p:spPr bwMode="auto">
            <a:xfrm>
              <a:off x="761" y="197"/>
              <a:ext cx="77" cy="80"/>
            </a:xfrm>
            <a:custGeom>
              <a:avLst/>
              <a:gdLst>
                <a:gd name="T0" fmla="*/ 810 w 869"/>
                <a:gd name="T1" fmla="*/ 165 h 897"/>
                <a:gd name="T2" fmla="*/ 810 w 869"/>
                <a:gd name="T3" fmla="*/ 165 h 897"/>
                <a:gd name="T4" fmla="*/ 819 w 869"/>
                <a:gd name="T5" fmla="*/ 70 h 897"/>
                <a:gd name="T6" fmla="*/ 834 w 869"/>
                <a:gd name="T7" fmla="*/ 37 h 897"/>
                <a:gd name="T8" fmla="*/ 869 w 869"/>
                <a:gd name="T9" fmla="*/ 0 h 897"/>
                <a:gd name="T10" fmla="*/ 576 w 869"/>
                <a:gd name="T11" fmla="*/ 0 h 897"/>
                <a:gd name="T12" fmla="*/ 609 w 869"/>
                <a:gd name="T13" fmla="*/ 36 h 897"/>
                <a:gd name="T14" fmla="*/ 624 w 869"/>
                <a:gd name="T15" fmla="*/ 67 h 897"/>
                <a:gd name="T16" fmla="*/ 634 w 869"/>
                <a:gd name="T17" fmla="*/ 162 h 897"/>
                <a:gd name="T18" fmla="*/ 634 w 869"/>
                <a:gd name="T19" fmla="*/ 379 h 897"/>
                <a:gd name="T20" fmla="*/ 232 w 869"/>
                <a:gd name="T21" fmla="*/ 379 h 897"/>
                <a:gd name="T22" fmla="*/ 232 w 869"/>
                <a:gd name="T23" fmla="*/ 216 h 897"/>
                <a:gd name="T24" fmla="*/ 234 w 869"/>
                <a:gd name="T25" fmla="*/ 109 h 897"/>
                <a:gd name="T26" fmla="*/ 241 w 869"/>
                <a:gd name="T27" fmla="*/ 70 h 897"/>
                <a:gd name="T28" fmla="*/ 278 w 869"/>
                <a:gd name="T29" fmla="*/ 9 h 897"/>
                <a:gd name="T30" fmla="*/ 288 w 869"/>
                <a:gd name="T31" fmla="*/ 0 h 897"/>
                <a:gd name="T32" fmla="*/ 1 w 869"/>
                <a:gd name="T33" fmla="*/ 0 h 897"/>
                <a:gd name="T34" fmla="*/ 30 w 869"/>
                <a:gd name="T35" fmla="*/ 34 h 897"/>
                <a:gd name="T36" fmla="*/ 46 w 869"/>
                <a:gd name="T37" fmla="*/ 64 h 897"/>
                <a:gd name="T38" fmla="*/ 56 w 869"/>
                <a:gd name="T39" fmla="*/ 159 h 897"/>
                <a:gd name="T40" fmla="*/ 57 w 869"/>
                <a:gd name="T41" fmla="*/ 216 h 897"/>
                <a:gd name="T42" fmla="*/ 57 w 869"/>
                <a:gd name="T43" fmla="*/ 707 h 897"/>
                <a:gd name="T44" fmla="*/ 53 w 869"/>
                <a:gd name="T45" fmla="*/ 802 h 897"/>
                <a:gd name="T46" fmla="*/ 44 w 869"/>
                <a:gd name="T47" fmla="*/ 838 h 897"/>
                <a:gd name="T48" fmla="*/ 9 w 869"/>
                <a:gd name="T49" fmla="*/ 888 h 897"/>
                <a:gd name="T50" fmla="*/ 0 w 869"/>
                <a:gd name="T51" fmla="*/ 897 h 897"/>
                <a:gd name="T52" fmla="*/ 284 w 869"/>
                <a:gd name="T53" fmla="*/ 897 h 897"/>
                <a:gd name="T54" fmla="*/ 260 w 869"/>
                <a:gd name="T55" fmla="*/ 867 h 897"/>
                <a:gd name="T56" fmla="*/ 245 w 869"/>
                <a:gd name="T57" fmla="*/ 839 h 897"/>
                <a:gd name="T58" fmla="*/ 232 w 869"/>
                <a:gd name="T59" fmla="*/ 761 h 897"/>
                <a:gd name="T60" fmla="*/ 232 w 869"/>
                <a:gd name="T61" fmla="*/ 707 h 897"/>
                <a:gd name="T62" fmla="*/ 232 w 869"/>
                <a:gd name="T63" fmla="*/ 490 h 897"/>
                <a:gd name="T64" fmla="*/ 634 w 869"/>
                <a:gd name="T65" fmla="*/ 490 h 897"/>
                <a:gd name="T66" fmla="*/ 634 w 869"/>
                <a:gd name="T67" fmla="*/ 709 h 897"/>
                <a:gd name="T68" fmla="*/ 630 w 869"/>
                <a:gd name="T69" fmla="*/ 800 h 897"/>
                <a:gd name="T70" fmla="*/ 620 w 869"/>
                <a:gd name="T71" fmla="*/ 838 h 897"/>
                <a:gd name="T72" fmla="*/ 588 w 869"/>
                <a:gd name="T73" fmla="*/ 885 h 897"/>
                <a:gd name="T74" fmla="*/ 575 w 869"/>
                <a:gd name="T75" fmla="*/ 897 h 897"/>
                <a:gd name="T76" fmla="*/ 862 w 869"/>
                <a:gd name="T77" fmla="*/ 897 h 897"/>
                <a:gd name="T78" fmla="*/ 838 w 869"/>
                <a:gd name="T79" fmla="*/ 869 h 897"/>
                <a:gd name="T80" fmla="*/ 821 w 869"/>
                <a:gd name="T81" fmla="*/ 839 h 897"/>
                <a:gd name="T82" fmla="*/ 810 w 869"/>
                <a:gd name="T83" fmla="*/ 758 h 897"/>
                <a:gd name="T84" fmla="*/ 809 w 869"/>
                <a:gd name="T85" fmla="*/ 712 h 897"/>
                <a:gd name="T86" fmla="*/ 810 w 869"/>
                <a:gd name="T87" fmla="*/ 218 h 897"/>
                <a:gd name="T88" fmla="*/ 810 w 869"/>
                <a:gd name="T89" fmla="*/ 16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9" h="897">
                  <a:moveTo>
                    <a:pt x="810" y="165"/>
                  </a:moveTo>
                  <a:lnTo>
                    <a:pt x="810" y="165"/>
                  </a:lnTo>
                  <a:cubicBezTo>
                    <a:pt x="810" y="125"/>
                    <a:pt x="813" y="95"/>
                    <a:pt x="819" y="70"/>
                  </a:cubicBezTo>
                  <a:cubicBezTo>
                    <a:pt x="823" y="59"/>
                    <a:pt x="828" y="48"/>
                    <a:pt x="834" y="37"/>
                  </a:cubicBezTo>
                  <a:cubicBezTo>
                    <a:pt x="843" y="22"/>
                    <a:pt x="850" y="14"/>
                    <a:pt x="869" y="0"/>
                  </a:cubicBezTo>
                  <a:lnTo>
                    <a:pt x="576" y="0"/>
                  </a:lnTo>
                  <a:cubicBezTo>
                    <a:pt x="593" y="14"/>
                    <a:pt x="599" y="20"/>
                    <a:pt x="609" y="36"/>
                  </a:cubicBezTo>
                  <a:cubicBezTo>
                    <a:pt x="616" y="46"/>
                    <a:pt x="621" y="57"/>
                    <a:pt x="624" y="67"/>
                  </a:cubicBezTo>
                  <a:cubicBezTo>
                    <a:pt x="631" y="88"/>
                    <a:pt x="634" y="115"/>
                    <a:pt x="634" y="162"/>
                  </a:cubicBezTo>
                  <a:lnTo>
                    <a:pt x="634" y="379"/>
                  </a:lnTo>
                  <a:lnTo>
                    <a:pt x="232" y="379"/>
                  </a:lnTo>
                  <a:lnTo>
                    <a:pt x="232" y="216"/>
                  </a:lnTo>
                  <a:cubicBezTo>
                    <a:pt x="232" y="166"/>
                    <a:pt x="232" y="134"/>
                    <a:pt x="234" y="109"/>
                  </a:cubicBezTo>
                  <a:cubicBezTo>
                    <a:pt x="235" y="95"/>
                    <a:pt x="238" y="82"/>
                    <a:pt x="241" y="70"/>
                  </a:cubicBezTo>
                  <a:cubicBezTo>
                    <a:pt x="247" y="51"/>
                    <a:pt x="264" y="24"/>
                    <a:pt x="278" y="9"/>
                  </a:cubicBezTo>
                  <a:cubicBezTo>
                    <a:pt x="280" y="7"/>
                    <a:pt x="284" y="4"/>
                    <a:pt x="288" y="0"/>
                  </a:cubicBezTo>
                  <a:lnTo>
                    <a:pt x="1" y="0"/>
                  </a:lnTo>
                  <a:cubicBezTo>
                    <a:pt x="18" y="17"/>
                    <a:pt x="23" y="23"/>
                    <a:pt x="30" y="34"/>
                  </a:cubicBezTo>
                  <a:cubicBezTo>
                    <a:pt x="37" y="43"/>
                    <a:pt x="42" y="53"/>
                    <a:pt x="46" y="64"/>
                  </a:cubicBezTo>
                  <a:cubicBezTo>
                    <a:pt x="53" y="87"/>
                    <a:pt x="55" y="100"/>
                    <a:pt x="56" y="159"/>
                  </a:cubicBezTo>
                  <a:lnTo>
                    <a:pt x="57" y="216"/>
                  </a:lnTo>
                  <a:lnTo>
                    <a:pt x="57" y="707"/>
                  </a:lnTo>
                  <a:cubicBezTo>
                    <a:pt x="57" y="757"/>
                    <a:pt x="56" y="779"/>
                    <a:pt x="53" y="802"/>
                  </a:cubicBezTo>
                  <a:cubicBezTo>
                    <a:pt x="51" y="814"/>
                    <a:pt x="48" y="825"/>
                    <a:pt x="44" y="838"/>
                  </a:cubicBezTo>
                  <a:cubicBezTo>
                    <a:pt x="37" y="857"/>
                    <a:pt x="26" y="872"/>
                    <a:pt x="9" y="888"/>
                  </a:cubicBezTo>
                  <a:cubicBezTo>
                    <a:pt x="7" y="890"/>
                    <a:pt x="4" y="893"/>
                    <a:pt x="0" y="897"/>
                  </a:cubicBezTo>
                  <a:lnTo>
                    <a:pt x="284" y="897"/>
                  </a:lnTo>
                  <a:cubicBezTo>
                    <a:pt x="271" y="884"/>
                    <a:pt x="267" y="878"/>
                    <a:pt x="260" y="867"/>
                  </a:cubicBezTo>
                  <a:cubicBezTo>
                    <a:pt x="254" y="859"/>
                    <a:pt x="249" y="849"/>
                    <a:pt x="245" y="839"/>
                  </a:cubicBezTo>
                  <a:cubicBezTo>
                    <a:pt x="236" y="815"/>
                    <a:pt x="233" y="799"/>
                    <a:pt x="232" y="761"/>
                  </a:cubicBezTo>
                  <a:cubicBezTo>
                    <a:pt x="232" y="741"/>
                    <a:pt x="232" y="724"/>
                    <a:pt x="232" y="707"/>
                  </a:cubicBezTo>
                  <a:lnTo>
                    <a:pt x="232" y="490"/>
                  </a:lnTo>
                  <a:lnTo>
                    <a:pt x="634" y="490"/>
                  </a:lnTo>
                  <a:lnTo>
                    <a:pt x="634" y="709"/>
                  </a:lnTo>
                  <a:cubicBezTo>
                    <a:pt x="634" y="757"/>
                    <a:pt x="633" y="775"/>
                    <a:pt x="630" y="800"/>
                  </a:cubicBezTo>
                  <a:cubicBezTo>
                    <a:pt x="628" y="813"/>
                    <a:pt x="625" y="826"/>
                    <a:pt x="620" y="838"/>
                  </a:cubicBezTo>
                  <a:cubicBezTo>
                    <a:pt x="613" y="855"/>
                    <a:pt x="603" y="871"/>
                    <a:pt x="588" y="885"/>
                  </a:cubicBezTo>
                  <a:cubicBezTo>
                    <a:pt x="585" y="888"/>
                    <a:pt x="581" y="892"/>
                    <a:pt x="575" y="897"/>
                  </a:cubicBezTo>
                  <a:lnTo>
                    <a:pt x="862" y="897"/>
                  </a:lnTo>
                  <a:cubicBezTo>
                    <a:pt x="850" y="885"/>
                    <a:pt x="846" y="880"/>
                    <a:pt x="838" y="869"/>
                  </a:cubicBezTo>
                  <a:cubicBezTo>
                    <a:pt x="831" y="859"/>
                    <a:pt x="825" y="849"/>
                    <a:pt x="821" y="839"/>
                  </a:cubicBezTo>
                  <a:cubicBezTo>
                    <a:pt x="813" y="818"/>
                    <a:pt x="811" y="803"/>
                    <a:pt x="810" y="758"/>
                  </a:cubicBezTo>
                  <a:cubicBezTo>
                    <a:pt x="809" y="732"/>
                    <a:pt x="809" y="717"/>
                    <a:pt x="809" y="712"/>
                  </a:cubicBezTo>
                  <a:lnTo>
                    <a:pt x="810" y="218"/>
                  </a:lnTo>
                  <a:lnTo>
                    <a:pt x="810" y="16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6" name="Freeform 8">
              <a:extLst>
                <a:ext uri="{FF2B5EF4-FFF2-40B4-BE49-F238E27FC236}">
                  <a16:creationId xmlns:a16="http://schemas.microsoft.com/office/drawing/2014/main" id="{451758A0-E6AE-4136-8372-7F123E721594}"/>
                </a:ext>
              </a:extLst>
            </p:cNvPr>
            <p:cNvSpPr>
              <a:spLocks noEditPoints="1"/>
            </p:cNvSpPr>
            <p:nvPr userDrawn="1"/>
          </p:nvSpPr>
          <p:spPr bwMode="auto">
            <a:xfrm>
              <a:off x="562" y="197"/>
              <a:ext cx="73" cy="80"/>
            </a:xfrm>
            <a:custGeom>
              <a:avLst/>
              <a:gdLst>
                <a:gd name="T0" fmla="*/ 408 w 822"/>
                <a:gd name="T1" fmla="*/ 395 h 897"/>
                <a:gd name="T2" fmla="*/ 408 w 822"/>
                <a:gd name="T3" fmla="*/ 395 h 897"/>
                <a:gd name="T4" fmla="*/ 295 w 822"/>
                <a:gd name="T5" fmla="*/ 431 h 897"/>
                <a:gd name="T6" fmla="*/ 248 w 822"/>
                <a:gd name="T7" fmla="*/ 435 h 897"/>
                <a:gd name="T8" fmla="*/ 233 w 822"/>
                <a:gd name="T9" fmla="*/ 435 h 897"/>
                <a:gd name="T10" fmla="*/ 233 w 822"/>
                <a:gd name="T11" fmla="*/ 103 h 897"/>
                <a:gd name="T12" fmla="*/ 257 w 822"/>
                <a:gd name="T13" fmla="*/ 102 h 897"/>
                <a:gd name="T14" fmla="*/ 378 w 822"/>
                <a:gd name="T15" fmla="*/ 117 h 897"/>
                <a:gd name="T16" fmla="*/ 439 w 822"/>
                <a:gd name="T17" fmla="*/ 149 h 897"/>
                <a:gd name="T18" fmla="*/ 485 w 822"/>
                <a:gd name="T19" fmla="*/ 260 h 897"/>
                <a:gd name="T20" fmla="*/ 450 w 822"/>
                <a:gd name="T21" fmla="*/ 361 h 897"/>
                <a:gd name="T22" fmla="*/ 408 w 822"/>
                <a:gd name="T23" fmla="*/ 395 h 897"/>
                <a:gd name="T24" fmla="*/ 408 w 822"/>
                <a:gd name="T25" fmla="*/ 395 h 897"/>
                <a:gd name="T26" fmla="*/ 750 w 822"/>
                <a:gd name="T27" fmla="*/ 835 h 897"/>
                <a:gd name="T28" fmla="*/ 750 w 822"/>
                <a:gd name="T29" fmla="*/ 835 h 897"/>
                <a:gd name="T30" fmla="*/ 649 w 822"/>
                <a:gd name="T31" fmla="*/ 730 h 897"/>
                <a:gd name="T32" fmla="*/ 583 w 822"/>
                <a:gd name="T33" fmla="*/ 657 h 897"/>
                <a:gd name="T34" fmla="*/ 444 w 822"/>
                <a:gd name="T35" fmla="*/ 493 h 897"/>
                <a:gd name="T36" fmla="*/ 484 w 822"/>
                <a:gd name="T37" fmla="*/ 480 h 897"/>
                <a:gd name="T38" fmla="*/ 594 w 822"/>
                <a:gd name="T39" fmla="*/ 416 h 897"/>
                <a:gd name="T40" fmla="*/ 665 w 822"/>
                <a:gd name="T41" fmla="*/ 313 h 897"/>
                <a:gd name="T42" fmla="*/ 676 w 822"/>
                <a:gd name="T43" fmla="*/ 244 h 897"/>
                <a:gd name="T44" fmla="*/ 615 w 822"/>
                <a:gd name="T45" fmla="*/ 97 h 897"/>
                <a:gd name="T46" fmla="*/ 470 w 822"/>
                <a:gd name="T47" fmla="*/ 16 h 897"/>
                <a:gd name="T48" fmla="*/ 316 w 822"/>
                <a:gd name="T49" fmla="*/ 1 h 897"/>
                <a:gd name="T50" fmla="*/ 233 w 822"/>
                <a:gd name="T51" fmla="*/ 0 h 897"/>
                <a:gd name="T52" fmla="*/ 2 w 822"/>
                <a:gd name="T53" fmla="*/ 0 h 897"/>
                <a:gd name="T54" fmla="*/ 32 w 822"/>
                <a:gd name="T55" fmla="*/ 33 h 897"/>
                <a:gd name="T56" fmla="*/ 47 w 822"/>
                <a:gd name="T57" fmla="*/ 66 h 897"/>
                <a:gd name="T58" fmla="*/ 56 w 822"/>
                <a:gd name="T59" fmla="*/ 162 h 897"/>
                <a:gd name="T60" fmla="*/ 56 w 822"/>
                <a:gd name="T61" fmla="*/ 750 h 897"/>
                <a:gd name="T62" fmla="*/ 46 w 822"/>
                <a:gd name="T63" fmla="*/ 837 h 897"/>
                <a:gd name="T64" fmla="*/ 31 w 822"/>
                <a:gd name="T65" fmla="*/ 865 h 897"/>
                <a:gd name="T66" fmla="*/ 0 w 822"/>
                <a:gd name="T67" fmla="*/ 897 h 897"/>
                <a:gd name="T68" fmla="*/ 285 w 822"/>
                <a:gd name="T69" fmla="*/ 897 h 897"/>
                <a:gd name="T70" fmla="*/ 261 w 822"/>
                <a:gd name="T71" fmla="*/ 867 h 897"/>
                <a:gd name="T72" fmla="*/ 245 w 822"/>
                <a:gd name="T73" fmla="*/ 840 h 897"/>
                <a:gd name="T74" fmla="*/ 234 w 822"/>
                <a:gd name="T75" fmla="*/ 757 h 897"/>
                <a:gd name="T76" fmla="*/ 233 w 822"/>
                <a:gd name="T77" fmla="*/ 712 h 897"/>
                <a:gd name="T78" fmla="*/ 233 w 822"/>
                <a:gd name="T79" fmla="*/ 510 h 897"/>
                <a:gd name="T80" fmla="*/ 400 w 822"/>
                <a:gd name="T81" fmla="*/ 710 h 897"/>
                <a:gd name="T82" fmla="*/ 437 w 822"/>
                <a:gd name="T83" fmla="*/ 753 h 897"/>
                <a:gd name="T84" fmla="*/ 481 w 822"/>
                <a:gd name="T85" fmla="*/ 801 h 897"/>
                <a:gd name="T86" fmla="*/ 573 w 822"/>
                <a:gd name="T87" fmla="*/ 875 h 897"/>
                <a:gd name="T88" fmla="*/ 662 w 822"/>
                <a:gd name="T89" fmla="*/ 896 h 897"/>
                <a:gd name="T90" fmla="*/ 709 w 822"/>
                <a:gd name="T91" fmla="*/ 897 h 897"/>
                <a:gd name="T92" fmla="*/ 822 w 822"/>
                <a:gd name="T93" fmla="*/ 897 h 897"/>
                <a:gd name="T94" fmla="*/ 789 w 822"/>
                <a:gd name="T95" fmla="*/ 870 h 897"/>
                <a:gd name="T96" fmla="*/ 750 w 822"/>
                <a:gd name="T97" fmla="*/ 83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897">
                  <a:moveTo>
                    <a:pt x="408" y="395"/>
                  </a:moveTo>
                  <a:lnTo>
                    <a:pt x="408" y="395"/>
                  </a:lnTo>
                  <a:cubicBezTo>
                    <a:pt x="376" y="413"/>
                    <a:pt x="343" y="424"/>
                    <a:pt x="295" y="431"/>
                  </a:cubicBezTo>
                  <a:cubicBezTo>
                    <a:pt x="277" y="434"/>
                    <a:pt x="261" y="435"/>
                    <a:pt x="248" y="435"/>
                  </a:cubicBezTo>
                  <a:cubicBezTo>
                    <a:pt x="243" y="435"/>
                    <a:pt x="240" y="435"/>
                    <a:pt x="233" y="435"/>
                  </a:cubicBezTo>
                  <a:lnTo>
                    <a:pt x="233" y="103"/>
                  </a:lnTo>
                  <a:cubicBezTo>
                    <a:pt x="245" y="102"/>
                    <a:pt x="249" y="102"/>
                    <a:pt x="257" y="102"/>
                  </a:cubicBezTo>
                  <a:cubicBezTo>
                    <a:pt x="301" y="102"/>
                    <a:pt x="344" y="107"/>
                    <a:pt x="378" y="117"/>
                  </a:cubicBezTo>
                  <a:cubicBezTo>
                    <a:pt x="400" y="123"/>
                    <a:pt x="421" y="135"/>
                    <a:pt x="439" y="149"/>
                  </a:cubicBezTo>
                  <a:cubicBezTo>
                    <a:pt x="469" y="175"/>
                    <a:pt x="485" y="213"/>
                    <a:pt x="485" y="260"/>
                  </a:cubicBezTo>
                  <a:cubicBezTo>
                    <a:pt x="485" y="300"/>
                    <a:pt x="473" y="335"/>
                    <a:pt x="450" y="361"/>
                  </a:cubicBezTo>
                  <a:cubicBezTo>
                    <a:pt x="439" y="373"/>
                    <a:pt x="425" y="385"/>
                    <a:pt x="408" y="395"/>
                  </a:cubicBezTo>
                  <a:lnTo>
                    <a:pt x="408" y="395"/>
                  </a:lnTo>
                  <a:close/>
                  <a:moveTo>
                    <a:pt x="750" y="835"/>
                  </a:moveTo>
                  <a:lnTo>
                    <a:pt x="750" y="835"/>
                  </a:lnTo>
                  <a:cubicBezTo>
                    <a:pt x="719" y="804"/>
                    <a:pt x="691" y="776"/>
                    <a:pt x="649" y="730"/>
                  </a:cubicBezTo>
                  <a:cubicBezTo>
                    <a:pt x="622" y="702"/>
                    <a:pt x="600" y="677"/>
                    <a:pt x="583" y="657"/>
                  </a:cubicBezTo>
                  <a:lnTo>
                    <a:pt x="444" y="493"/>
                  </a:lnTo>
                  <a:cubicBezTo>
                    <a:pt x="461" y="488"/>
                    <a:pt x="468" y="486"/>
                    <a:pt x="484" y="480"/>
                  </a:cubicBezTo>
                  <a:cubicBezTo>
                    <a:pt x="529" y="462"/>
                    <a:pt x="563" y="442"/>
                    <a:pt x="594" y="416"/>
                  </a:cubicBezTo>
                  <a:cubicBezTo>
                    <a:pt x="630" y="386"/>
                    <a:pt x="652" y="354"/>
                    <a:pt x="665" y="313"/>
                  </a:cubicBezTo>
                  <a:cubicBezTo>
                    <a:pt x="673" y="291"/>
                    <a:pt x="676" y="267"/>
                    <a:pt x="676" y="244"/>
                  </a:cubicBezTo>
                  <a:cubicBezTo>
                    <a:pt x="676" y="189"/>
                    <a:pt x="656" y="139"/>
                    <a:pt x="615" y="97"/>
                  </a:cubicBezTo>
                  <a:cubicBezTo>
                    <a:pt x="579" y="58"/>
                    <a:pt x="527" y="30"/>
                    <a:pt x="470" y="16"/>
                  </a:cubicBezTo>
                  <a:cubicBezTo>
                    <a:pt x="429" y="7"/>
                    <a:pt x="388" y="2"/>
                    <a:pt x="316" y="1"/>
                  </a:cubicBezTo>
                  <a:cubicBezTo>
                    <a:pt x="289" y="0"/>
                    <a:pt x="262" y="0"/>
                    <a:pt x="233" y="0"/>
                  </a:cubicBezTo>
                  <a:lnTo>
                    <a:pt x="2" y="0"/>
                  </a:lnTo>
                  <a:cubicBezTo>
                    <a:pt x="17" y="14"/>
                    <a:pt x="23" y="20"/>
                    <a:pt x="32" y="33"/>
                  </a:cubicBezTo>
                  <a:cubicBezTo>
                    <a:pt x="38" y="44"/>
                    <a:pt x="44" y="55"/>
                    <a:pt x="47" y="66"/>
                  </a:cubicBezTo>
                  <a:cubicBezTo>
                    <a:pt x="53" y="86"/>
                    <a:pt x="56" y="114"/>
                    <a:pt x="56" y="162"/>
                  </a:cubicBezTo>
                  <a:lnTo>
                    <a:pt x="56" y="750"/>
                  </a:lnTo>
                  <a:cubicBezTo>
                    <a:pt x="56" y="793"/>
                    <a:pt x="53" y="817"/>
                    <a:pt x="46" y="837"/>
                  </a:cubicBezTo>
                  <a:cubicBezTo>
                    <a:pt x="42" y="847"/>
                    <a:pt x="37" y="857"/>
                    <a:pt x="31" y="865"/>
                  </a:cubicBezTo>
                  <a:cubicBezTo>
                    <a:pt x="22" y="876"/>
                    <a:pt x="17" y="882"/>
                    <a:pt x="0" y="897"/>
                  </a:cubicBezTo>
                  <a:lnTo>
                    <a:pt x="285" y="897"/>
                  </a:lnTo>
                  <a:cubicBezTo>
                    <a:pt x="273" y="883"/>
                    <a:pt x="269" y="878"/>
                    <a:pt x="261" y="867"/>
                  </a:cubicBezTo>
                  <a:cubicBezTo>
                    <a:pt x="254" y="859"/>
                    <a:pt x="249" y="850"/>
                    <a:pt x="245" y="840"/>
                  </a:cubicBezTo>
                  <a:cubicBezTo>
                    <a:pt x="238" y="820"/>
                    <a:pt x="234" y="799"/>
                    <a:pt x="234" y="757"/>
                  </a:cubicBezTo>
                  <a:cubicBezTo>
                    <a:pt x="234" y="744"/>
                    <a:pt x="233" y="729"/>
                    <a:pt x="233" y="712"/>
                  </a:cubicBezTo>
                  <a:lnTo>
                    <a:pt x="233" y="510"/>
                  </a:lnTo>
                  <a:lnTo>
                    <a:pt x="400" y="710"/>
                  </a:lnTo>
                  <a:cubicBezTo>
                    <a:pt x="407" y="719"/>
                    <a:pt x="420" y="734"/>
                    <a:pt x="437" y="753"/>
                  </a:cubicBezTo>
                  <a:cubicBezTo>
                    <a:pt x="456" y="775"/>
                    <a:pt x="471" y="791"/>
                    <a:pt x="481" y="801"/>
                  </a:cubicBezTo>
                  <a:cubicBezTo>
                    <a:pt x="513" y="835"/>
                    <a:pt x="543" y="859"/>
                    <a:pt x="573" y="875"/>
                  </a:cubicBezTo>
                  <a:cubicBezTo>
                    <a:pt x="599" y="889"/>
                    <a:pt x="624" y="895"/>
                    <a:pt x="662" y="896"/>
                  </a:cubicBezTo>
                  <a:cubicBezTo>
                    <a:pt x="677" y="897"/>
                    <a:pt x="693" y="897"/>
                    <a:pt x="709" y="897"/>
                  </a:cubicBezTo>
                  <a:lnTo>
                    <a:pt x="822" y="897"/>
                  </a:lnTo>
                  <a:cubicBezTo>
                    <a:pt x="807" y="885"/>
                    <a:pt x="800" y="880"/>
                    <a:pt x="789" y="870"/>
                  </a:cubicBezTo>
                  <a:cubicBezTo>
                    <a:pt x="777" y="859"/>
                    <a:pt x="764" y="848"/>
                    <a:pt x="750" y="8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7" name="Freeform 9">
              <a:extLst>
                <a:ext uri="{FF2B5EF4-FFF2-40B4-BE49-F238E27FC236}">
                  <a16:creationId xmlns:a16="http://schemas.microsoft.com/office/drawing/2014/main" id="{7F1B4E05-1C49-4628-8296-6E4C82BBB070}"/>
                </a:ext>
              </a:extLst>
            </p:cNvPr>
            <p:cNvSpPr>
              <a:spLocks/>
            </p:cNvSpPr>
            <p:nvPr userDrawn="1"/>
          </p:nvSpPr>
          <p:spPr bwMode="auto">
            <a:xfrm>
              <a:off x="679" y="195"/>
              <a:ext cx="68" cy="84"/>
            </a:xfrm>
            <a:custGeom>
              <a:avLst/>
              <a:gdLst>
                <a:gd name="T0" fmla="*/ 668 w 765"/>
                <a:gd name="T1" fmla="*/ 790 h 944"/>
                <a:gd name="T2" fmla="*/ 668 w 765"/>
                <a:gd name="T3" fmla="*/ 790 h 944"/>
                <a:gd name="T4" fmla="*/ 512 w 765"/>
                <a:gd name="T5" fmla="*/ 823 h 944"/>
                <a:gd name="T6" fmla="*/ 281 w 765"/>
                <a:gd name="T7" fmla="*/ 727 h 944"/>
                <a:gd name="T8" fmla="*/ 191 w 765"/>
                <a:gd name="T9" fmla="*/ 478 h 944"/>
                <a:gd name="T10" fmla="*/ 272 w 765"/>
                <a:gd name="T11" fmla="*/ 236 h 944"/>
                <a:gd name="T12" fmla="*/ 354 w 765"/>
                <a:gd name="T13" fmla="*/ 170 h 944"/>
                <a:gd name="T14" fmla="*/ 527 w 765"/>
                <a:gd name="T15" fmla="*/ 126 h 944"/>
                <a:gd name="T16" fmla="*/ 688 w 765"/>
                <a:gd name="T17" fmla="*/ 159 h 944"/>
                <a:gd name="T18" fmla="*/ 762 w 765"/>
                <a:gd name="T19" fmla="*/ 199 h 944"/>
                <a:gd name="T20" fmla="*/ 762 w 765"/>
                <a:gd name="T21" fmla="*/ 31 h 944"/>
                <a:gd name="T22" fmla="*/ 708 w 765"/>
                <a:gd name="T23" fmla="*/ 16 h 944"/>
                <a:gd name="T24" fmla="*/ 550 w 765"/>
                <a:gd name="T25" fmla="*/ 0 h 944"/>
                <a:gd name="T26" fmla="*/ 294 w 765"/>
                <a:gd name="T27" fmla="*/ 48 h 944"/>
                <a:gd name="T28" fmla="*/ 171 w 765"/>
                <a:gd name="T29" fmla="*/ 121 h 944"/>
                <a:gd name="T30" fmla="*/ 0 w 765"/>
                <a:gd name="T31" fmla="*/ 488 h 944"/>
                <a:gd name="T32" fmla="*/ 164 w 765"/>
                <a:gd name="T33" fmla="*/ 840 h 944"/>
                <a:gd name="T34" fmla="*/ 499 w 765"/>
                <a:gd name="T35" fmla="*/ 944 h 944"/>
                <a:gd name="T36" fmla="*/ 751 w 765"/>
                <a:gd name="T37" fmla="*/ 904 h 944"/>
                <a:gd name="T38" fmla="*/ 765 w 765"/>
                <a:gd name="T39" fmla="*/ 899 h 944"/>
                <a:gd name="T40" fmla="*/ 765 w 765"/>
                <a:gd name="T41" fmla="*/ 736 h 944"/>
                <a:gd name="T42" fmla="*/ 724 w 765"/>
                <a:gd name="T43" fmla="*/ 763 h 944"/>
                <a:gd name="T44" fmla="*/ 668 w 765"/>
                <a:gd name="T45" fmla="*/ 79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5" h="944">
                  <a:moveTo>
                    <a:pt x="668" y="790"/>
                  </a:moveTo>
                  <a:lnTo>
                    <a:pt x="668" y="790"/>
                  </a:lnTo>
                  <a:cubicBezTo>
                    <a:pt x="614" y="813"/>
                    <a:pt x="565" y="823"/>
                    <a:pt x="512" y="823"/>
                  </a:cubicBezTo>
                  <a:cubicBezTo>
                    <a:pt x="419" y="823"/>
                    <a:pt x="340" y="790"/>
                    <a:pt x="281" y="727"/>
                  </a:cubicBezTo>
                  <a:cubicBezTo>
                    <a:pt x="222" y="664"/>
                    <a:pt x="191" y="577"/>
                    <a:pt x="191" y="478"/>
                  </a:cubicBezTo>
                  <a:cubicBezTo>
                    <a:pt x="191" y="384"/>
                    <a:pt x="220" y="297"/>
                    <a:pt x="272" y="236"/>
                  </a:cubicBezTo>
                  <a:cubicBezTo>
                    <a:pt x="295" y="210"/>
                    <a:pt x="322" y="187"/>
                    <a:pt x="354" y="170"/>
                  </a:cubicBezTo>
                  <a:cubicBezTo>
                    <a:pt x="404" y="141"/>
                    <a:pt x="463" y="126"/>
                    <a:pt x="527" y="126"/>
                  </a:cubicBezTo>
                  <a:cubicBezTo>
                    <a:pt x="582" y="126"/>
                    <a:pt x="635" y="137"/>
                    <a:pt x="688" y="159"/>
                  </a:cubicBezTo>
                  <a:cubicBezTo>
                    <a:pt x="722" y="172"/>
                    <a:pt x="734" y="179"/>
                    <a:pt x="762" y="199"/>
                  </a:cubicBezTo>
                  <a:lnTo>
                    <a:pt x="762" y="31"/>
                  </a:lnTo>
                  <a:cubicBezTo>
                    <a:pt x="740" y="24"/>
                    <a:pt x="731" y="21"/>
                    <a:pt x="708" y="16"/>
                  </a:cubicBezTo>
                  <a:cubicBezTo>
                    <a:pt x="656" y="5"/>
                    <a:pt x="606" y="0"/>
                    <a:pt x="550" y="0"/>
                  </a:cubicBezTo>
                  <a:cubicBezTo>
                    <a:pt x="453" y="0"/>
                    <a:pt x="370" y="16"/>
                    <a:pt x="294" y="48"/>
                  </a:cubicBezTo>
                  <a:cubicBezTo>
                    <a:pt x="249" y="67"/>
                    <a:pt x="207" y="91"/>
                    <a:pt x="171" y="121"/>
                  </a:cubicBezTo>
                  <a:cubicBezTo>
                    <a:pt x="60" y="210"/>
                    <a:pt x="0" y="339"/>
                    <a:pt x="0" y="488"/>
                  </a:cubicBezTo>
                  <a:cubicBezTo>
                    <a:pt x="0" y="632"/>
                    <a:pt x="58" y="756"/>
                    <a:pt x="164" y="840"/>
                  </a:cubicBezTo>
                  <a:cubicBezTo>
                    <a:pt x="251" y="909"/>
                    <a:pt x="364" y="944"/>
                    <a:pt x="499" y="944"/>
                  </a:cubicBezTo>
                  <a:cubicBezTo>
                    <a:pt x="583" y="944"/>
                    <a:pt x="662" y="931"/>
                    <a:pt x="751" y="904"/>
                  </a:cubicBezTo>
                  <a:cubicBezTo>
                    <a:pt x="754" y="903"/>
                    <a:pt x="759" y="901"/>
                    <a:pt x="765" y="899"/>
                  </a:cubicBezTo>
                  <a:lnTo>
                    <a:pt x="765" y="736"/>
                  </a:lnTo>
                  <a:cubicBezTo>
                    <a:pt x="744" y="750"/>
                    <a:pt x="736" y="755"/>
                    <a:pt x="724" y="763"/>
                  </a:cubicBezTo>
                  <a:cubicBezTo>
                    <a:pt x="706" y="773"/>
                    <a:pt x="688" y="782"/>
                    <a:pt x="668" y="7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8" name="Freeform 10">
              <a:extLst>
                <a:ext uri="{FF2B5EF4-FFF2-40B4-BE49-F238E27FC236}">
                  <a16:creationId xmlns:a16="http://schemas.microsoft.com/office/drawing/2014/main" id="{1E04FE10-677A-40F8-8E43-1902F64A8BB0}"/>
                </a:ext>
              </a:extLst>
            </p:cNvPr>
            <p:cNvSpPr>
              <a:spLocks/>
            </p:cNvSpPr>
            <p:nvPr userDrawn="1"/>
          </p:nvSpPr>
          <p:spPr bwMode="auto">
            <a:xfrm>
              <a:off x="471" y="197"/>
              <a:ext cx="78" cy="83"/>
            </a:xfrm>
            <a:custGeom>
              <a:avLst/>
              <a:gdLst>
                <a:gd name="T0" fmla="*/ 631 w 885"/>
                <a:gd name="T1" fmla="*/ 34 h 927"/>
                <a:gd name="T2" fmla="*/ 631 w 885"/>
                <a:gd name="T3" fmla="*/ 34 h 927"/>
                <a:gd name="T4" fmla="*/ 644 w 885"/>
                <a:gd name="T5" fmla="*/ 65 h 927"/>
                <a:gd name="T6" fmla="*/ 652 w 885"/>
                <a:gd name="T7" fmla="*/ 159 h 927"/>
                <a:gd name="T8" fmla="*/ 652 w 885"/>
                <a:gd name="T9" fmla="*/ 500 h 927"/>
                <a:gd name="T10" fmla="*/ 645 w 885"/>
                <a:gd name="T11" fmla="*/ 652 h 927"/>
                <a:gd name="T12" fmla="*/ 621 w 885"/>
                <a:gd name="T13" fmla="*/ 718 h 927"/>
                <a:gd name="T14" fmla="*/ 511 w 885"/>
                <a:gd name="T15" fmla="*/ 795 h 927"/>
                <a:gd name="T16" fmla="*/ 448 w 885"/>
                <a:gd name="T17" fmla="*/ 802 h 927"/>
                <a:gd name="T18" fmla="*/ 272 w 885"/>
                <a:gd name="T19" fmla="*/ 726 h 927"/>
                <a:gd name="T20" fmla="*/ 240 w 885"/>
                <a:gd name="T21" fmla="*/ 562 h 927"/>
                <a:gd name="T22" fmla="*/ 239 w 885"/>
                <a:gd name="T23" fmla="*/ 488 h 927"/>
                <a:gd name="T24" fmla="*/ 239 w 885"/>
                <a:gd name="T25" fmla="*/ 218 h 927"/>
                <a:gd name="T26" fmla="*/ 241 w 885"/>
                <a:gd name="T27" fmla="*/ 114 h 927"/>
                <a:gd name="T28" fmla="*/ 248 w 885"/>
                <a:gd name="T29" fmla="*/ 73 h 927"/>
                <a:gd name="T30" fmla="*/ 284 w 885"/>
                <a:gd name="T31" fmla="*/ 8 h 927"/>
                <a:gd name="T32" fmla="*/ 291 w 885"/>
                <a:gd name="T33" fmla="*/ 0 h 927"/>
                <a:gd name="T34" fmla="*/ 0 w 885"/>
                <a:gd name="T35" fmla="*/ 0 h 927"/>
                <a:gd name="T36" fmla="*/ 32 w 885"/>
                <a:gd name="T37" fmla="*/ 36 h 927"/>
                <a:gd name="T38" fmla="*/ 45 w 885"/>
                <a:gd name="T39" fmla="*/ 67 h 927"/>
                <a:gd name="T40" fmla="*/ 51 w 885"/>
                <a:gd name="T41" fmla="*/ 109 h 927"/>
                <a:gd name="T42" fmla="*/ 51 w 885"/>
                <a:gd name="T43" fmla="*/ 164 h 927"/>
                <a:gd name="T44" fmla="*/ 52 w 885"/>
                <a:gd name="T45" fmla="*/ 216 h 927"/>
                <a:gd name="T46" fmla="*/ 52 w 885"/>
                <a:gd name="T47" fmla="*/ 473 h 927"/>
                <a:gd name="T48" fmla="*/ 55 w 885"/>
                <a:gd name="T49" fmla="*/ 631 h 927"/>
                <a:gd name="T50" fmla="*/ 118 w 885"/>
                <a:gd name="T51" fmla="*/ 796 h 927"/>
                <a:gd name="T52" fmla="*/ 435 w 885"/>
                <a:gd name="T53" fmla="*/ 927 h 927"/>
                <a:gd name="T54" fmla="*/ 615 w 885"/>
                <a:gd name="T55" fmla="*/ 898 h 927"/>
                <a:gd name="T56" fmla="*/ 748 w 885"/>
                <a:gd name="T57" fmla="*/ 809 h 927"/>
                <a:gd name="T58" fmla="*/ 821 w 885"/>
                <a:gd name="T59" fmla="*/ 635 h 927"/>
                <a:gd name="T60" fmla="*/ 827 w 885"/>
                <a:gd name="T61" fmla="*/ 475 h 927"/>
                <a:gd name="T62" fmla="*/ 827 w 885"/>
                <a:gd name="T63" fmla="*/ 217 h 927"/>
                <a:gd name="T64" fmla="*/ 826 w 885"/>
                <a:gd name="T65" fmla="*/ 165 h 927"/>
                <a:gd name="T66" fmla="*/ 826 w 885"/>
                <a:gd name="T67" fmla="*/ 155 h 927"/>
                <a:gd name="T68" fmla="*/ 834 w 885"/>
                <a:gd name="T69" fmla="*/ 73 h 927"/>
                <a:gd name="T70" fmla="*/ 849 w 885"/>
                <a:gd name="T71" fmla="*/ 37 h 927"/>
                <a:gd name="T72" fmla="*/ 885 w 885"/>
                <a:gd name="T73" fmla="*/ 0 h 927"/>
                <a:gd name="T74" fmla="*/ 599 w 885"/>
                <a:gd name="T75" fmla="*/ 0 h 927"/>
                <a:gd name="T76" fmla="*/ 631 w 885"/>
                <a:gd name="T77" fmla="*/ 34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5" h="927">
                  <a:moveTo>
                    <a:pt x="631" y="34"/>
                  </a:moveTo>
                  <a:lnTo>
                    <a:pt x="631" y="34"/>
                  </a:lnTo>
                  <a:cubicBezTo>
                    <a:pt x="637" y="44"/>
                    <a:pt x="641" y="54"/>
                    <a:pt x="644" y="65"/>
                  </a:cubicBezTo>
                  <a:cubicBezTo>
                    <a:pt x="650" y="87"/>
                    <a:pt x="652" y="108"/>
                    <a:pt x="652" y="159"/>
                  </a:cubicBezTo>
                  <a:lnTo>
                    <a:pt x="652" y="500"/>
                  </a:lnTo>
                  <a:cubicBezTo>
                    <a:pt x="652" y="573"/>
                    <a:pt x="650" y="617"/>
                    <a:pt x="645" y="652"/>
                  </a:cubicBezTo>
                  <a:cubicBezTo>
                    <a:pt x="641" y="676"/>
                    <a:pt x="633" y="698"/>
                    <a:pt x="621" y="718"/>
                  </a:cubicBezTo>
                  <a:cubicBezTo>
                    <a:pt x="600" y="755"/>
                    <a:pt x="559" y="783"/>
                    <a:pt x="511" y="795"/>
                  </a:cubicBezTo>
                  <a:cubicBezTo>
                    <a:pt x="492" y="800"/>
                    <a:pt x="470" y="802"/>
                    <a:pt x="448" y="802"/>
                  </a:cubicBezTo>
                  <a:cubicBezTo>
                    <a:pt x="371" y="802"/>
                    <a:pt x="304" y="773"/>
                    <a:pt x="272" y="726"/>
                  </a:cubicBezTo>
                  <a:cubicBezTo>
                    <a:pt x="248" y="690"/>
                    <a:pt x="241" y="655"/>
                    <a:pt x="240" y="562"/>
                  </a:cubicBezTo>
                  <a:lnTo>
                    <a:pt x="239" y="488"/>
                  </a:lnTo>
                  <a:lnTo>
                    <a:pt x="239" y="218"/>
                  </a:lnTo>
                  <a:cubicBezTo>
                    <a:pt x="239" y="166"/>
                    <a:pt x="239" y="141"/>
                    <a:pt x="241" y="114"/>
                  </a:cubicBezTo>
                  <a:cubicBezTo>
                    <a:pt x="242" y="98"/>
                    <a:pt x="244" y="84"/>
                    <a:pt x="248" y="73"/>
                  </a:cubicBezTo>
                  <a:cubicBezTo>
                    <a:pt x="254" y="52"/>
                    <a:pt x="269" y="25"/>
                    <a:pt x="284" y="8"/>
                  </a:cubicBezTo>
                  <a:cubicBezTo>
                    <a:pt x="286" y="6"/>
                    <a:pt x="288" y="3"/>
                    <a:pt x="291" y="0"/>
                  </a:cubicBezTo>
                  <a:lnTo>
                    <a:pt x="0" y="0"/>
                  </a:lnTo>
                  <a:cubicBezTo>
                    <a:pt x="18" y="15"/>
                    <a:pt x="23" y="21"/>
                    <a:pt x="32" y="36"/>
                  </a:cubicBezTo>
                  <a:cubicBezTo>
                    <a:pt x="38" y="46"/>
                    <a:pt x="42" y="56"/>
                    <a:pt x="45" y="67"/>
                  </a:cubicBezTo>
                  <a:cubicBezTo>
                    <a:pt x="48" y="81"/>
                    <a:pt x="51" y="95"/>
                    <a:pt x="51" y="109"/>
                  </a:cubicBezTo>
                  <a:cubicBezTo>
                    <a:pt x="51" y="117"/>
                    <a:pt x="51" y="136"/>
                    <a:pt x="51" y="164"/>
                  </a:cubicBezTo>
                  <a:lnTo>
                    <a:pt x="52" y="216"/>
                  </a:lnTo>
                  <a:lnTo>
                    <a:pt x="52" y="473"/>
                  </a:lnTo>
                  <a:cubicBezTo>
                    <a:pt x="52" y="569"/>
                    <a:pt x="52" y="593"/>
                    <a:pt x="55" y="631"/>
                  </a:cubicBezTo>
                  <a:cubicBezTo>
                    <a:pt x="61" y="697"/>
                    <a:pt x="80" y="749"/>
                    <a:pt x="118" y="796"/>
                  </a:cubicBezTo>
                  <a:cubicBezTo>
                    <a:pt x="186" y="882"/>
                    <a:pt x="295" y="927"/>
                    <a:pt x="435" y="927"/>
                  </a:cubicBezTo>
                  <a:cubicBezTo>
                    <a:pt x="501" y="927"/>
                    <a:pt x="566" y="916"/>
                    <a:pt x="615" y="898"/>
                  </a:cubicBezTo>
                  <a:cubicBezTo>
                    <a:pt x="667" y="879"/>
                    <a:pt x="714" y="847"/>
                    <a:pt x="748" y="809"/>
                  </a:cubicBezTo>
                  <a:cubicBezTo>
                    <a:pt x="790" y="763"/>
                    <a:pt x="814" y="705"/>
                    <a:pt x="821" y="635"/>
                  </a:cubicBezTo>
                  <a:cubicBezTo>
                    <a:pt x="825" y="594"/>
                    <a:pt x="827" y="545"/>
                    <a:pt x="827" y="475"/>
                  </a:cubicBezTo>
                  <a:lnTo>
                    <a:pt x="827" y="217"/>
                  </a:lnTo>
                  <a:lnTo>
                    <a:pt x="826" y="165"/>
                  </a:lnTo>
                  <a:lnTo>
                    <a:pt x="826" y="155"/>
                  </a:lnTo>
                  <a:cubicBezTo>
                    <a:pt x="826" y="117"/>
                    <a:pt x="828" y="94"/>
                    <a:pt x="834" y="73"/>
                  </a:cubicBezTo>
                  <a:cubicBezTo>
                    <a:pt x="837" y="61"/>
                    <a:pt x="842" y="48"/>
                    <a:pt x="849" y="37"/>
                  </a:cubicBezTo>
                  <a:cubicBezTo>
                    <a:pt x="859" y="22"/>
                    <a:pt x="866" y="15"/>
                    <a:pt x="885" y="0"/>
                  </a:cubicBezTo>
                  <a:lnTo>
                    <a:pt x="599" y="0"/>
                  </a:lnTo>
                  <a:cubicBezTo>
                    <a:pt x="616" y="13"/>
                    <a:pt x="622" y="20"/>
                    <a:pt x="631"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9" name="Freeform 11">
              <a:extLst>
                <a:ext uri="{FF2B5EF4-FFF2-40B4-BE49-F238E27FC236}">
                  <a16:creationId xmlns:a16="http://schemas.microsoft.com/office/drawing/2014/main" id="{41247AD3-2593-4B15-AE2E-32BD9D241310}"/>
                </a:ext>
              </a:extLst>
            </p:cNvPr>
            <p:cNvSpPr>
              <a:spLocks/>
            </p:cNvSpPr>
            <p:nvPr userDrawn="1"/>
          </p:nvSpPr>
          <p:spPr bwMode="auto">
            <a:xfrm>
              <a:off x="381" y="197"/>
              <a:ext cx="77" cy="80"/>
            </a:xfrm>
            <a:custGeom>
              <a:avLst/>
              <a:gdLst>
                <a:gd name="T0" fmla="*/ 654 w 865"/>
                <a:gd name="T1" fmla="*/ 771 h 897"/>
                <a:gd name="T2" fmla="*/ 654 w 865"/>
                <a:gd name="T3" fmla="*/ 771 h 897"/>
                <a:gd name="T4" fmla="*/ 513 w 865"/>
                <a:gd name="T5" fmla="*/ 783 h 897"/>
                <a:gd name="T6" fmla="*/ 442 w 865"/>
                <a:gd name="T7" fmla="*/ 784 h 897"/>
                <a:gd name="T8" fmla="*/ 304 w 865"/>
                <a:gd name="T9" fmla="*/ 784 h 897"/>
                <a:gd name="T10" fmla="*/ 848 w 865"/>
                <a:gd name="T11" fmla="*/ 0 h 897"/>
                <a:gd name="T12" fmla="*/ 143 w 865"/>
                <a:gd name="T13" fmla="*/ 0 h 897"/>
                <a:gd name="T14" fmla="*/ 56 w 865"/>
                <a:gd name="T15" fmla="*/ 191 h 897"/>
                <a:gd name="T16" fmla="*/ 121 w 865"/>
                <a:gd name="T17" fmla="*/ 160 h 897"/>
                <a:gd name="T18" fmla="*/ 248 w 865"/>
                <a:gd name="T19" fmla="*/ 124 h 897"/>
                <a:gd name="T20" fmla="*/ 375 w 865"/>
                <a:gd name="T21" fmla="*/ 113 h 897"/>
                <a:gd name="T22" fmla="*/ 444 w 865"/>
                <a:gd name="T23" fmla="*/ 112 h 897"/>
                <a:gd name="T24" fmla="*/ 549 w 865"/>
                <a:gd name="T25" fmla="*/ 112 h 897"/>
                <a:gd name="T26" fmla="*/ 0 w 865"/>
                <a:gd name="T27" fmla="*/ 897 h 897"/>
                <a:gd name="T28" fmla="*/ 776 w 865"/>
                <a:gd name="T29" fmla="*/ 897 h 897"/>
                <a:gd name="T30" fmla="*/ 865 w 865"/>
                <a:gd name="T31" fmla="*/ 692 h 897"/>
                <a:gd name="T32" fmla="*/ 800 w 865"/>
                <a:gd name="T33" fmla="*/ 727 h 897"/>
                <a:gd name="T34" fmla="*/ 654 w 865"/>
                <a:gd name="T35" fmla="*/ 771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 h="897">
                  <a:moveTo>
                    <a:pt x="654" y="771"/>
                  </a:moveTo>
                  <a:lnTo>
                    <a:pt x="654" y="771"/>
                  </a:lnTo>
                  <a:cubicBezTo>
                    <a:pt x="614" y="778"/>
                    <a:pt x="569" y="782"/>
                    <a:pt x="513" y="783"/>
                  </a:cubicBezTo>
                  <a:cubicBezTo>
                    <a:pt x="495" y="784"/>
                    <a:pt x="471" y="784"/>
                    <a:pt x="442" y="784"/>
                  </a:cubicBezTo>
                  <a:lnTo>
                    <a:pt x="304" y="784"/>
                  </a:lnTo>
                  <a:lnTo>
                    <a:pt x="848" y="0"/>
                  </a:lnTo>
                  <a:lnTo>
                    <a:pt x="143" y="0"/>
                  </a:lnTo>
                  <a:lnTo>
                    <a:pt x="56" y="191"/>
                  </a:lnTo>
                  <a:cubicBezTo>
                    <a:pt x="85" y="176"/>
                    <a:pt x="96" y="170"/>
                    <a:pt x="121" y="160"/>
                  </a:cubicBezTo>
                  <a:cubicBezTo>
                    <a:pt x="162" y="144"/>
                    <a:pt x="206" y="132"/>
                    <a:pt x="248" y="124"/>
                  </a:cubicBezTo>
                  <a:cubicBezTo>
                    <a:pt x="285" y="118"/>
                    <a:pt x="319" y="115"/>
                    <a:pt x="375" y="113"/>
                  </a:cubicBezTo>
                  <a:cubicBezTo>
                    <a:pt x="400" y="112"/>
                    <a:pt x="423" y="112"/>
                    <a:pt x="444" y="112"/>
                  </a:cubicBezTo>
                  <a:lnTo>
                    <a:pt x="549" y="112"/>
                  </a:lnTo>
                  <a:lnTo>
                    <a:pt x="0" y="897"/>
                  </a:lnTo>
                  <a:lnTo>
                    <a:pt x="776" y="897"/>
                  </a:lnTo>
                  <a:lnTo>
                    <a:pt x="865" y="692"/>
                  </a:lnTo>
                  <a:cubicBezTo>
                    <a:pt x="834" y="710"/>
                    <a:pt x="823" y="716"/>
                    <a:pt x="800" y="727"/>
                  </a:cubicBezTo>
                  <a:cubicBezTo>
                    <a:pt x="754" y="747"/>
                    <a:pt x="705" y="762"/>
                    <a:pt x="654" y="7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0" name="Freeform 12">
              <a:extLst>
                <a:ext uri="{FF2B5EF4-FFF2-40B4-BE49-F238E27FC236}">
                  <a16:creationId xmlns:a16="http://schemas.microsoft.com/office/drawing/2014/main" id="{572ADC10-CD08-4D6A-B222-9D3819CDFDBB}"/>
                </a:ext>
              </a:extLst>
            </p:cNvPr>
            <p:cNvSpPr>
              <a:spLocks noEditPoints="1"/>
            </p:cNvSpPr>
            <p:nvPr userDrawn="1"/>
          </p:nvSpPr>
          <p:spPr bwMode="auto">
            <a:xfrm>
              <a:off x="850" y="167"/>
              <a:ext cx="18" cy="18"/>
            </a:xfrm>
            <a:custGeom>
              <a:avLst/>
              <a:gdLst>
                <a:gd name="T0" fmla="*/ 102 w 203"/>
                <a:gd name="T1" fmla="*/ 189 h 203"/>
                <a:gd name="T2" fmla="*/ 102 w 203"/>
                <a:gd name="T3" fmla="*/ 189 h 203"/>
                <a:gd name="T4" fmla="*/ 17 w 203"/>
                <a:gd name="T5" fmla="*/ 102 h 203"/>
                <a:gd name="T6" fmla="*/ 102 w 203"/>
                <a:gd name="T7" fmla="*/ 15 h 203"/>
                <a:gd name="T8" fmla="*/ 187 w 203"/>
                <a:gd name="T9" fmla="*/ 102 h 203"/>
                <a:gd name="T10" fmla="*/ 102 w 203"/>
                <a:gd name="T11" fmla="*/ 189 h 203"/>
                <a:gd name="T12" fmla="*/ 102 w 203"/>
                <a:gd name="T13" fmla="*/ 189 h 203"/>
                <a:gd name="T14" fmla="*/ 102 w 203"/>
                <a:gd name="T15" fmla="*/ 0 h 203"/>
                <a:gd name="T16" fmla="*/ 102 w 203"/>
                <a:gd name="T17" fmla="*/ 0 h 203"/>
                <a:gd name="T18" fmla="*/ 0 w 203"/>
                <a:gd name="T19" fmla="*/ 102 h 203"/>
                <a:gd name="T20" fmla="*/ 102 w 203"/>
                <a:gd name="T21" fmla="*/ 203 h 203"/>
                <a:gd name="T22" fmla="*/ 203 w 203"/>
                <a:gd name="T23" fmla="*/ 102 h 203"/>
                <a:gd name="T24" fmla="*/ 102 w 203"/>
                <a:gd name="T2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203">
                  <a:moveTo>
                    <a:pt x="102" y="189"/>
                  </a:moveTo>
                  <a:lnTo>
                    <a:pt x="102" y="189"/>
                  </a:lnTo>
                  <a:cubicBezTo>
                    <a:pt x="54" y="189"/>
                    <a:pt x="17" y="154"/>
                    <a:pt x="17" y="102"/>
                  </a:cubicBezTo>
                  <a:cubicBezTo>
                    <a:pt x="17" y="50"/>
                    <a:pt x="54" y="15"/>
                    <a:pt x="102" y="15"/>
                  </a:cubicBezTo>
                  <a:cubicBezTo>
                    <a:pt x="150" y="15"/>
                    <a:pt x="187" y="50"/>
                    <a:pt x="187" y="102"/>
                  </a:cubicBezTo>
                  <a:cubicBezTo>
                    <a:pt x="187" y="154"/>
                    <a:pt x="150" y="189"/>
                    <a:pt x="102" y="189"/>
                  </a:cubicBezTo>
                  <a:lnTo>
                    <a:pt x="102" y="189"/>
                  </a:lnTo>
                  <a:close/>
                  <a:moveTo>
                    <a:pt x="102" y="0"/>
                  </a:moveTo>
                  <a:lnTo>
                    <a:pt x="102" y="0"/>
                  </a:lnTo>
                  <a:cubicBezTo>
                    <a:pt x="46" y="0"/>
                    <a:pt x="0" y="42"/>
                    <a:pt x="0" y="102"/>
                  </a:cubicBezTo>
                  <a:cubicBezTo>
                    <a:pt x="0" y="162"/>
                    <a:pt x="46" y="203"/>
                    <a:pt x="102" y="203"/>
                  </a:cubicBezTo>
                  <a:cubicBezTo>
                    <a:pt x="158" y="203"/>
                    <a:pt x="203" y="162"/>
                    <a:pt x="203" y="102"/>
                  </a:cubicBezTo>
                  <a:cubicBezTo>
                    <a:pt x="203" y="42"/>
                    <a:pt x="158" y="0"/>
                    <a:pt x="10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1" name="Freeform 13">
              <a:extLst>
                <a:ext uri="{FF2B5EF4-FFF2-40B4-BE49-F238E27FC236}">
                  <a16:creationId xmlns:a16="http://schemas.microsoft.com/office/drawing/2014/main" id="{398F446D-EC4D-4BFB-87DA-8DE6584F8CF0}"/>
                </a:ext>
              </a:extLst>
            </p:cNvPr>
            <p:cNvSpPr>
              <a:spLocks noEditPoints="1"/>
            </p:cNvSpPr>
            <p:nvPr userDrawn="1"/>
          </p:nvSpPr>
          <p:spPr bwMode="auto">
            <a:xfrm>
              <a:off x="856" y="171"/>
              <a:ext cx="7" cy="9"/>
            </a:xfrm>
            <a:custGeom>
              <a:avLst/>
              <a:gdLst>
                <a:gd name="T0" fmla="*/ 40 w 87"/>
                <a:gd name="T1" fmla="*/ 50 h 107"/>
                <a:gd name="T2" fmla="*/ 40 w 87"/>
                <a:gd name="T3" fmla="*/ 50 h 107"/>
                <a:gd name="T4" fmla="*/ 15 w 87"/>
                <a:gd name="T5" fmla="*/ 50 h 107"/>
                <a:gd name="T6" fmla="*/ 15 w 87"/>
                <a:gd name="T7" fmla="*/ 16 h 107"/>
                <a:gd name="T8" fmla="*/ 38 w 87"/>
                <a:gd name="T9" fmla="*/ 16 h 107"/>
                <a:gd name="T10" fmla="*/ 66 w 87"/>
                <a:gd name="T11" fmla="*/ 33 h 107"/>
                <a:gd name="T12" fmla="*/ 40 w 87"/>
                <a:gd name="T13" fmla="*/ 50 h 107"/>
                <a:gd name="T14" fmla="*/ 40 w 87"/>
                <a:gd name="T15" fmla="*/ 50 h 107"/>
                <a:gd name="T16" fmla="*/ 83 w 87"/>
                <a:gd name="T17" fmla="*/ 33 h 107"/>
                <a:gd name="T18" fmla="*/ 83 w 87"/>
                <a:gd name="T19" fmla="*/ 33 h 107"/>
                <a:gd name="T20" fmla="*/ 32 w 87"/>
                <a:gd name="T21" fmla="*/ 0 h 107"/>
                <a:gd name="T22" fmla="*/ 0 w 87"/>
                <a:gd name="T23" fmla="*/ 0 h 107"/>
                <a:gd name="T24" fmla="*/ 0 w 87"/>
                <a:gd name="T25" fmla="*/ 107 h 107"/>
                <a:gd name="T26" fmla="*/ 15 w 87"/>
                <a:gd name="T27" fmla="*/ 107 h 107"/>
                <a:gd name="T28" fmla="*/ 15 w 87"/>
                <a:gd name="T29" fmla="*/ 66 h 107"/>
                <a:gd name="T30" fmla="*/ 44 w 87"/>
                <a:gd name="T31" fmla="*/ 66 h 107"/>
                <a:gd name="T32" fmla="*/ 46 w 87"/>
                <a:gd name="T33" fmla="*/ 65 h 107"/>
                <a:gd name="T34" fmla="*/ 69 w 87"/>
                <a:gd name="T35" fmla="*/ 107 h 107"/>
                <a:gd name="T36" fmla="*/ 87 w 87"/>
                <a:gd name="T37" fmla="*/ 107 h 107"/>
                <a:gd name="T38" fmla="*/ 62 w 87"/>
                <a:gd name="T39" fmla="*/ 62 h 107"/>
                <a:gd name="T40" fmla="*/ 83 w 87"/>
                <a:gd name="T41"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107">
                  <a:moveTo>
                    <a:pt x="40" y="50"/>
                  </a:moveTo>
                  <a:lnTo>
                    <a:pt x="40" y="50"/>
                  </a:lnTo>
                  <a:lnTo>
                    <a:pt x="15" y="50"/>
                  </a:lnTo>
                  <a:lnTo>
                    <a:pt x="15" y="16"/>
                  </a:lnTo>
                  <a:lnTo>
                    <a:pt x="38" y="16"/>
                  </a:lnTo>
                  <a:cubicBezTo>
                    <a:pt x="54" y="16"/>
                    <a:pt x="66" y="19"/>
                    <a:pt x="66" y="33"/>
                  </a:cubicBezTo>
                  <a:cubicBezTo>
                    <a:pt x="66" y="45"/>
                    <a:pt x="58" y="50"/>
                    <a:pt x="40" y="50"/>
                  </a:cubicBezTo>
                  <a:lnTo>
                    <a:pt x="40" y="50"/>
                  </a:lnTo>
                  <a:close/>
                  <a:moveTo>
                    <a:pt x="83" y="33"/>
                  </a:moveTo>
                  <a:lnTo>
                    <a:pt x="83" y="33"/>
                  </a:lnTo>
                  <a:cubicBezTo>
                    <a:pt x="83" y="5"/>
                    <a:pt x="64" y="0"/>
                    <a:pt x="32" y="0"/>
                  </a:cubicBezTo>
                  <a:lnTo>
                    <a:pt x="0" y="0"/>
                  </a:lnTo>
                  <a:lnTo>
                    <a:pt x="0" y="107"/>
                  </a:lnTo>
                  <a:lnTo>
                    <a:pt x="15" y="107"/>
                  </a:lnTo>
                  <a:lnTo>
                    <a:pt x="15" y="66"/>
                  </a:lnTo>
                  <a:lnTo>
                    <a:pt x="44" y="66"/>
                  </a:lnTo>
                  <a:cubicBezTo>
                    <a:pt x="45" y="66"/>
                    <a:pt x="46" y="66"/>
                    <a:pt x="46" y="65"/>
                  </a:cubicBezTo>
                  <a:lnTo>
                    <a:pt x="69" y="107"/>
                  </a:lnTo>
                  <a:lnTo>
                    <a:pt x="87" y="107"/>
                  </a:lnTo>
                  <a:lnTo>
                    <a:pt x="62" y="62"/>
                  </a:lnTo>
                  <a:cubicBezTo>
                    <a:pt x="76" y="56"/>
                    <a:pt x="83" y="45"/>
                    <a:pt x="83" y="3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grpSp>
      <p:sp>
        <p:nvSpPr>
          <p:cNvPr id="37" name="Picture Placeholder 23">
            <a:extLst>
              <a:ext uri="{FF2B5EF4-FFF2-40B4-BE49-F238E27FC236}">
                <a16:creationId xmlns:a16="http://schemas.microsoft.com/office/drawing/2014/main" id="{632F94C8-BFF9-44C4-AD1A-92E5E5E20C6E}"/>
              </a:ext>
            </a:extLst>
          </p:cNvPr>
          <p:cNvSpPr>
            <a:spLocks noGrp="1" noChangeAspect="1"/>
          </p:cNvSpPr>
          <p:nvPr>
            <p:ph type="pic" sz="quarter" idx="19"/>
          </p:nvPr>
        </p:nvSpPr>
        <p:spPr>
          <a:xfrm>
            <a:off x="6813533" y="1274619"/>
            <a:ext cx="5039466" cy="5040000"/>
          </a:xfrm>
          <a:custGeom>
            <a:avLst/>
            <a:gdLst>
              <a:gd name="connsiteX0" fmla="*/ 991609 w 1983218"/>
              <a:gd name="connsiteY0" fmla="*/ 0 h 1983428"/>
              <a:gd name="connsiteX1" fmla="*/ 1983218 w 1983218"/>
              <a:gd name="connsiteY1" fmla="*/ 991609 h 1983428"/>
              <a:gd name="connsiteX2" fmla="*/ 991399 w 1983218"/>
              <a:gd name="connsiteY2" fmla="*/ 1983428 h 1983428"/>
              <a:gd name="connsiteX3" fmla="*/ 237390 w 1983218"/>
              <a:gd name="connsiteY3" fmla="*/ 1635494 h 1983428"/>
              <a:gd name="connsiteX4" fmla="*/ 287345 w 1983218"/>
              <a:gd name="connsiteY4" fmla="*/ 1620941 h 1983428"/>
              <a:gd name="connsiteX5" fmla="*/ 339399 w 1983218"/>
              <a:gd name="connsiteY5" fmla="*/ 1616744 h 1983428"/>
              <a:gd name="connsiteX6" fmla="*/ 446934 w 1983218"/>
              <a:gd name="connsiteY6" fmla="*/ 1627798 h 1983428"/>
              <a:gd name="connsiteX7" fmla="*/ 538448 w 1983218"/>
              <a:gd name="connsiteY7" fmla="*/ 1637663 h 1983428"/>
              <a:gd name="connsiteX8" fmla="*/ 542996 w 1983218"/>
              <a:gd name="connsiteY8" fmla="*/ 1637593 h 1983428"/>
              <a:gd name="connsiteX9" fmla="*/ 620377 w 1983218"/>
              <a:gd name="connsiteY9" fmla="*/ 1612126 h 1983428"/>
              <a:gd name="connsiteX10" fmla="*/ 672640 w 1983218"/>
              <a:gd name="connsiteY10" fmla="*/ 1542861 h 1983428"/>
              <a:gd name="connsiteX11" fmla="*/ 686703 w 1983218"/>
              <a:gd name="connsiteY11" fmla="*/ 1502981 h 1983428"/>
              <a:gd name="connsiteX12" fmla="*/ 672570 w 1983218"/>
              <a:gd name="connsiteY12" fmla="*/ 1499413 h 1983428"/>
              <a:gd name="connsiteX13" fmla="*/ 667883 w 1983218"/>
              <a:gd name="connsiteY13" fmla="*/ 1508928 h 1983428"/>
              <a:gd name="connsiteX14" fmla="*/ 620517 w 1983218"/>
              <a:gd name="connsiteY14" fmla="*/ 1562941 h 1983428"/>
              <a:gd name="connsiteX15" fmla="*/ 586304 w 1983218"/>
              <a:gd name="connsiteY15" fmla="*/ 1579382 h 1983428"/>
              <a:gd name="connsiteX16" fmla="*/ 530752 w 1983218"/>
              <a:gd name="connsiteY16" fmla="*/ 1586029 h 1983428"/>
              <a:gd name="connsiteX17" fmla="*/ 488703 w 1983218"/>
              <a:gd name="connsiteY17" fmla="*/ 1584560 h 1983428"/>
              <a:gd name="connsiteX18" fmla="*/ 441757 w 1983218"/>
              <a:gd name="connsiteY18" fmla="*/ 1581621 h 1983428"/>
              <a:gd name="connsiteX19" fmla="*/ 392992 w 1983218"/>
              <a:gd name="connsiteY19" fmla="*/ 1579662 h 1983428"/>
              <a:gd name="connsiteX20" fmla="*/ 355001 w 1983218"/>
              <a:gd name="connsiteY20" fmla="*/ 1581551 h 1983428"/>
              <a:gd name="connsiteX21" fmla="*/ 619327 w 1983218"/>
              <a:gd name="connsiteY21" fmla="*/ 1228160 h 1983428"/>
              <a:gd name="connsiteX22" fmla="*/ 286715 w 1983218"/>
              <a:gd name="connsiteY22" fmla="*/ 1228160 h 1983428"/>
              <a:gd name="connsiteX23" fmla="*/ 260688 w 1983218"/>
              <a:gd name="connsiteY23" fmla="*/ 1328349 h 1983428"/>
              <a:gd name="connsiteX24" fmla="*/ 276221 w 1983218"/>
              <a:gd name="connsiteY24" fmla="*/ 1331847 h 1983428"/>
              <a:gd name="connsiteX25" fmla="*/ 280558 w 1983218"/>
              <a:gd name="connsiteY25" fmla="*/ 1323592 h 1983428"/>
              <a:gd name="connsiteX26" fmla="*/ 313092 w 1983218"/>
              <a:gd name="connsiteY26" fmla="*/ 1284901 h 1983428"/>
              <a:gd name="connsiteX27" fmla="*/ 345625 w 1983218"/>
              <a:gd name="connsiteY27" fmla="*/ 1271608 h 1983428"/>
              <a:gd name="connsiteX28" fmla="*/ 424825 w 1983218"/>
              <a:gd name="connsiteY28" fmla="*/ 1265451 h 1983428"/>
              <a:gd name="connsiteX29" fmla="*/ 453161 w 1983218"/>
              <a:gd name="connsiteY29" fmla="*/ 1265521 h 1983428"/>
              <a:gd name="connsiteX30" fmla="*/ 481777 w 1983218"/>
              <a:gd name="connsiteY30" fmla="*/ 1265451 h 1983428"/>
              <a:gd name="connsiteX31" fmla="*/ 218150 w 1983218"/>
              <a:gd name="connsiteY31" fmla="*/ 1611846 h 1983428"/>
              <a:gd name="connsiteX32" fmla="*/ 0 w 1983218"/>
              <a:gd name="connsiteY32" fmla="*/ 991609 h 1983428"/>
              <a:gd name="connsiteX33" fmla="*/ 991609 w 1983218"/>
              <a:gd name="connsiteY33" fmla="*/ 0 h 198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83218" h="1983428">
                <a:moveTo>
                  <a:pt x="991609" y="0"/>
                </a:moveTo>
                <a:cubicBezTo>
                  <a:pt x="1539293" y="0"/>
                  <a:pt x="1983218" y="443996"/>
                  <a:pt x="1983218" y="991609"/>
                </a:cubicBezTo>
                <a:cubicBezTo>
                  <a:pt x="1983218" y="1539293"/>
                  <a:pt x="1539293" y="1983218"/>
                  <a:pt x="991399" y="1983428"/>
                </a:cubicBezTo>
                <a:cubicBezTo>
                  <a:pt x="689502" y="1983428"/>
                  <a:pt x="419298" y="1848327"/>
                  <a:pt x="237390" y="1635494"/>
                </a:cubicBezTo>
                <a:cubicBezTo>
                  <a:pt x="256211" y="1627098"/>
                  <a:pt x="265516" y="1624370"/>
                  <a:pt x="287345" y="1620941"/>
                </a:cubicBezTo>
                <a:cubicBezTo>
                  <a:pt x="304696" y="1618073"/>
                  <a:pt x="321418" y="1616744"/>
                  <a:pt x="339399" y="1616744"/>
                </a:cubicBezTo>
                <a:cubicBezTo>
                  <a:pt x="366265" y="1616744"/>
                  <a:pt x="393481" y="1619542"/>
                  <a:pt x="446934" y="1627798"/>
                </a:cubicBezTo>
                <a:cubicBezTo>
                  <a:pt x="499548" y="1635844"/>
                  <a:pt x="516479" y="1637663"/>
                  <a:pt x="538448" y="1637663"/>
                </a:cubicBezTo>
                <a:lnTo>
                  <a:pt x="542996" y="1637593"/>
                </a:lnTo>
                <a:cubicBezTo>
                  <a:pt x="572661" y="1637103"/>
                  <a:pt x="597708" y="1628917"/>
                  <a:pt x="620377" y="1612126"/>
                </a:cubicBezTo>
                <a:cubicBezTo>
                  <a:pt x="642416" y="1595824"/>
                  <a:pt x="658437" y="1574555"/>
                  <a:pt x="672640" y="1542861"/>
                </a:cubicBezTo>
                <a:cubicBezTo>
                  <a:pt x="679707" y="1527189"/>
                  <a:pt x="682086" y="1520472"/>
                  <a:pt x="686703" y="1502981"/>
                </a:cubicBezTo>
                <a:lnTo>
                  <a:pt x="672570" y="1499413"/>
                </a:lnTo>
                <a:cubicBezTo>
                  <a:pt x="670681" y="1503681"/>
                  <a:pt x="668932" y="1506829"/>
                  <a:pt x="667883" y="1508928"/>
                </a:cubicBezTo>
                <a:cubicBezTo>
                  <a:pt x="657108" y="1529568"/>
                  <a:pt x="639057" y="1550067"/>
                  <a:pt x="620517" y="1562941"/>
                </a:cubicBezTo>
                <a:cubicBezTo>
                  <a:pt x="609882" y="1570077"/>
                  <a:pt x="598408" y="1575674"/>
                  <a:pt x="586304" y="1579382"/>
                </a:cubicBezTo>
                <a:cubicBezTo>
                  <a:pt x="570702" y="1584140"/>
                  <a:pt x="554960" y="1586029"/>
                  <a:pt x="530752" y="1586029"/>
                </a:cubicBezTo>
                <a:cubicBezTo>
                  <a:pt x="519907" y="1586029"/>
                  <a:pt x="505565" y="1585539"/>
                  <a:pt x="488703" y="1584560"/>
                </a:cubicBezTo>
                <a:lnTo>
                  <a:pt x="441757" y="1581621"/>
                </a:lnTo>
                <a:cubicBezTo>
                  <a:pt x="419998" y="1580362"/>
                  <a:pt x="403696" y="1579662"/>
                  <a:pt x="392992" y="1579662"/>
                </a:cubicBezTo>
                <a:cubicBezTo>
                  <a:pt x="379069" y="1579662"/>
                  <a:pt x="372142" y="1580012"/>
                  <a:pt x="355001" y="1581551"/>
                </a:cubicBezTo>
                <a:lnTo>
                  <a:pt x="619327" y="1228160"/>
                </a:lnTo>
                <a:lnTo>
                  <a:pt x="286715" y="1228160"/>
                </a:lnTo>
                <a:lnTo>
                  <a:pt x="260688" y="1328349"/>
                </a:lnTo>
                <a:lnTo>
                  <a:pt x="276221" y="1331847"/>
                </a:lnTo>
                <a:cubicBezTo>
                  <a:pt x="278110" y="1327999"/>
                  <a:pt x="279579" y="1325411"/>
                  <a:pt x="280558" y="1323592"/>
                </a:cubicBezTo>
                <a:cubicBezTo>
                  <a:pt x="289234" y="1308059"/>
                  <a:pt x="302527" y="1292317"/>
                  <a:pt x="313092" y="1284901"/>
                </a:cubicBezTo>
                <a:cubicBezTo>
                  <a:pt x="322117" y="1278534"/>
                  <a:pt x="333172" y="1274057"/>
                  <a:pt x="345625" y="1271608"/>
                </a:cubicBezTo>
                <a:cubicBezTo>
                  <a:pt x="366125" y="1267620"/>
                  <a:pt x="394531" y="1265451"/>
                  <a:pt x="424825" y="1265451"/>
                </a:cubicBezTo>
                <a:lnTo>
                  <a:pt x="453161" y="1265521"/>
                </a:lnTo>
                <a:lnTo>
                  <a:pt x="481777" y="1265451"/>
                </a:lnTo>
                <a:lnTo>
                  <a:pt x="218150" y="1611846"/>
                </a:lnTo>
                <a:cubicBezTo>
                  <a:pt x="81789" y="1441972"/>
                  <a:pt x="0" y="1226411"/>
                  <a:pt x="0" y="991609"/>
                </a:cubicBezTo>
                <a:cubicBezTo>
                  <a:pt x="0" y="443996"/>
                  <a:pt x="443996" y="0"/>
                  <a:pt x="991609" y="0"/>
                </a:cubicBezTo>
                <a:close/>
              </a:path>
            </a:pathLst>
          </a:custGeom>
        </p:spPr>
        <p:txBody>
          <a:bodyPr wrap="square">
            <a:noAutofit/>
          </a:bodyPr>
          <a:lstStyle>
            <a:lvl1pPr marL="0" indent="0" algn="ctr">
              <a:buNone/>
              <a:defRPr>
                <a:latin typeface="+mn-lt"/>
                <a:cs typeface="Arial" panose="020B0604020202020204" pitchFamily="34" charset="0"/>
              </a:defRPr>
            </a:lvl1pPr>
          </a:lstStyle>
          <a:p>
            <a:r>
              <a:rPr lang="nl-NL"/>
              <a:t>Klik op het pictogram als u een afbeelding wilt toevoegen</a:t>
            </a:r>
            <a:endParaRPr lang="en-US"/>
          </a:p>
        </p:txBody>
      </p:sp>
      <p:sp>
        <p:nvSpPr>
          <p:cNvPr id="33" name="Slide Number Placeholder 5">
            <a:extLst>
              <a:ext uri="{FF2B5EF4-FFF2-40B4-BE49-F238E27FC236}">
                <a16:creationId xmlns:a16="http://schemas.microsoft.com/office/drawing/2014/main" id="{2940119E-5F10-4EB4-B937-FD54D145016C}"/>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5" name="Footer Placeholder 3">
            <a:extLst>
              <a:ext uri="{FF2B5EF4-FFF2-40B4-BE49-F238E27FC236}">
                <a16:creationId xmlns:a16="http://schemas.microsoft.com/office/drawing/2014/main" id="{40454D8E-1F3F-4D16-AA7F-FBF0AED1BC21}"/>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97614951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text box, Safe Space image_2">
    <p:spTree>
      <p:nvGrpSpPr>
        <p:cNvPr id="1" name=""/>
        <p:cNvGrpSpPr/>
        <p:nvPr/>
      </p:nvGrpSpPr>
      <p:grpSpPr>
        <a:xfrm>
          <a:off x="0" y="0"/>
          <a:ext cx="0" cy="0"/>
          <a:chOff x="0" y="0"/>
          <a:chExt cx="0" cy="0"/>
        </a:xfrm>
      </p:grpSpPr>
      <p:sp>
        <p:nvSpPr>
          <p:cNvPr id="3" name="Content Placeholder 2"/>
          <p:cNvSpPr>
            <a:spLocks noGrp="1"/>
          </p:cNvSpPr>
          <p:nvPr>
            <p:ph idx="1"/>
          </p:nvPr>
        </p:nvSpPr>
        <p:spPr>
          <a:xfrm>
            <a:off x="250824" y="1206178"/>
            <a:ext cx="5573967"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20" name="Title 1">
            <a:extLst>
              <a:ext uri="{FF2B5EF4-FFF2-40B4-BE49-F238E27FC236}">
                <a16:creationId xmlns:a16="http://schemas.microsoft.com/office/drawing/2014/main" id="{C29EECA6-DA60-0545-94DA-DA2F8B81238E}"/>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nl-NL"/>
              <a:t>Klik om stijl te bewerken</a:t>
            </a:r>
            <a:endParaRPr lang="en-US"/>
          </a:p>
        </p:txBody>
      </p:sp>
      <p:sp>
        <p:nvSpPr>
          <p:cNvPr id="21" name="Subtitle 2">
            <a:extLst>
              <a:ext uri="{FF2B5EF4-FFF2-40B4-BE49-F238E27FC236}">
                <a16:creationId xmlns:a16="http://schemas.microsoft.com/office/drawing/2014/main" id="{78EE7002-C39A-5A48-B25E-20539A4FFD23}"/>
              </a:ext>
            </a:extLst>
          </p:cNvPr>
          <p:cNvSpPr>
            <a:spLocks noGrp="1"/>
          </p:cNvSpPr>
          <p:nvPr>
            <p:ph type="subTitle" idx="14"/>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nl-NL"/>
              <a:t>Klikken om de ondertitelstijl van het model te bewerken</a:t>
            </a:r>
            <a:endParaRPr lang="en-GB" noProof="0"/>
          </a:p>
        </p:txBody>
      </p:sp>
      <p:grpSp>
        <p:nvGrpSpPr>
          <p:cNvPr id="19" name="Group 4">
            <a:extLst>
              <a:ext uri="{FF2B5EF4-FFF2-40B4-BE49-F238E27FC236}">
                <a16:creationId xmlns:a16="http://schemas.microsoft.com/office/drawing/2014/main" id="{7F57E830-3329-4063-98C7-AA1FC1445B73}"/>
              </a:ext>
            </a:extLst>
          </p:cNvPr>
          <p:cNvGrpSpPr>
            <a:grpSpLocks noChangeAspect="1"/>
          </p:cNvGrpSpPr>
          <p:nvPr userDrawn="1"/>
        </p:nvGrpSpPr>
        <p:grpSpPr bwMode="auto">
          <a:xfrm>
            <a:off x="10178596" y="158751"/>
            <a:ext cx="1773767" cy="683683"/>
            <a:chOff x="79" y="75"/>
            <a:chExt cx="838" cy="323"/>
          </a:xfrm>
          <a:solidFill>
            <a:schemeClr val="accent1"/>
          </a:solidFill>
        </p:grpSpPr>
        <p:sp>
          <p:nvSpPr>
            <p:cNvPr id="22" name="AutoShape 3">
              <a:extLst>
                <a:ext uri="{FF2B5EF4-FFF2-40B4-BE49-F238E27FC236}">
                  <a16:creationId xmlns:a16="http://schemas.microsoft.com/office/drawing/2014/main" id="{688840B2-0A92-4968-8A8C-8571322121EC}"/>
                </a:ext>
              </a:extLst>
            </p:cNvPr>
            <p:cNvSpPr>
              <a:spLocks noChangeAspect="1" noChangeArrowheads="1" noTextEdit="1"/>
            </p:cNvSpPr>
            <p:nvPr userDrawn="1"/>
          </p:nvSpPr>
          <p:spPr bwMode="auto">
            <a:xfrm>
              <a:off x="79" y="75"/>
              <a:ext cx="838" cy="32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3" name="Freeform 5">
              <a:extLst>
                <a:ext uri="{FF2B5EF4-FFF2-40B4-BE49-F238E27FC236}">
                  <a16:creationId xmlns:a16="http://schemas.microsoft.com/office/drawing/2014/main" id="{41BDBAC3-497E-41B0-8987-40DE00FB5A70}"/>
                </a:ext>
              </a:extLst>
            </p:cNvPr>
            <p:cNvSpPr>
              <a:spLocks/>
            </p:cNvSpPr>
            <p:nvPr userDrawn="1"/>
          </p:nvSpPr>
          <p:spPr bwMode="auto">
            <a:xfrm>
              <a:off x="159" y="155"/>
              <a:ext cx="163" cy="164"/>
            </a:xfrm>
            <a:custGeom>
              <a:avLst/>
              <a:gdLst>
                <a:gd name="T0" fmla="*/ 920 w 1841"/>
                <a:gd name="T1" fmla="*/ 0 h 1842"/>
                <a:gd name="T2" fmla="*/ 920 w 1841"/>
                <a:gd name="T3" fmla="*/ 0 h 1842"/>
                <a:gd name="T4" fmla="*/ 0 w 1841"/>
                <a:gd name="T5" fmla="*/ 921 h 1842"/>
                <a:gd name="T6" fmla="*/ 0 w 1841"/>
                <a:gd name="T7" fmla="*/ 921 h 1842"/>
                <a:gd name="T8" fmla="*/ 188 w 1841"/>
                <a:gd name="T9" fmla="*/ 1479 h 1842"/>
                <a:gd name="T10" fmla="*/ 954 w 1841"/>
                <a:gd name="T11" fmla="*/ 473 h 1842"/>
                <a:gd name="T12" fmla="*/ 871 w 1841"/>
                <a:gd name="T13" fmla="*/ 474 h 1842"/>
                <a:gd name="T14" fmla="*/ 790 w 1841"/>
                <a:gd name="T15" fmla="*/ 473 h 1842"/>
                <a:gd name="T16" fmla="*/ 561 w 1841"/>
                <a:gd name="T17" fmla="*/ 491 h 1842"/>
                <a:gd name="T18" fmla="*/ 467 w 1841"/>
                <a:gd name="T19" fmla="*/ 530 h 1842"/>
                <a:gd name="T20" fmla="*/ 374 w 1841"/>
                <a:gd name="T21" fmla="*/ 641 h 1842"/>
                <a:gd name="T22" fmla="*/ 361 w 1841"/>
                <a:gd name="T23" fmla="*/ 665 h 1842"/>
                <a:gd name="T24" fmla="*/ 316 w 1841"/>
                <a:gd name="T25" fmla="*/ 655 h 1842"/>
                <a:gd name="T26" fmla="*/ 392 w 1841"/>
                <a:gd name="T27" fmla="*/ 366 h 1842"/>
                <a:gd name="T28" fmla="*/ 1350 w 1841"/>
                <a:gd name="T29" fmla="*/ 366 h 1842"/>
                <a:gd name="T30" fmla="*/ 588 w 1841"/>
                <a:gd name="T31" fmla="*/ 1385 h 1842"/>
                <a:gd name="T32" fmla="*/ 698 w 1841"/>
                <a:gd name="T33" fmla="*/ 1379 h 1842"/>
                <a:gd name="T34" fmla="*/ 839 w 1841"/>
                <a:gd name="T35" fmla="*/ 1385 h 1842"/>
                <a:gd name="T36" fmla="*/ 974 w 1841"/>
                <a:gd name="T37" fmla="*/ 1393 h 1842"/>
                <a:gd name="T38" fmla="*/ 1095 w 1841"/>
                <a:gd name="T39" fmla="*/ 1397 h 1842"/>
                <a:gd name="T40" fmla="*/ 1255 w 1841"/>
                <a:gd name="T41" fmla="*/ 1378 h 1842"/>
                <a:gd name="T42" fmla="*/ 1354 w 1841"/>
                <a:gd name="T43" fmla="*/ 1331 h 1842"/>
                <a:gd name="T44" fmla="*/ 1491 w 1841"/>
                <a:gd name="T45" fmla="*/ 1175 h 1842"/>
                <a:gd name="T46" fmla="*/ 1504 w 1841"/>
                <a:gd name="T47" fmla="*/ 1147 h 1842"/>
                <a:gd name="T48" fmla="*/ 1545 w 1841"/>
                <a:gd name="T49" fmla="*/ 1158 h 1842"/>
                <a:gd name="T50" fmla="*/ 1505 w 1841"/>
                <a:gd name="T51" fmla="*/ 1273 h 1842"/>
                <a:gd name="T52" fmla="*/ 1354 w 1841"/>
                <a:gd name="T53" fmla="*/ 1472 h 1842"/>
                <a:gd name="T54" fmla="*/ 1131 w 1841"/>
                <a:gd name="T55" fmla="*/ 1546 h 1842"/>
                <a:gd name="T56" fmla="*/ 1118 w 1841"/>
                <a:gd name="T57" fmla="*/ 1546 h 1842"/>
                <a:gd name="T58" fmla="*/ 854 w 1841"/>
                <a:gd name="T59" fmla="*/ 1518 h 1842"/>
                <a:gd name="T60" fmla="*/ 544 w 1841"/>
                <a:gd name="T61" fmla="*/ 1486 h 1842"/>
                <a:gd name="T62" fmla="*/ 394 w 1841"/>
                <a:gd name="T63" fmla="*/ 1498 h 1842"/>
                <a:gd name="T64" fmla="*/ 242 w 1841"/>
                <a:gd name="T65" fmla="*/ 1543 h 1842"/>
                <a:gd name="T66" fmla="*/ 920 w 1841"/>
                <a:gd name="T67" fmla="*/ 1842 h 1842"/>
                <a:gd name="T68" fmla="*/ 1841 w 1841"/>
                <a:gd name="T69" fmla="*/ 921 h 1842"/>
                <a:gd name="T70" fmla="*/ 920 w 1841"/>
                <a:gd name="T71" fmla="*/ 0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41" h="1842">
                  <a:moveTo>
                    <a:pt x="920" y="0"/>
                  </a:moveTo>
                  <a:lnTo>
                    <a:pt x="920" y="0"/>
                  </a:lnTo>
                  <a:cubicBezTo>
                    <a:pt x="412" y="0"/>
                    <a:pt x="0" y="412"/>
                    <a:pt x="0" y="921"/>
                  </a:cubicBezTo>
                  <a:lnTo>
                    <a:pt x="0" y="921"/>
                  </a:lnTo>
                  <a:cubicBezTo>
                    <a:pt x="0" y="1131"/>
                    <a:pt x="70" y="1325"/>
                    <a:pt x="188" y="1479"/>
                  </a:cubicBezTo>
                  <a:lnTo>
                    <a:pt x="954" y="473"/>
                  </a:lnTo>
                  <a:lnTo>
                    <a:pt x="871" y="474"/>
                  </a:lnTo>
                  <a:lnTo>
                    <a:pt x="790" y="473"/>
                  </a:lnTo>
                  <a:cubicBezTo>
                    <a:pt x="702" y="473"/>
                    <a:pt x="620" y="480"/>
                    <a:pt x="561" y="491"/>
                  </a:cubicBezTo>
                  <a:cubicBezTo>
                    <a:pt x="525" y="498"/>
                    <a:pt x="493" y="511"/>
                    <a:pt x="467" y="530"/>
                  </a:cubicBezTo>
                  <a:cubicBezTo>
                    <a:pt x="437" y="551"/>
                    <a:pt x="399" y="596"/>
                    <a:pt x="374" y="641"/>
                  </a:cubicBezTo>
                  <a:cubicBezTo>
                    <a:pt x="371" y="646"/>
                    <a:pt x="367" y="654"/>
                    <a:pt x="361" y="665"/>
                  </a:cubicBezTo>
                  <a:lnTo>
                    <a:pt x="316" y="655"/>
                  </a:lnTo>
                  <a:lnTo>
                    <a:pt x="392" y="366"/>
                  </a:lnTo>
                  <a:lnTo>
                    <a:pt x="1350" y="366"/>
                  </a:lnTo>
                  <a:lnTo>
                    <a:pt x="588" y="1385"/>
                  </a:lnTo>
                  <a:cubicBezTo>
                    <a:pt x="638" y="1380"/>
                    <a:pt x="658" y="1379"/>
                    <a:pt x="698" y="1379"/>
                  </a:cubicBezTo>
                  <a:cubicBezTo>
                    <a:pt x="729" y="1379"/>
                    <a:pt x="776" y="1381"/>
                    <a:pt x="839" y="1385"/>
                  </a:cubicBezTo>
                  <a:lnTo>
                    <a:pt x="974" y="1393"/>
                  </a:lnTo>
                  <a:cubicBezTo>
                    <a:pt x="1023" y="1396"/>
                    <a:pt x="1064" y="1397"/>
                    <a:pt x="1095" y="1397"/>
                  </a:cubicBezTo>
                  <a:cubicBezTo>
                    <a:pt x="1165" y="1397"/>
                    <a:pt x="1210" y="1392"/>
                    <a:pt x="1255" y="1378"/>
                  </a:cubicBezTo>
                  <a:cubicBezTo>
                    <a:pt x="1290" y="1367"/>
                    <a:pt x="1324" y="1351"/>
                    <a:pt x="1354" y="1331"/>
                  </a:cubicBezTo>
                  <a:cubicBezTo>
                    <a:pt x="1408" y="1293"/>
                    <a:pt x="1460" y="1234"/>
                    <a:pt x="1491" y="1175"/>
                  </a:cubicBezTo>
                  <a:cubicBezTo>
                    <a:pt x="1494" y="1169"/>
                    <a:pt x="1499" y="1160"/>
                    <a:pt x="1504" y="1147"/>
                  </a:cubicBezTo>
                  <a:lnTo>
                    <a:pt x="1545" y="1158"/>
                  </a:lnTo>
                  <a:cubicBezTo>
                    <a:pt x="1532" y="1208"/>
                    <a:pt x="1525" y="1228"/>
                    <a:pt x="1505" y="1273"/>
                  </a:cubicBezTo>
                  <a:cubicBezTo>
                    <a:pt x="1464" y="1364"/>
                    <a:pt x="1417" y="1425"/>
                    <a:pt x="1354" y="1472"/>
                  </a:cubicBezTo>
                  <a:cubicBezTo>
                    <a:pt x="1289" y="1521"/>
                    <a:pt x="1216" y="1544"/>
                    <a:pt x="1131" y="1546"/>
                  </a:cubicBezTo>
                  <a:lnTo>
                    <a:pt x="1118" y="1546"/>
                  </a:lnTo>
                  <a:cubicBezTo>
                    <a:pt x="1055" y="1546"/>
                    <a:pt x="1006" y="1541"/>
                    <a:pt x="854" y="1518"/>
                  </a:cubicBezTo>
                  <a:cubicBezTo>
                    <a:pt x="700" y="1494"/>
                    <a:pt x="621" y="1486"/>
                    <a:pt x="544" y="1486"/>
                  </a:cubicBezTo>
                  <a:cubicBezTo>
                    <a:pt x="492" y="1486"/>
                    <a:pt x="444" y="1490"/>
                    <a:pt x="394" y="1498"/>
                  </a:cubicBezTo>
                  <a:cubicBezTo>
                    <a:pt x="328" y="1508"/>
                    <a:pt x="302" y="1516"/>
                    <a:pt x="242" y="1543"/>
                  </a:cubicBezTo>
                  <a:cubicBezTo>
                    <a:pt x="410" y="1727"/>
                    <a:pt x="652" y="1842"/>
                    <a:pt x="920" y="1842"/>
                  </a:cubicBezTo>
                  <a:cubicBezTo>
                    <a:pt x="1429" y="1842"/>
                    <a:pt x="1841" y="1430"/>
                    <a:pt x="1841" y="921"/>
                  </a:cubicBezTo>
                  <a:cubicBezTo>
                    <a:pt x="1841" y="412"/>
                    <a:pt x="1429" y="0"/>
                    <a:pt x="9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4" name="Freeform 6">
              <a:extLst>
                <a:ext uri="{FF2B5EF4-FFF2-40B4-BE49-F238E27FC236}">
                  <a16:creationId xmlns:a16="http://schemas.microsoft.com/office/drawing/2014/main" id="{BEE17792-2541-41AB-A3A4-1488AC914260}"/>
                </a:ext>
              </a:extLst>
            </p:cNvPr>
            <p:cNvSpPr>
              <a:spLocks/>
            </p:cNvSpPr>
            <p:nvPr userDrawn="1"/>
          </p:nvSpPr>
          <p:spPr bwMode="auto">
            <a:xfrm>
              <a:off x="642" y="197"/>
              <a:ext cx="25" cy="80"/>
            </a:xfrm>
            <a:custGeom>
              <a:avLst/>
              <a:gdLst>
                <a:gd name="T0" fmla="*/ 232 w 288"/>
                <a:gd name="T1" fmla="*/ 166 h 897"/>
                <a:gd name="T2" fmla="*/ 232 w 288"/>
                <a:gd name="T3" fmla="*/ 166 h 897"/>
                <a:gd name="T4" fmla="*/ 241 w 288"/>
                <a:gd name="T5" fmla="*/ 65 h 897"/>
                <a:gd name="T6" fmla="*/ 254 w 288"/>
                <a:gd name="T7" fmla="*/ 37 h 897"/>
                <a:gd name="T8" fmla="*/ 288 w 288"/>
                <a:gd name="T9" fmla="*/ 0 h 897"/>
                <a:gd name="T10" fmla="*/ 0 w 288"/>
                <a:gd name="T11" fmla="*/ 0 h 897"/>
                <a:gd name="T12" fmla="*/ 33 w 288"/>
                <a:gd name="T13" fmla="*/ 35 h 897"/>
                <a:gd name="T14" fmla="*/ 47 w 288"/>
                <a:gd name="T15" fmla="*/ 64 h 897"/>
                <a:gd name="T16" fmla="*/ 56 w 288"/>
                <a:gd name="T17" fmla="*/ 161 h 897"/>
                <a:gd name="T18" fmla="*/ 56 w 288"/>
                <a:gd name="T19" fmla="*/ 215 h 897"/>
                <a:gd name="T20" fmla="*/ 56 w 288"/>
                <a:gd name="T21" fmla="*/ 752 h 897"/>
                <a:gd name="T22" fmla="*/ 42 w 288"/>
                <a:gd name="T23" fmla="*/ 839 h 897"/>
                <a:gd name="T24" fmla="*/ 28 w 288"/>
                <a:gd name="T25" fmla="*/ 865 h 897"/>
                <a:gd name="T26" fmla="*/ 1 w 288"/>
                <a:gd name="T27" fmla="*/ 897 h 897"/>
                <a:gd name="T28" fmla="*/ 285 w 288"/>
                <a:gd name="T29" fmla="*/ 897 h 897"/>
                <a:gd name="T30" fmla="*/ 258 w 288"/>
                <a:gd name="T31" fmla="*/ 865 h 897"/>
                <a:gd name="T32" fmla="*/ 243 w 288"/>
                <a:gd name="T33" fmla="*/ 838 h 897"/>
                <a:gd name="T34" fmla="*/ 231 w 288"/>
                <a:gd name="T35" fmla="*/ 759 h 897"/>
                <a:gd name="T36" fmla="*/ 231 w 288"/>
                <a:gd name="T37" fmla="*/ 218 h 897"/>
                <a:gd name="T38" fmla="*/ 232 w 288"/>
                <a:gd name="T39" fmla="*/ 16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897">
                  <a:moveTo>
                    <a:pt x="232" y="166"/>
                  </a:moveTo>
                  <a:lnTo>
                    <a:pt x="232" y="166"/>
                  </a:lnTo>
                  <a:cubicBezTo>
                    <a:pt x="232" y="106"/>
                    <a:pt x="233" y="89"/>
                    <a:pt x="241" y="65"/>
                  </a:cubicBezTo>
                  <a:cubicBezTo>
                    <a:pt x="244" y="55"/>
                    <a:pt x="248" y="46"/>
                    <a:pt x="254" y="37"/>
                  </a:cubicBezTo>
                  <a:cubicBezTo>
                    <a:pt x="263" y="22"/>
                    <a:pt x="270" y="14"/>
                    <a:pt x="288" y="0"/>
                  </a:cubicBezTo>
                  <a:lnTo>
                    <a:pt x="0" y="0"/>
                  </a:lnTo>
                  <a:cubicBezTo>
                    <a:pt x="18" y="16"/>
                    <a:pt x="24" y="22"/>
                    <a:pt x="33" y="35"/>
                  </a:cubicBezTo>
                  <a:cubicBezTo>
                    <a:pt x="39" y="44"/>
                    <a:pt x="44" y="54"/>
                    <a:pt x="47" y="64"/>
                  </a:cubicBezTo>
                  <a:cubicBezTo>
                    <a:pt x="53" y="86"/>
                    <a:pt x="56" y="108"/>
                    <a:pt x="56" y="161"/>
                  </a:cubicBezTo>
                  <a:cubicBezTo>
                    <a:pt x="56" y="188"/>
                    <a:pt x="56" y="206"/>
                    <a:pt x="56" y="215"/>
                  </a:cubicBezTo>
                  <a:lnTo>
                    <a:pt x="56" y="752"/>
                  </a:lnTo>
                  <a:cubicBezTo>
                    <a:pt x="56" y="784"/>
                    <a:pt x="51" y="817"/>
                    <a:pt x="42" y="839"/>
                  </a:cubicBezTo>
                  <a:cubicBezTo>
                    <a:pt x="39" y="848"/>
                    <a:pt x="34" y="857"/>
                    <a:pt x="28" y="865"/>
                  </a:cubicBezTo>
                  <a:cubicBezTo>
                    <a:pt x="21" y="875"/>
                    <a:pt x="16" y="880"/>
                    <a:pt x="1" y="897"/>
                  </a:cubicBezTo>
                  <a:lnTo>
                    <a:pt x="285" y="897"/>
                  </a:lnTo>
                  <a:cubicBezTo>
                    <a:pt x="271" y="885"/>
                    <a:pt x="266" y="879"/>
                    <a:pt x="258" y="865"/>
                  </a:cubicBezTo>
                  <a:cubicBezTo>
                    <a:pt x="252" y="856"/>
                    <a:pt x="247" y="847"/>
                    <a:pt x="243" y="838"/>
                  </a:cubicBezTo>
                  <a:cubicBezTo>
                    <a:pt x="236" y="817"/>
                    <a:pt x="231" y="787"/>
                    <a:pt x="231" y="759"/>
                  </a:cubicBezTo>
                  <a:lnTo>
                    <a:pt x="231" y="218"/>
                  </a:lnTo>
                  <a:lnTo>
                    <a:pt x="232" y="1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5" name="Freeform 7">
              <a:extLst>
                <a:ext uri="{FF2B5EF4-FFF2-40B4-BE49-F238E27FC236}">
                  <a16:creationId xmlns:a16="http://schemas.microsoft.com/office/drawing/2014/main" id="{7FE4A7E9-42E0-43D0-B996-856DC1B0758B}"/>
                </a:ext>
              </a:extLst>
            </p:cNvPr>
            <p:cNvSpPr>
              <a:spLocks/>
            </p:cNvSpPr>
            <p:nvPr userDrawn="1"/>
          </p:nvSpPr>
          <p:spPr bwMode="auto">
            <a:xfrm>
              <a:off x="761" y="197"/>
              <a:ext cx="77" cy="80"/>
            </a:xfrm>
            <a:custGeom>
              <a:avLst/>
              <a:gdLst>
                <a:gd name="T0" fmla="*/ 810 w 869"/>
                <a:gd name="T1" fmla="*/ 165 h 897"/>
                <a:gd name="T2" fmla="*/ 810 w 869"/>
                <a:gd name="T3" fmla="*/ 165 h 897"/>
                <a:gd name="T4" fmla="*/ 819 w 869"/>
                <a:gd name="T5" fmla="*/ 70 h 897"/>
                <a:gd name="T6" fmla="*/ 834 w 869"/>
                <a:gd name="T7" fmla="*/ 37 h 897"/>
                <a:gd name="T8" fmla="*/ 869 w 869"/>
                <a:gd name="T9" fmla="*/ 0 h 897"/>
                <a:gd name="T10" fmla="*/ 576 w 869"/>
                <a:gd name="T11" fmla="*/ 0 h 897"/>
                <a:gd name="T12" fmla="*/ 609 w 869"/>
                <a:gd name="T13" fmla="*/ 36 h 897"/>
                <a:gd name="T14" fmla="*/ 624 w 869"/>
                <a:gd name="T15" fmla="*/ 67 h 897"/>
                <a:gd name="T16" fmla="*/ 634 w 869"/>
                <a:gd name="T17" fmla="*/ 162 h 897"/>
                <a:gd name="T18" fmla="*/ 634 w 869"/>
                <a:gd name="T19" fmla="*/ 379 h 897"/>
                <a:gd name="T20" fmla="*/ 232 w 869"/>
                <a:gd name="T21" fmla="*/ 379 h 897"/>
                <a:gd name="T22" fmla="*/ 232 w 869"/>
                <a:gd name="T23" fmla="*/ 216 h 897"/>
                <a:gd name="T24" fmla="*/ 234 w 869"/>
                <a:gd name="T25" fmla="*/ 109 h 897"/>
                <a:gd name="T26" fmla="*/ 241 w 869"/>
                <a:gd name="T27" fmla="*/ 70 h 897"/>
                <a:gd name="T28" fmla="*/ 278 w 869"/>
                <a:gd name="T29" fmla="*/ 9 h 897"/>
                <a:gd name="T30" fmla="*/ 288 w 869"/>
                <a:gd name="T31" fmla="*/ 0 h 897"/>
                <a:gd name="T32" fmla="*/ 1 w 869"/>
                <a:gd name="T33" fmla="*/ 0 h 897"/>
                <a:gd name="T34" fmla="*/ 30 w 869"/>
                <a:gd name="T35" fmla="*/ 34 h 897"/>
                <a:gd name="T36" fmla="*/ 46 w 869"/>
                <a:gd name="T37" fmla="*/ 64 h 897"/>
                <a:gd name="T38" fmla="*/ 56 w 869"/>
                <a:gd name="T39" fmla="*/ 159 h 897"/>
                <a:gd name="T40" fmla="*/ 57 w 869"/>
                <a:gd name="T41" fmla="*/ 216 h 897"/>
                <a:gd name="T42" fmla="*/ 57 w 869"/>
                <a:gd name="T43" fmla="*/ 707 h 897"/>
                <a:gd name="T44" fmla="*/ 53 w 869"/>
                <a:gd name="T45" fmla="*/ 802 h 897"/>
                <a:gd name="T46" fmla="*/ 44 w 869"/>
                <a:gd name="T47" fmla="*/ 838 h 897"/>
                <a:gd name="T48" fmla="*/ 9 w 869"/>
                <a:gd name="T49" fmla="*/ 888 h 897"/>
                <a:gd name="T50" fmla="*/ 0 w 869"/>
                <a:gd name="T51" fmla="*/ 897 h 897"/>
                <a:gd name="T52" fmla="*/ 284 w 869"/>
                <a:gd name="T53" fmla="*/ 897 h 897"/>
                <a:gd name="T54" fmla="*/ 260 w 869"/>
                <a:gd name="T55" fmla="*/ 867 h 897"/>
                <a:gd name="T56" fmla="*/ 245 w 869"/>
                <a:gd name="T57" fmla="*/ 839 h 897"/>
                <a:gd name="T58" fmla="*/ 232 w 869"/>
                <a:gd name="T59" fmla="*/ 761 h 897"/>
                <a:gd name="T60" fmla="*/ 232 w 869"/>
                <a:gd name="T61" fmla="*/ 707 h 897"/>
                <a:gd name="T62" fmla="*/ 232 w 869"/>
                <a:gd name="T63" fmla="*/ 490 h 897"/>
                <a:gd name="T64" fmla="*/ 634 w 869"/>
                <a:gd name="T65" fmla="*/ 490 h 897"/>
                <a:gd name="T66" fmla="*/ 634 w 869"/>
                <a:gd name="T67" fmla="*/ 709 h 897"/>
                <a:gd name="T68" fmla="*/ 630 w 869"/>
                <a:gd name="T69" fmla="*/ 800 h 897"/>
                <a:gd name="T70" fmla="*/ 620 w 869"/>
                <a:gd name="T71" fmla="*/ 838 h 897"/>
                <a:gd name="T72" fmla="*/ 588 w 869"/>
                <a:gd name="T73" fmla="*/ 885 h 897"/>
                <a:gd name="T74" fmla="*/ 575 w 869"/>
                <a:gd name="T75" fmla="*/ 897 h 897"/>
                <a:gd name="T76" fmla="*/ 862 w 869"/>
                <a:gd name="T77" fmla="*/ 897 h 897"/>
                <a:gd name="T78" fmla="*/ 838 w 869"/>
                <a:gd name="T79" fmla="*/ 869 h 897"/>
                <a:gd name="T80" fmla="*/ 821 w 869"/>
                <a:gd name="T81" fmla="*/ 839 h 897"/>
                <a:gd name="T82" fmla="*/ 810 w 869"/>
                <a:gd name="T83" fmla="*/ 758 h 897"/>
                <a:gd name="T84" fmla="*/ 809 w 869"/>
                <a:gd name="T85" fmla="*/ 712 h 897"/>
                <a:gd name="T86" fmla="*/ 810 w 869"/>
                <a:gd name="T87" fmla="*/ 218 h 897"/>
                <a:gd name="T88" fmla="*/ 810 w 869"/>
                <a:gd name="T89" fmla="*/ 16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9" h="897">
                  <a:moveTo>
                    <a:pt x="810" y="165"/>
                  </a:moveTo>
                  <a:lnTo>
                    <a:pt x="810" y="165"/>
                  </a:lnTo>
                  <a:cubicBezTo>
                    <a:pt x="810" y="125"/>
                    <a:pt x="813" y="95"/>
                    <a:pt x="819" y="70"/>
                  </a:cubicBezTo>
                  <a:cubicBezTo>
                    <a:pt x="823" y="59"/>
                    <a:pt x="828" y="48"/>
                    <a:pt x="834" y="37"/>
                  </a:cubicBezTo>
                  <a:cubicBezTo>
                    <a:pt x="843" y="22"/>
                    <a:pt x="850" y="14"/>
                    <a:pt x="869" y="0"/>
                  </a:cubicBezTo>
                  <a:lnTo>
                    <a:pt x="576" y="0"/>
                  </a:lnTo>
                  <a:cubicBezTo>
                    <a:pt x="593" y="14"/>
                    <a:pt x="599" y="20"/>
                    <a:pt x="609" y="36"/>
                  </a:cubicBezTo>
                  <a:cubicBezTo>
                    <a:pt x="616" y="46"/>
                    <a:pt x="621" y="57"/>
                    <a:pt x="624" y="67"/>
                  </a:cubicBezTo>
                  <a:cubicBezTo>
                    <a:pt x="631" y="88"/>
                    <a:pt x="634" y="115"/>
                    <a:pt x="634" y="162"/>
                  </a:cubicBezTo>
                  <a:lnTo>
                    <a:pt x="634" y="379"/>
                  </a:lnTo>
                  <a:lnTo>
                    <a:pt x="232" y="379"/>
                  </a:lnTo>
                  <a:lnTo>
                    <a:pt x="232" y="216"/>
                  </a:lnTo>
                  <a:cubicBezTo>
                    <a:pt x="232" y="166"/>
                    <a:pt x="232" y="134"/>
                    <a:pt x="234" y="109"/>
                  </a:cubicBezTo>
                  <a:cubicBezTo>
                    <a:pt x="235" y="95"/>
                    <a:pt x="238" y="82"/>
                    <a:pt x="241" y="70"/>
                  </a:cubicBezTo>
                  <a:cubicBezTo>
                    <a:pt x="247" y="51"/>
                    <a:pt x="264" y="24"/>
                    <a:pt x="278" y="9"/>
                  </a:cubicBezTo>
                  <a:cubicBezTo>
                    <a:pt x="280" y="7"/>
                    <a:pt x="284" y="4"/>
                    <a:pt x="288" y="0"/>
                  </a:cubicBezTo>
                  <a:lnTo>
                    <a:pt x="1" y="0"/>
                  </a:lnTo>
                  <a:cubicBezTo>
                    <a:pt x="18" y="17"/>
                    <a:pt x="23" y="23"/>
                    <a:pt x="30" y="34"/>
                  </a:cubicBezTo>
                  <a:cubicBezTo>
                    <a:pt x="37" y="43"/>
                    <a:pt x="42" y="53"/>
                    <a:pt x="46" y="64"/>
                  </a:cubicBezTo>
                  <a:cubicBezTo>
                    <a:pt x="53" y="87"/>
                    <a:pt x="55" y="100"/>
                    <a:pt x="56" y="159"/>
                  </a:cubicBezTo>
                  <a:lnTo>
                    <a:pt x="57" y="216"/>
                  </a:lnTo>
                  <a:lnTo>
                    <a:pt x="57" y="707"/>
                  </a:lnTo>
                  <a:cubicBezTo>
                    <a:pt x="57" y="757"/>
                    <a:pt x="56" y="779"/>
                    <a:pt x="53" y="802"/>
                  </a:cubicBezTo>
                  <a:cubicBezTo>
                    <a:pt x="51" y="814"/>
                    <a:pt x="48" y="825"/>
                    <a:pt x="44" y="838"/>
                  </a:cubicBezTo>
                  <a:cubicBezTo>
                    <a:pt x="37" y="857"/>
                    <a:pt x="26" y="872"/>
                    <a:pt x="9" y="888"/>
                  </a:cubicBezTo>
                  <a:cubicBezTo>
                    <a:pt x="7" y="890"/>
                    <a:pt x="4" y="893"/>
                    <a:pt x="0" y="897"/>
                  </a:cubicBezTo>
                  <a:lnTo>
                    <a:pt x="284" y="897"/>
                  </a:lnTo>
                  <a:cubicBezTo>
                    <a:pt x="271" y="884"/>
                    <a:pt x="267" y="878"/>
                    <a:pt x="260" y="867"/>
                  </a:cubicBezTo>
                  <a:cubicBezTo>
                    <a:pt x="254" y="859"/>
                    <a:pt x="249" y="849"/>
                    <a:pt x="245" y="839"/>
                  </a:cubicBezTo>
                  <a:cubicBezTo>
                    <a:pt x="236" y="815"/>
                    <a:pt x="233" y="799"/>
                    <a:pt x="232" y="761"/>
                  </a:cubicBezTo>
                  <a:cubicBezTo>
                    <a:pt x="232" y="741"/>
                    <a:pt x="232" y="724"/>
                    <a:pt x="232" y="707"/>
                  </a:cubicBezTo>
                  <a:lnTo>
                    <a:pt x="232" y="490"/>
                  </a:lnTo>
                  <a:lnTo>
                    <a:pt x="634" y="490"/>
                  </a:lnTo>
                  <a:lnTo>
                    <a:pt x="634" y="709"/>
                  </a:lnTo>
                  <a:cubicBezTo>
                    <a:pt x="634" y="757"/>
                    <a:pt x="633" y="775"/>
                    <a:pt x="630" y="800"/>
                  </a:cubicBezTo>
                  <a:cubicBezTo>
                    <a:pt x="628" y="813"/>
                    <a:pt x="625" y="826"/>
                    <a:pt x="620" y="838"/>
                  </a:cubicBezTo>
                  <a:cubicBezTo>
                    <a:pt x="613" y="855"/>
                    <a:pt x="603" y="871"/>
                    <a:pt x="588" y="885"/>
                  </a:cubicBezTo>
                  <a:cubicBezTo>
                    <a:pt x="585" y="888"/>
                    <a:pt x="581" y="892"/>
                    <a:pt x="575" y="897"/>
                  </a:cubicBezTo>
                  <a:lnTo>
                    <a:pt x="862" y="897"/>
                  </a:lnTo>
                  <a:cubicBezTo>
                    <a:pt x="850" y="885"/>
                    <a:pt x="846" y="880"/>
                    <a:pt x="838" y="869"/>
                  </a:cubicBezTo>
                  <a:cubicBezTo>
                    <a:pt x="831" y="859"/>
                    <a:pt x="825" y="849"/>
                    <a:pt x="821" y="839"/>
                  </a:cubicBezTo>
                  <a:cubicBezTo>
                    <a:pt x="813" y="818"/>
                    <a:pt x="811" y="803"/>
                    <a:pt x="810" y="758"/>
                  </a:cubicBezTo>
                  <a:cubicBezTo>
                    <a:pt x="809" y="732"/>
                    <a:pt x="809" y="717"/>
                    <a:pt x="809" y="712"/>
                  </a:cubicBezTo>
                  <a:lnTo>
                    <a:pt x="810" y="218"/>
                  </a:lnTo>
                  <a:lnTo>
                    <a:pt x="810" y="16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6" name="Freeform 8">
              <a:extLst>
                <a:ext uri="{FF2B5EF4-FFF2-40B4-BE49-F238E27FC236}">
                  <a16:creationId xmlns:a16="http://schemas.microsoft.com/office/drawing/2014/main" id="{451758A0-E6AE-4136-8372-7F123E721594}"/>
                </a:ext>
              </a:extLst>
            </p:cNvPr>
            <p:cNvSpPr>
              <a:spLocks noEditPoints="1"/>
            </p:cNvSpPr>
            <p:nvPr userDrawn="1"/>
          </p:nvSpPr>
          <p:spPr bwMode="auto">
            <a:xfrm>
              <a:off x="562" y="197"/>
              <a:ext cx="73" cy="80"/>
            </a:xfrm>
            <a:custGeom>
              <a:avLst/>
              <a:gdLst>
                <a:gd name="T0" fmla="*/ 408 w 822"/>
                <a:gd name="T1" fmla="*/ 395 h 897"/>
                <a:gd name="T2" fmla="*/ 408 w 822"/>
                <a:gd name="T3" fmla="*/ 395 h 897"/>
                <a:gd name="T4" fmla="*/ 295 w 822"/>
                <a:gd name="T5" fmla="*/ 431 h 897"/>
                <a:gd name="T6" fmla="*/ 248 w 822"/>
                <a:gd name="T7" fmla="*/ 435 h 897"/>
                <a:gd name="T8" fmla="*/ 233 w 822"/>
                <a:gd name="T9" fmla="*/ 435 h 897"/>
                <a:gd name="T10" fmla="*/ 233 w 822"/>
                <a:gd name="T11" fmla="*/ 103 h 897"/>
                <a:gd name="T12" fmla="*/ 257 w 822"/>
                <a:gd name="T13" fmla="*/ 102 h 897"/>
                <a:gd name="T14" fmla="*/ 378 w 822"/>
                <a:gd name="T15" fmla="*/ 117 h 897"/>
                <a:gd name="T16" fmla="*/ 439 w 822"/>
                <a:gd name="T17" fmla="*/ 149 h 897"/>
                <a:gd name="T18" fmla="*/ 485 w 822"/>
                <a:gd name="T19" fmla="*/ 260 h 897"/>
                <a:gd name="T20" fmla="*/ 450 w 822"/>
                <a:gd name="T21" fmla="*/ 361 h 897"/>
                <a:gd name="T22" fmla="*/ 408 w 822"/>
                <a:gd name="T23" fmla="*/ 395 h 897"/>
                <a:gd name="T24" fmla="*/ 408 w 822"/>
                <a:gd name="T25" fmla="*/ 395 h 897"/>
                <a:gd name="T26" fmla="*/ 750 w 822"/>
                <a:gd name="T27" fmla="*/ 835 h 897"/>
                <a:gd name="T28" fmla="*/ 750 w 822"/>
                <a:gd name="T29" fmla="*/ 835 h 897"/>
                <a:gd name="T30" fmla="*/ 649 w 822"/>
                <a:gd name="T31" fmla="*/ 730 h 897"/>
                <a:gd name="T32" fmla="*/ 583 w 822"/>
                <a:gd name="T33" fmla="*/ 657 h 897"/>
                <a:gd name="T34" fmla="*/ 444 w 822"/>
                <a:gd name="T35" fmla="*/ 493 h 897"/>
                <a:gd name="T36" fmla="*/ 484 w 822"/>
                <a:gd name="T37" fmla="*/ 480 h 897"/>
                <a:gd name="T38" fmla="*/ 594 w 822"/>
                <a:gd name="T39" fmla="*/ 416 h 897"/>
                <a:gd name="T40" fmla="*/ 665 w 822"/>
                <a:gd name="T41" fmla="*/ 313 h 897"/>
                <a:gd name="T42" fmla="*/ 676 w 822"/>
                <a:gd name="T43" fmla="*/ 244 h 897"/>
                <a:gd name="T44" fmla="*/ 615 w 822"/>
                <a:gd name="T45" fmla="*/ 97 h 897"/>
                <a:gd name="T46" fmla="*/ 470 w 822"/>
                <a:gd name="T47" fmla="*/ 16 h 897"/>
                <a:gd name="T48" fmla="*/ 316 w 822"/>
                <a:gd name="T49" fmla="*/ 1 h 897"/>
                <a:gd name="T50" fmla="*/ 233 w 822"/>
                <a:gd name="T51" fmla="*/ 0 h 897"/>
                <a:gd name="T52" fmla="*/ 2 w 822"/>
                <a:gd name="T53" fmla="*/ 0 h 897"/>
                <a:gd name="T54" fmla="*/ 32 w 822"/>
                <a:gd name="T55" fmla="*/ 33 h 897"/>
                <a:gd name="T56" fmla="*/ 47 w 822"/>
                <a:gd name="T57" fmla="*/ 66 h 897"/>
                <a:gd name="T58" fmla="*/ 56 w 822"/>
                <a:gd name="T59" fmla="*/ 162 h 897"/>
                <a:gd name="T60" fmla="*/ 56 w 822"/>
                <a:gd name="T61" fmla="*/ 750 h 897"/>
                <a:gd name="T62" fmla="*/ 46 w 822"/>
                <a:gd name="T63" fmla="*/ 837 h 897"/>
                <a:gd name="T64" fmla="*/ 31 w 822"/>
                <a:gd name="T65" fmla="*/ 865 h 897"/>
                <a:gd name="T66" fmla="*/ 0 w 822"/>
                <a:gd name="T67" fmla="*/ 897 h 897"/>
                <a:gd name="T68" fmla="*/ 285 w 822"/>
                <a:gd name="T69" fmla="*/ 897 h 897"/>
                <a:gd name="T70" fmla="*/ 261 w 822"/>
                <a:gd name="T71" fmla="*/ 867 h 897"/>
                <a:gd name="T72" fmla="*/ 245 w 822"/>
                <a:gd name="T73" fmla="*/ 840 h 897"/>
                <a:gd name="T74" fmla="*/ 234 w 822"/>
                <a:gd name="T75" fmla="*/ 757 h 897"/>
                <a:gd name="T76" fmla="*/ 233 w 822"/>
                <a:gd name="T77" fmla="*/ 712 h 897"/>
                <a:gd name="T78" fmla="*/ 233 w 822"/>
                <a:gd name="T79" fmla="*/ 510 h 897"/>
                <a:gd name="T80" fmla="*/ 400 w 822"/>
                <a:gd name="T81" fmla="*/ 710 h 897"/>
                <a:gd name="T82" fmla="*/ 437 w 822"/>
                <a:gd name="T83" fmla="*/ 753 h 897"/>
                <a:gd name="T84" fmla="*/ 481 w 822"/>
                <a:gd name="T85" fmla="*/ 801 h 897"/>
                <a:gd name="T86" fmla="*/ 573 w 822"/>
                <a:gd name="T87" fmla="*/ 875 h 897"/>
                <a:gd name="T88" fmla="*/ 662 w 822"/>
                <a:gd name="T89" fmla="*/ 896 h 897"/>
                <a:gd name="T90" fmla="*/ 709 w 822"/>
                <a:gd name="T91" fmla="*/ 897 h 897"/>
                <a:gd name="T92" fmla="*/ 822 w 822"/>
                <a:gd name="T93" fmla="*/ 897 h 897"/>
                <a:gd name="T94" fmla="*/ 789 w 822"/>
                <a:gd name="T95" fmla="*/ 870 h 897"/>
                <a:gd name="T96" fmla="*/ 750 w 822"/>
                <a:gd name="T97" fmla="*/ 83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897">
                  <a:moveTo>
                    <a:pt x="408" y="395"/>
                  </a:moveTo>
                  <a:lnTo>
                    <a:pt x="408" y="395"/>
                  </a:lnTo>
                  <a:cubicBezTo>
                    <a:pt x="376" y="413"/>
                    <a:pt x="343" y="424"/>
                    <a:pt x="295" y="431"/>
                  </a:cubicBezTo>
                  <a:cubicBezTo>
                    <a:pt x="277" y="434"/>
                    <a:pt x="261" y="435"/>
                    <a:pt x="248" y="435"/>
                  </a:cubicBezTo>
                  <a:cubicBezTo>
                    <a:pt x="243" y="435"/>
                    <a:pt x="240" y="435"/>
                    <a:pt x="233" y="435"/>
                  </a:cubicBezTo>
                  <a:lnTo>
                    <a:pt x="233" y="103"/>
                  </a:lnTo>
                  <a:cubicBezTo>
                    <a:pt x="245" y="102"/>
                    <a:pt x="249" y="102"/>
                    <a:pt x="257" y="102"/>
                  </a:cubicBezTo>
                  <a:cubicBezTo>
                    <a:pt x="301" y="102"/>
                    <a:pt x="344" y="107"/>
                    <a:pt x="378" y="117"/>
                  </a:cubicBezTo>
                  <a:cubicBezTo>
                    <a:pt x="400" y="123"/>
                    <a:pt x="421" y="135"/>
                    <a:pt x="439" y="149"/>
                  </a:cubicBezTo>
                  <a:cubicBezTo>
                    <a:pt x="469" y="175"/>
                    <a:pt x="485" y="213"/>
                    <a:pt x="485" y="260"/>
                  </a:cubicBezTo>
                  <a:cubicBezTo>
                    <a:pt x="485" y="300"/>
                    <a:pt x="473" y="335"/>
                    <a:pt x="450" y="361"/>
                  </a:cubicBezTo>
                  <a:cubicBezTo>
                    <a:pt x="439" y="373"/>
                    <a:pt x="425" y="385"/>
                    <a:pt x="408" y="395"/>
                  </a:cubicBezTo>
                  <a:lnTo>
                    <a:pt x="408" y="395"/>
                  </a:lnTo>
                  <a:close/>
                  <a:moveTo>
                    <a:pt x="750" y="835"/>
                  </a:moveTo>
                  <a:lnTo>
                    <a:pt x="750" y="835"/>
                  </a:lnTo>
                  <a:cubicBezTo>
                    <a:pt x="719" y="804"/>
                    <a:pt x="691" y="776"/>
                    <a:pt x="649" y="730"/>
                  </a:cubicBezTo>
                  <a:cubicBezTo>
                    <a:pt x="622" y="702"/>
                    <a:pt x="600" y="677"/>
                    <a:pt x="583" y="657"/>
                  </a:cubicBezTo>
                  <a:lnTo>
                    <a:pt x="444" y="493"/>
                  </a:lnTo>
                  <a:cubicBezTo>
                    <a:pt x="461" y="488"/>
                    <a:pt x="468" y="486"/>
                    <a:pt x="484" y="480"/>
                  </a:cubicBezTo>
                  <a:cubicBezTo>
                    <a:pt x="529" y="462"/>
                    <a:pt x="563" y="442"/>
                    <a:pt x="594" y="416"/>
                  </a:cubicBezTo>
                  <a:cubicBezTo>
                    <a:pt x="630" y="386"/>
                    <a:pt x="652" y="354"/>
                    <a:pt x="665" y="313"/>
                  </a:cubicBezTo>
                  <a:cubicBezTo>
                    <a:pt x="673" y="291"/>
                    <a:pt x="676" y="267"/>
                    <a:pt x="676" y="244"/>
                  </a:cubicBezTo>
                  <a:cubicBezTo>
                    <a:pt x="676" y="189"/>
                    <a:pt x="656" y="139"/>
                    <a:pt x="615" y="97"/>
                  </a:cubicBezTo>
                  <a:cubicBezTo>
                    <a:pt x="579" y="58"/>
                    <a:pt x="527" y="30"/>
                    <a:pt x="470" y="16"/>
                  </a:cubicBezTo>
                  <a:cubicBezTo>
                    <a:pt x="429" y="7"/>
                    <a:pt x="388" y="2"/>
                    <a:pt x="316" y="1"/>
                  </a:cubicBezTo>
                  <a:cubicBezTo>
                    <a:pt x="289" y="0"/>
                    <a:pt x="262" y="0"/>
                    <a:pt x="233" y="0"/>
                  </a:cubicBezTo>
                  <a:lnTo>
                    <a:pt x="2" y="0"/>
                  </a:lnTo>
                  <a:cubicBezTo>
                    <a:pt x="17" y="14"/>
                    <a:pt x="23" y="20"/>
                    <a:pt x="32" y="33"/>
                  </a:cubicBezTo>
                  <a:cubicBezTo>
                    <a:pt x="38" y="44"/>
                    <a:pt x="44" y="55"/>
                    <a:pt x="47" y="66"/>
                  </a:cubicBezTo>
                  <a:cubicBezTo>
                    <a:pt x="53" y="86"/>
                    <a:pt x="56" y="114"/>
                    <a:pt x="56" y="162"/>
                  </a:cubicBezTo>
                  <a:lnTo>
                    <a:pt x="56" y="750"/>
                  </a:lnTo>
                  <a:cubicBezTo>
                    <a:pt x="56" y="793"/>
                    <a:pt x="53" y="817"/>
                    <a:pt x="46" y="837"/>
                  </a:cubicBezTo>
                  <a:cubicBezTo>
                    <a:pt x="42" y="847"/>
                    <a:pt x="37" y="857"/>
                    <a:pt x="31" y="865"/>
                  </a:cubicBezTo>
                  <a:cubicBezTo>
                    <a:pt x="22" y="876"/>
                    <a:pt x="17" y="882"/>
                    <a:pt x="0" y="897"/>
                  </a:cubicBezTo>
                  <a:lnTo>
                    <a:pt x="285" y="897"/>
                  </a:lnTo>
                  <a:cubicBezTo>
                    <a:pt x="273" y="883"/>
                    <a:pt x="269" y="878"/>
                    <a:pt x="261" y="867"/>
                  </a:cubicBezTo>
                  <a:cubicBezTo>
                    <a:pt x="254" y="859"/>
                    <a:pt x="249" y="850"/>
                    <a:pt x="245" y="840"/>
                  </a:cubicBezTo>
                  <a:cubicBezTo>
                    <a:pt x="238" y="820"/>
                    <a:pt x="234" y="799"/>
                    <a:pt x="234" y="757"/>
                  </a:cubicBezTo>
                  <a:cubicBezTo>
                    <a:pt x="234" y="744"/>
                    <a:pt x="233" y="729"/>
                    <a:pt x="233" y="712"/>
                  </a:cubicBezTo>
                  <a:lnTo>
                    <a:pt x="233" y="510"/>
                  </a:lnTo>
                  <a:lnTo>
                    <a:pt x="400" y="710"/>
                  </a:lnTo>
                  <a:cubicBezTo>
                    <a:pt x="407" y="719"/>
                    <a:pt x="420" y="734"/>
                    <a:pt x="437" y="753"/>
                  </a:cubicBezTo>
                  <a:cubicBezTo>
                    <a:pt x="456" y="775"/>
                    <a:pt x="471" y="791"/>
                    <a:pt x="481" y="801"/>
                  </a:cubicBezTo>
                  <a:cubicBezTo>
                    <a:pt x="513" y="835"/>
                    <a:pt x="543" y="859"/>
                    <a:pt x="573" y="875"/>
                  </a:cubicBezTo>
                  <a:cubicBezTo>
                    <a:pt x="599" y="889"/>
                    <a:pt x="624" y="895"/>
                    <a:pt x="662" y="896"/>
                  </a:cubicBezTo>
                  <a:cubicBezTo>
                    <a:pt x="677" y="897"/>
                    <a:pt x="693" y="897"/>
                    <a:pt x="709" y="897"/>
                  </a:cubicBezTo>
                  <a:lnTo>
                    <a:pt x="822" y="897"/>
                  </a:lnTo>
                  <a:cubicBezTo>
                    <a:pt x="807" y="885"/>
                    <a:pt x="800" y="880"/>
                    <a:pt x="789" y="870"/>
                  </a:cubicBezTo>
                  <a:cubicBezTo>
                    <a:pt x="777" y="859"/>
                    <a:pt x="764" y="848"/>
                    <a:pt x="750" y="8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7" name="Freeform 9">
              <a:extLst>
                <a:ext uri="{FF2B5EF4-FFF2-40B4-BE49-F238E27FC236}">
                  <a16:creationId xmlns:a16="http://schemas.microsoft.com/office/drawing/2014/main" id="{7F1B4E05-1C49-4628-8296-6E4C82BBB070}"/>
                </a:ext>
              </a:extLst>
            </p:cNvPr>
            <p:cNvSpPr>
              <a:spLocks/>
            </p:cNvSpPr>
            <p:nvPr userDrawn="1"/>
          </p:nvSpPr>
          <p:spPr bwMode="auto">
            <a:xfrm>
              <a:off x="679" y="195"/>
              <a:ext cx="68" cy="84"/>
            </a:xfrm>
            <a:custGeom>
              <a:avLst/>
              <a:gdLst>
                <a:gd name="T0" fmla="*/ 668 w 765"/>
                <a:gd name="T1" fmla="*/ 790 h 944"/>
                <a:gd name="T2" fmla="*/ 668 w 765"/>
                <a:gd name="T3" fmla="*/ 790 h 944"/>
                <a:gd name="T4" fmla="*/ 512 w 765"/>
                <a:gd name="T5" fmla="*/ 823 h 944"/>
                <a:gd name="T6" fmla="*/ 281 w 765"/>
                <a:gd name="T7" fmla="*/ 727 h 944"/>
                <a:gd name="T8" fmla="*/ 191 w 765"/>
                <a:gd name="T9" fmla="*/ 478 h 944"/>
                <a:gd name="T10" fmla="*/ 272 w 765"/>
                <a:gd name="T11" fmla="*/ 236 h 944"/>
                <a:gd name="T12" fmla="*/ 354 w 765"/>
                <a:gd name="T13" fmla="*/ 170 h 944"/>
                <a:gd name="T14" fmla="*/ 527 w 765"/>
                <a:gd name="T15" fmla="*/ 126 h 944"/>
                <a:gd name="T16" fmla="*/ 688 w 765"/>
                <a:gd name="T17" fmla="*/ 159 h 944"/>
                <a:gd name="T18" fmla="*/ 762 w 765"/>
                <a:gd name="T19" fmla="*/ 199 h 944"/>
                <a:gd name="T20" fmla="*/ 762 w 765"/>
                <a:gd name="T21" fmla="*/ 31 h 944"/>
                <a:gd name="T22" fmla="*/ 708 w 765"/>
                <a:gd name="T23" fmla="*/ 16 h 944"/>
                <a:gd name="T24" fmla="*/ 550 w 765"/>
                <a:gd name="T25" fmla="*/ 0 h 944"/>
                <a:gd name="T26" fmla="*/ 294 w 765"/>
                <a:gd name="T27" fmla="*/ 48 h 944"/>
                <a:gd name="T28" fmla="*/ 171 w 765"/>
                <a:gd name="T29" fmla="*/ 121 h 944"/>
                <a:gd name="T30" fmla="*/ 0 w 765"/>
                <a:gd name="T31" fmla="*/ 488 h 944"/>
                <a:gd name="T32" fmla="*/ 164 w 765"/>
                <a:gd name="T33" fmla="*/ 840 h 944"/>
                <a:gd name="T34" fmla="*/ 499 w 765"/>
                <a:gd name="T35" fmla="*/ 944 h 944"/>
                <a:gd name="T36" fmla="*/ 751 w 765"/>
                <a:gd name="T37" fmla="*/ 904 h 944"/>
                <a:gd name="T38" fmla="*/ 765 w 765"/>
                <a:gd name="T39" fmla="*/ 899 h 944"/>
                <a:gd name="T40" fmla="*/ 765 w 765"/>
                <a:gd name="T41" fmla="*/ 736 h 944"/>
                <a:gd name="T42" fmla="*/ 724 w 765"/>
                <a:gd name="T43" fmla="*/ 763 h 944"/>
                <a:gd name="T44" fmla="*/ 668 w 765"/>
                <a:gd name="T45" fmla="*/ 79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5" h="944">
                  <a:moveTo>
                    <a:pt x="668" y="790"/>
                  </a:moveTo>
                  <a:lnTo>
                    <a:pt x="668" y="790"/>
                  </a:lnTo>
                  <a:cubicBezTo>
                    <a:pt x="614" y="813"/>
                    <a:pt x="565" y="823"/>
                    <a:pt x="512" y="823"/>
                  </a:cubicBezTo>
                  <a:cubicBezTo>
                    <a:pt x="419" y="823"/>
                    <a:pt x="340" y="790"/>
                    <a:pt x="281" y="727"/>
                  </a:cubicBezTo>
                  <a:cubicBezTo>
                    <a:pt x="222" y="664"/>
                    <a:pt x="191" y="577"/>
                    <a:pt x="191" y="478"/>
                  </a:cubicBezTo>
                  <a:cubicBezTo>
                    <a:pt x="191" y="384"/>
                    <a:pt x="220" y="297"/>
                    <a:pt x="272" y="236"/>
                  </a:cubicBezTo>
                  <a:cubicBezTo>
                    <a:pt x="295" y="210"/>
                    <a:pt x="322" y="187"/>
                    <a:pt x="354" y="170"/>
                  </a:cubicBezTo>
                  <a:cubicBezTo>
                    <a:pt x="404" y="141"/>
                    <a:pt x="463" y="126"/>
                    <a:pt x="527" y="126"/>
                  </a:cubicBezTo>
                  <a:cubicBezTo>
                    <a:pt x="582" y="126"/>
                    <a:pt x="635" y="137"/>
                    <a:pt x="688" y="159"/>
                  </a:cubicBezTo>
                  <a:cubicBezTo>
                    <a:pt x="722" y="172"/>
                    <a:pt x="734" y="179"/>
                    <a:pt x="762" y="199"/>
                  </a:cubicBezTo>
                  <a:lnTo>
                    <a:pt x="762" y="31"/>
                  </a:lnTo>
                  <a:cubicBezTo>
                    <a:pt x="740" y="24"/>
                    <a:pt x="731" y="21"/>
                    <a:pt x="708" y="16"/>
                  </a:cubicBezTo>
                  <a:cubicBezTo>
                    <a:pt x="656" y="5"/>
                    <a:pt x="606" y="0"/>
                    <a:pt x="550" y="0"/>
                  </a:cubicBezTo>
                  <a:cubicBezTo>
                    <a:pt x="453" y="0"/>
                    <a:pt x="370" y="16"/>
                    <a:pt x="294" y="48"/>
                  </a:cubicBezTo>
                  <a:cubicBezTo>
                    <a:pt x="249" y="67"/>
                    <a:pt x="207" y="91"/>
                    <a:pt x="171" y="121"/>
                  </a:cubicBezTo>
                  <a:cubicBezTo>
                    <a:pt x="60" y="210"/>
                    <a:pt x="0" y="339"/>
                    <a:pt x="0" y="488"/>
                  </a:cubicBezTo>
                  <a:cubicBezTo>
                    <a:pt x="0" y="632"/>
                    <a:pt x="58" y="756"/>
                    <a:pt x="164" y="840"/>
                  </a:cubicBezTo>
                  <a:cubicBezTo>
                    <a:pt x="251" y="909"/>
                    <a:pt x="364" y="944"/>
                    <a:pt x="499" y="944"/>
                  </a:cubicBezTo>
                  <a:cubicBezTo>
                    <a:pt x="583" y="944"/>
                    <a:pt x="662" y="931"/>
                    <a:pt x="751" y="904"/>
                  </a:cubicBezTo>
                  <a:cubicBezTo>
                    <a:pt x="754" y="903"/>
                    <a:pt x="759" y="901"/>
                    <a:pt x="765" y="899"/>
                  </a:cubicBezTo>
                  <a:lnTo>
                    <a:pt x="765" y="736"/>
                  </a:lnTo>
                  <a:cubicBezTo>
                    <a:pt x="744" y="750"/>
                    <a:pt x="736" y="755"/>
                    <a:pt x="724" y="763"/>
                  </a:cubicBezTo>
                  <a:cubicBezTo>
                    <a:pt x="706" y="773"/>
                    <a:pt x="688" y="782"/>
                    <a:pt x="668" y="7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8" name="Freeform 10">
              <a:extLst>
                <a:ext uri="{FF2B5EF4-FFF2-40B4-BE49-F238E27FC236}">
                  <a16:creationId xmlns:a16="http://schemas.microsoft.com/office/drawing/2014/main" id="{1E04FE10-677A-40F8-8E43-1902F64A8BB0}"/>
                </a:ext>
              </a:extLst>
            </p:cNvPr>
            <p:cNvSpPr>
              <a:spLocks/>
            </p:cNvSpPr>
            <p:nvPr userDrawn="1"/>
          </p:nvSpPr>
          <p:spPr bwMode="auto">
            <a:xfrm>
              <a:off x="471" y="197"/>
              <a:ext cx="78" cy="83"/>
            </a:xfrm>
            <a:custGeom>
              <a:avLst/>
              <a:gdLst>
                <a:gd name="T0" fmla="*/ 631 w 885"/>
                <a:gd name="T1" fmla="*/ 34 h 927"/>
                <a:gd name="T2" fmla="*/ 631 w 885"/>
                <a:gd name="T3" fmla="*/ 34 h 927"/>
                <a:gd name="T4" fmla="*/ 644 w 885"/>
                <a:gd name="T5" fmla="*/ 65 h 927"/>
                <a:gd name="T6" fmla="*/ 652 w 885"/>
                <a:gd name="T7" fmla="*/ 159 h 927"/>
                <a:gd name="T8" fmla="*/ 652 w 885"/>
                <a:gd name="T9" fmla="*/ 500 h 927"/>
                <a:gd name="T10" fmla="*/ 645 w 885"/>
                <a:gd name="T11" fmla="*/ 652 h 927"/>
                <a:gd name="T12" fmla="*/ 621 w 885"/>
                <a:gd name="T13" fmla="*/ 718 h 927"/>
                <a:gd name="T14" fmla="*/ 511 w 885"/>
                <a:gd name="T15" fmla="*/ 795 h 927"/>
                <a:gd name="T16" fmla="*/ 448 w 885"/>
                <a:gd name="T17" fmla="*/ 802 h 927"/>
                <a:gd name="T18" fmla="*/ 272 w 885"/>
                <a:gd name="T19" fmla="*/ 726 h 927"/>
                <a:gd name="T20" fmla="*/ 240 w 885"/>
                <a:gd name="T21" fmla="*/ 562 h 927"/>
                <a:gd name="T22" fmla="*/ 239 w 885"/>
                <a:gd name="T23" fmla="*/ 488 h 927"/>
                <a:gd name="T24" fmla="*/ 239 w 885"/>
                <a:gd name="T25" fmla="*/ 218 h 927"/>
                <a:gd name="T26" fmla="*/ 241 w 885"/>
                <a:gd name="T27" fmla="*/ 114 h 927"/>
                <a:gd name="T28" fmla="*/ 248 w 885"/>
                <a:gd name="T29" fmla="*/ 73 h 927"/>
                <a:gd name="T30" fmla="*/ 284 w 885"/>
                <a:gd name="T31" fmla="*/ 8 h 927"/>
                <a:gd name="T32" fmla="*/ 291 w 885"/>
                <a:gd name="T33" fmla="*/ 0 h 927"/>
                <a:gd name="T34" fmla="*/ 0 w 885"/>
                <a:gd name="T35" fmla="*/ 0 h 927"/>
                <a:gd name="T36" fmla="*/ 32 w 885"/>
                <a:gd name="T37" fmla="*/ 36 h 927"/>
                <a:gd name="T38" fmla="*/ 45 w 885"/>
                <a:gd name="T39" fmla="*/ 67 h 927"/>
                <a:gd name="T40" fmla="*/ 51 w 885"/>
                <a:gd name="T41" fmla="*/ 109 h 927"/>
                <a:gd name="T42" fmla="*/ 51 w 885"/>
                <a:gd name="T43" fmla="*/ 164 h 927"/>
                <a:gd name="T44" fmla="*/ 52 w 885"/>
                <a:gd name="T45" fmla="*/ 216 h 927"/>
                <a:gd name="T46" fmla="*/ 52 w 885"/>
                <a:gd name="T47" fmla="*/ 473 h 927"/>
                <a:gd name="T48" fmla="*/ 55 w 885"/>
                <a:gd name="T49" fmla="*/ 631 h 927"/>
                <a:gd name="T50" fmla="*/ 118 w 885"/>
                <a:gd name="T51" fmla="*/ 796 h 927"/>
                <a:gd name="T52" fmla="*/ 435 w 885"/>
                <a:gd name="T53" fmla="*/ 927 h 927"/>
                <a:gd name="T54" fmla="*/ 615 w 885"/>
                <a:gd name="T55" fmla="*/ 898 h 927"/>
                <a:gd name="T56" fmla="*/ 748 w 885"/>
                <a:gd name="T57" fmla="*/ 809 h 927"/>
                <a:gd name="T58" fmla="*/ 821 w 885"/>
                <a:gd name="T59" fmla="*/ 635 h 927"/>
                <a:gd name="T60" fmla="*/ 827 w 885"/>
                <a:gd name="T61" fmla="*/ 475 h 927"/>
                <a:gd name="T62" fmla="*/ 827 w 885"/>
                <a:gd name="T63" fmla="*/ 217 h 927"/>
                <a:gd name="T64" fmla="*/ 826 w 885"/>
                <a:gd name="T65" fmla="*/ 165 h 927"/>
                <a:gd name="T66" fmla="*/ 826 w 885"/>
                <a:gd name="T67" fmla="*/ 155 h 927"/>
                <a:gd name="T68" fmla="*/ 834 w 885"/>
                <a:gd name="T69" fmla="*/ 73 h 927"/>
                <a:gd name="T70" fmla="*/ 849 w 885"/>
                <a:gd name="T71" fmla="*/ 37 h 927"/>
                <a:gd name="T72" fmla="*/ 885 w 885"/>
                <a:gd name="T73" fmla="*/ 0 h 927"/>
                <a:gd name="T74" fmla="*/ 599 w 885"/>
                <a:gd name="T75" fmla="*/ 0 h 927"/>
                <a:gd name="T76" fmla="*/ 631 w 885"/>
                <a:gd name="T77" fmla="*/ 34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5" h="927">
                  <a:moveTo>
                    <a:pt x="631" y="34"/>
                  </a:moveTo>
                  <a:lnTo>
                    <a:pt x="631" y="34"/>
                  </a:lnTo>
                  <a:cubicBezTo>
                    <a:pt x="637" y="44"/>
                    <a:pt x="641" y="54"/>
                    <a:pt x="644" y="65"/>
                  </a:cubicBezTo>
                  <a:cubicBezTo>
                    <a:pt x="650" y="87"/>
                    <a:pt x="652" y="108"/>
                    <a:pt x="652" y="159"/>
                  </a:cubicBezTo>
                  <a:lnTo>
                    <a:pt x="652" y="500"/>
                  </a:lnTo>
                  <a:cubicBezTo>
                    <a:pt x="652" y="573"/>
                    <a:pt x="650" y="617"/>
                    <a:pt x="645" y="652"/>
                  </a:cubicBezTo>
                  <a:cubicBezTo>
                    <a:pt x="641" y="676"/>
                    <a:pt x="633" y="698"/>
                    <a:pt x="621" y="718"/>
                  </a:cubicBezTo>
                  <a:cubicBezTo>
                    <a:pt x="600" y="755"/>
                    <a:pt x="559" y="783"/>
                    <a:pt x="511" y="795"/>
                  </a:cubicBezTo>
                  <a:cubicBezTo>
                    <a:pt x="492" y="800"/>
                    <a:pt x="470" y="802"/>
                    <a:pt x="448" y="802"/>
                  </a:cubicBezTo>
                  <a:cubicBezTo>
                    <a:pt x="371" y="802"/>
                    <a:pt x="304" y="773"/>
                    <a:pt x="272" y="726"/>
                  </a:cubicBezTo>
                  <a:cubicBezTo>
                    <a:pt x="248" y="690"/>
                    <a:pt x="241" y="655"/>
                    <a:pt x="240" y="562"/>
                  </a:cubicBezTo>
                  <a:lnTo>
                    <a:pt x="239" y="488"/>
                  </a:lnTo>
                  <a:lnTo>
                    <a:pt x="239" y="218"/>
                  </a:lnTo>
                  <a:cubicBezTo>
                    <a:pt x="239" y="166"/>
                    <a:pt x="239" y="141"/>
                    <a:pt x="241" y="114"/>
                  </a:cubicBezTo>
                  <a:cubicBezTo>
                    <a:pt x="242" y="98"/>
                    <a:pt x="244" y="84"/>
                    <a:pt x="248" y="73"/>
                  </a:cubicBezTo>
                  <a:cubicBezTo>
                    <a:pt x="254" y="52"/>
                    <a:pt x="269" y="25"/>
                    <a:pt x="284" y="8"/>
                  </a:cubicBezTo>
                  <a:cubicBezTo>
                    <a:pt x="286" y="6"/>
                    <a:pt x="288" y="3"/>
                    <a:pt x="291" y="0"/>
                  </a:cubicBezTo>
                  <a:lnTo>
                    <a:pt x="0" y="0"/>
                  </a:lnTo>
                  <a:cubicBezTo>
                    <a:pt x="18" y="15"/>
                    <a:pt x="23" y="21"/>
                    <a:pt x="32" y="36"/>
                  </a:cubicBezTo>
                  <a:cubicBezTo>
                    <a:pt x="38" y="46"/>
                    <a:pt x="42" y="56"/>
                    <a:pt x="45" y="67"/>
                  </a:cubicBezTo>
                  <a:cubicBezTo>
                    <a:pt x="48" y="81"/>
                    <a:pt x="51" y="95"/>
                    <a:pt x="51" y="109"/>
                  </a:cubicBezTo>
                  <a:cubicBezTo>
                    <a:pt x="51" y="117"/>
                    <a:pt x="51" y="136"/>
                    <a:pt x="51" y="164"/>
                  </a:cubicBezTo>
                  <a:lnTo>
                    <a:pt x="52" y="216"/>
                  </a:lnTo>
                  <a:lnTo>
                    <a:pt x="52" y="473"/>
                  </a:lnTo>
                  <a:cubicBezTo>
                    <a:pt x="52" y="569"/>
                    <a:pt x="52" y="593"/>
                    <a:pt x="55" y="631"/>
                  </a:cubicBezTo>
                  <a:cubicBezTo>
                    <a:pt x="61" y="697"/>
                    <a:pt x="80" y="749"/>
                    <a:pt x="118" y="796"/>
                  </a:cubicBezTo>
                  <a:cubicBezTo>
                    <a:pt x="186" y="882"/>
                    <a:pt x="295" y="927"/>
                    <a:pt x="435" y="927"/>
                  </a:cubicBezTo>
                  <a:cubicBezTo>
                    <a:pt x="501" y="927"/>
                    <a:pt x="566" y="916"/>
                    <a:pt x="615" y="898"/>
                  </a:cubicBezTo>
                  <a:cubicBezTo>
                    <a:pt x="667" y="879"/>
                    <a:pt x="714" y="847"/>
                    <a:pt x="748" y="809"/>
                  </a:cubicBezTo>
                  <a:cubicBezTo>
                    <a:pt x="790" y="763"/>
                    <a:pt x="814" y="705"/>
                    <a:pt x="821" y="635"/>
                  </a:cubicBezTo>
                  <a:cubicBezTo>
                    <a:pt x="825" y="594"/>
                    <a:pt x="827" y="545"/>
                    <a:pt x="827" y="475"/>
                  </a:cubicBezTo>
                  <a:lnTo>
                    <a:pt x="827" y="217"/>
                  </a:lnTo>
                  <a:lnTo>
                    <a:pt x="826" y="165"/>
                  </a:lnTo>
                  <a:lnTo>
                    <a:pt x="826" y="155"/>
                  </a:lnTo>
                  <a:cubicBezTo>
                    <a:pt x="826" y="117"/>
                    <a:pt x="828" y="94"/>
                    <a:pt x="834" y="73"/>
                  </a:cubicBezTo>
                  <a:cubicBezTo>
                    <a:pt x="837" y="61"/>
                    <a:pt x="842" y="48"/>
                    <a:pt x="849" y="37"/>
                  </a:cubicBezTo>
                  <a:cubicBezTo>
                    <a:pt x="859" y="22"/>
                    <a:pt x="866" y="15"/>
                    <a:pt x="885" y="0"/>
                  </a:cubicBezTo>
                  <a:lnTo>
                    <a:pt x="599" y="0"/>
                  </a:lnTo>
                  <a:cubicBezTo>
                    <a:pt x="616" y="13"/>
                    <a:pt x="622" y="20"/>
                    <a:pt x="631"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9" name="Freeform 11">
              <a:extLst>
                <a:ext uri="{FF2B5EF4-FFF2-40B4-BE49-F238E27FC236}">
                  <a16:creationId xmlns:a16="http://schemas.microsoft.com/office/drawing/2014/main" id="{41247AD3-2593-4B15-AE2E-32BD9D241310}"/>
                </a:ext>
              </a:extLst>
            </p:cNvPr>
            <p:cNvSpPr>
              <a:spLocks/>
            </p:cNvSpPr>
            <p:nvPr userDrawn="1"/>
          </p:nvSpPr>
          <p:spPr bwMode="auto">
            <a:xfrm>
              <a:off x="381" y="197"/>
              <a:ext cx="77" cy="80"/>
            </a:xfrm>
            <a:custGeom>
              <a:avLst/>
              <a:gdLst>
                <a:gd name="T0" fmla="*/ 654 w 865"/>
                <a:gd name="T1" fmla="*/ 771 h 897"/>
                <a:gd name="T2" fmla="*/ 654 w 865"/>
                <a:gd name="T3" fmla="*/ 771 h 897"/>
                <a:gd name="T4" fmla="*/ 513 w 865"/>
                <a:gd name="T5" fmla="*/ 783 h 897"/>
                <a:gd name="T6" fmla="*/ 442 w 865"/>
                <a:gd name="T7" fmla="*/ 784 h 897"/>
                <a:gd name="T8" fmla="*/ 304 w 865"/>
                <a:gd name="T9" fmla="*/ 784 h 897"/>
                <a:gd name="T10" fmla="*/ 848 w 865"/>
                <a:gd name="T11" fmla="*/ 0 h 897"/>
                <a:gd name="T12" fmla="*/ 143 w 865"/>
                <a:gd name="T13" fmla="*/ 0 h 897"/>
                <a:gd name="T14" fmla="*/ 56 w 865"/>
                <a:gd name="T15" fmla="*/ 191 h 897"/>
                <a:gd name="T16" fmla="*/ 121 w 865"/>
                <a:gd name="T17" fmla="*/ 160 h 897"/>
                <a:gd name="T18" fmla="*/ 248 w 865"/>
                <a:gd name="T19" fmla="*/ 124 h 897"/>
                <a:gd name="T20" fmla="*/ 375 w 865"/>
                <a:gd name="T21" fmla="*/ 113 h 897"/>
                <a:gd name="T22" fmla="*/ 444 w 865"/>
                <a:gd name="T23" fmla="*/ 112 h 897"/>
                <a:gd name="T24" fmla="*/ 549 w 865"/>
                <a:gd name="T25" fmla="*/ 112 h 897"/>
                <a:gd name="T26" fmla="*/ 0 w 865"/>
                <a:gd name="T27" fmla="*/ 897 h 897"/>
                <a:gd name="T28" fmla="*/ 776 w 865"/>
                <a:gd name="T29" fmla="*/ 897 h 897"/>
                <a:gd name="T30" fmla="*/ 865 w 865"/>
                <a:gd name="T31" fmla="*/ 692 h 897"/>
                <a:gd name="T32" fmla="*/ 800 w 865"/>
                <a:gd name="T33" fmla="*/ 727 h 897"/>
                <a:gd name="T34" fmla="*/ 654 w 865"/>
                <a:gd name="T35" fmla="*/ 771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 h="897">
                  <a:moveTo>
                    <a:pt x="654" y="771"/>
                  </a:moveTo>
                  <a:lnTo>
                    <a:pt x="654" y="771"/>
                  </a:lnTo>
                  <a:cubicBezTo>
                    <a:pt x="614" y="778"/>
                    <a:pt x="569" y="782"/>
                    <a:pt x="513" y="783"/>
                  </a:cubicBezTo>
                  <a:cubicBezTo>
                    <a:pt x="495" y="784"/>
                    <a:pt x="471" y="784"/>
                    <a:pt x="442" y="784"/>
                  </a:cubicBezTo>
                  <a:lnTo>
                    <a:pt x="304" y="784"/>
                  </a:lnTo>
                  <a:lnTo>
                    <a:pt x="848" y="0"/>
                  </a:lnTo>
                  <a:lnTo>
                    <a:pt x="143" y="0"/>
                  </a:lnTo>
                  <a:lnTo>
                    <a:pt x="56" y="191"/>
                  </a:lnTo>
                  <a:cubicBezTo>
                    <a:pt x="85" y="176"/>
                    <a:pt x="96" y="170"/>
                    <a:pt x="121" y="160"/>
                  </a:cubicBezTo>
                  <a:cubicBezTo>
                    <a:pt x="162" y="144"/>
                    <a:pt x="206" y="132"/>
                    <a:pt x="248" y="124"/>
                  </a:cubicBezTo>
                  <a:cubicBezTo>
                    <a:pt x="285" y="118"/>
                    <a:pt x="319" y="115"/>
                    <a:pt x="375" y="113"/>
                  </a:cubicBezTo>
                  <a:cubicBezTo>
                    <a:pt x="400" y="112"/>
                    <a:pt x="423" y="112"/>
                    <a:pt x="444" y="112"/>
                  </a:cubicBezTo>
                  <a:lnTo>
                    <a:pt x="549" y="112"/>
                  </a:lnTo>
                  <a:lnTo>
                    <a:pt x="0" y="897"/>
                  </a:lnTo>
                  <a:lnTo>
                    <a:pt x="776" y="897"/>
                  </a:lnTo>
                  <a:lnTo>
                    <a:pt x="865" y="692"/>
                  </a:lnTo>
                  <a:cubicBezTo>
                    <a:pt x="834" y="710"/>
                    <a:pt x="823" y="716"/>
                    <a:pt x="800" y="727"/>
                  </a:cubicBezTo>
                  <a:cubicBezTo>
                    <a:pt x="754" y="747"/>
                    <a:pt x="705" y="762"/>
                    <a:pt x="654" y="7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0" name="Freeform 12">
              <a:extLst>
                <a:ext uri="{FF2B5EF4-FFF2-40B4-BE49-F238E27FC236}">
                  <a16:creationId xmlns:a16="http://schemas.microsoft.com/office/drawing/2014/main" id="{572ADC10-CD08-4D6A-B222-9D3819CDFDBB}"/>
                </a:ext>
              </a:extLst>
            </p:cNvPr>
            <p:cNvSpPr>
              <a:spLocks noEditPoints="1"/>
            </p:cNvSpPr>
            <p:nvPr userDrawn="1"/>
          </p:nvSpPr>
          <p:spPr bwMode="auto">
            <a:xfrm>
              <a:off x="850" y="167"/>
              <a:ext cx="18" cy="18"/>
            </a:xfrm>
            <a:custGeom>
              <a:avLst/>
              <a:gdLst>
                <a:gd name="T0" fmla="*/ 102 w 203"/>
                <a:gd name="T1" fmla="*/ 189 h 203"/>
                <a:gd name="T2" fmla="*/ 102 w 203"/>
                <a:gd name="T3" fmla="*/ 189 h 203"/>
                <a:gd name="T4" fmla="*/ 17 w 203"/>
                <a:gd name="T5" fmla="*/ 102 h 203"/>
                <a:gd name="T6" fmla="*/ 102 w 203"/>
                <a:gd name="T7" fmla="*/ 15 h 203"/>
                <a:gd name="T8" fmla="*/ 187 w 203"/>
                <a:gd name="T9" fmla="*/ 102 h 203"/>
                <a:gd name="T10" fmla="*/ 102 w 203"/>
                <a:gd name="T11" fmla="*/ 189 h 203"/>
                <a:gd name="T12" fmla="*/ 102 w 203"/>
                <a:gd name="T13" fmla="*/ 189 h 203"/>
                <a:gd name="T14" fmla="*/ 102 w 203"/>
                <a:gd name="T15" fmla="*/ 0 h 203"/>
                <a:gd name="T16" fmla="*/ 102 w 203"/>
                <a:gd name="T17" fmla="*/ 0 h 203"/>
                <a:gd name="T18" fmla="*/ 0 w 203"/>
                <a:gd name="T19" fmla="*/ 102 h 203"/>
                <a:gd name="T20" fmla="*/ 102 w 203"/>
                <a:gd name="T21" fmla="*/ 203 h 203"/>
                <a:gd name="T22" fmla="*/ 203 w 203"/>
                <a:gd name="T23" fmla="*/ 102 h 203"/>
                <a:gd name="T24" fmla="*/ 102 w 203"/>
                <a:gd name="T2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203">
                  <a:moveTo>
                    <a:pt x="102" y="189"/>
                  </a:moveTo>
                  <a:lnTo>
                    <a:pt x="102" y="189"/>
                  </a:lnTo>
                  <a:cubicBezTo>
                    <a:pt x="54" y="189"/>
                    <a:pt x="17" y="154"/>
                    <a:pt x="17" y="102"/>
                  </a:cubicBezTo>
                  <a:cubicBezTo>
                    <a:pt x="17" y="50"/>
                    <a:pt x="54" y="15"/>
                    <a:pt x="102" y="15"/>
                  </a:cubicBezTo>
                  <a:cubicBezTo>
                    <a:pt x="150" y="15"/>
                    <a:pt x="187" y="50"/>
                    <a:pt x="187" y="102"/>
                  </a:cubicBezTo>
                  <a:cubicBezTo>
                    <a:pt x="187" y="154"/>
                    <a:pt x="150" y="189"/>
                    <a:pt x="102" y="189"/>
                  </a:cubicBezTo>
                  <a:lnTo>
                    <a:pt x="102" y="189"/>
                  </a:lnTo>
                  <a:close/>
                  <a:moveTo>
                    <a:pt x="102" y="0"/>
                  </a:moveTo>
                  <a:lnTo>
                    <a:pt x="102" y="0"/>
                  </a:lnTo>
                  <a:cubicBezTo>
                    <a:pt x="46" y="0"/>
                    <a:pt x="0" y="42"/>
                    <a:pt x="0" y="102"/>
                  </a:cubicBezTo>
                  <a:cubicBezTo>
                    <a:pt x="0" y="162"/>
                    <a:pt x="46" y="203"/>
                    <a:pt x="102" y="203"/>
                  </a:cubicBezTo>
                  <a:cubicBezTo>
                    <a:pt x="158" y="203"/>
                    <a:pt x="203" y="162"/>
                    <a:pt x="203" y="102"/>
                  </a:cubicBezTo>
                  <a:cubicBezTo>
                    <a:pt x="203" y="42"/>
                    <a:pt x="158" y="0"/>
                    <a:pt x="10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1" name="Freeform 13">
              <a:extLst>
                <a:ext uri="{FF2B5EF4-FFF2-40B4-BE49-F238E27FC236}">
                  <a16:creationId xmlns:a16="http://schemas.microsoft.com/office/drawing/2014/main" id="{398F446D-EC4D-4BFB-87DA-8DE6584F8CF0}"/>
                </a:ext>
              </a:extLst>
            </p:cNvPr>
            <p:cNvSpPr>
              <a:spLocks noEditPoints="1"/>
            </p:cNvSpPr>
            <p:nvPr userDrawn="1"/>
          </p:nvSpPr>
          <p:spPr bwMode="auto">
            <a:xfrm>
              <a:off x="856" y="171"/>
              <a:ext cx="7" cy="9"/>
            </a:xfrm>
            <a:custGeom>
              <a:avLst/>
              <a:gdLst>
                <a:gd name="T0" fmla="*/ 40 w 87"/>
                <a:gd name="T1" fmla="*/ 50 h 107"/>
                <a:gd name="T2" fmla="*/ 40 w 87"/>
                <a:gd name="T3" fmla="*/ 50 h 107"/>
                <a:gd name="T4" fmla="*/ 15 w 87"/>
                <a:gd name="T5" fmla="*/ 50 h 107"/>
                <a:gd name="T6" fmla="*/ 15 w 87"/>
                <a:gd name="T7" fmla="*/ 16 h 107"/>
                <a:gd name="T8" fmla="*/ 38 w 87"/>
                <a:gd name="T9" fmla="*/ 16 h 107"/>
                <a:gd name="T10" fmla="*/ 66 w 87"/>
                <a:gd name="T11" fmla="*/ 33 h 107"/>
                <a:gd name="T12" fmla="*/ 40 w 87"/>
                <a:gd name="T13" fmla="*/ 50 h 107"/>
                <a:gd name="T14" fmla="*/ 40 w 87"/>
                <a:gd name="T15" fmla="*/ 50 h 107"/>
                <a:gd name="T16" fmla="*/ 83 w 87"/>
                <a:gd name="T17" fmla="*/ 33 h 107"/>
                <a:gd name="T18" fmla="*/ 83 w 87"/>
                <a:gd name="T19" fmla="*/ 33 h 107"/>
                <a:gd name="T20" fmla="*/ 32 w 87"/>
                <a:gd name="T21" fmla="*/ 0 h 107"/>
                <a:gd name="T22" fmla="*/ 0 w 87"/>
                <a:gd name="T23" fmla="*/ 0 h 107"/>
                <a:gd name="T24" fmla="*/ 0 w 87"/>
                <a:gd name="T25" fmla="*/ 107 h 107"/>
                <a:gd name="T26" fmla="*/ 15 w 87"/>
                <a:gd name="T27" fmla="*/ 107 h 107"/>
                <a:gd name="T28" fmla="*/ 15 w 87"/>
                <a:gd name="T29" fmla="*/ 66 h 107"/>
                <a:gd name="T30" fmla="*/ 44 w 87"/>
                <a:gd name="T31" fmla="*/ 66 h 107"/>
                <a:gd name="T32" fmla="*/ 46 w 87"/>
                <a:gd name="T33" fmla="*/ 65 h 107"/>
                <a:gd name="T34" fmla="*/ 69 w 87"/>
                <a:gd name="T35" fmla="*/ 107 h 107"/>
                <a:gd name="T36" fmla="*/ 87 w 87"/>
                <a:gd name="T37" fmla="*/ 107 h 107"/>
                <a:gd name="T38" fmla="*/ 62 w 87"/>
                <a:gd name="T39" fmla="*/ 62 h 107"/>
                <a:gd name="T40" fmla="*/ 83 w 87"/>
                <a:gd name="T41"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107">
                  <a:moveTo>
                    <a:pt x="40" y="50"/>
                  </a:moveTo>
                  <a:lnTo>
                    <a:pt x="40" y="50"/>
                  </a:lnTo>
                  <a:lnTo>
                    <a:pt x="15" y="50"/>
                  </a:lnTo>
                  <a:lnTo>
                    <a:pt x="15" y="16"/>
                  </a:lnTo>
                  <a:lnTo>
                    <a:pt x="38" y="16"/>
                  </a:lnTo>
                  <a:cubicBezTo>
                    <a:pt x="54" y="16"/>
                    <a:pt x="66" y="19"/>
                    <a:pt x="66" y="33"/>
                  </a:cubicBezTo>
                  <a:cubicBezTo>
                    <a:pt x="66" y="45"/>
                    <a:pt x="58" y="50"/>
                    <a:pt x="40" y="50"/>
                  </a:cubicBezTo>
                  <a:lnTo>
                    <a:pt x="40" y="50"/>
                  </a:lnTo>
                  <a:close/>
                  <a:moveTo>
                    <a:pt x="83" y="33"/>
                  </a:moveTo>
                  <a:lnTo>
                    <a:pt x="83" y="33"/>
                  </a:lnTo>
                  <a:cubicBezTo>
                    <a:pt x="83" y="5"/>
                    <a:pt x="64" y="0"/>
                    <a:pt x="32" y="0"/>
                  </a:cubicBezTo>
                  <a:lnTo>
                    <a:pt x="0" y="0"/>
                  </a:lnTo>
                  <a:lnTo>
                    <a:pt x="0" y="107"/>
                  </a:lnTo>
                  <a:lnTo>
                    <a:pt x="15" y="107"/>
                  </a:lnTo>
                  <a:lnTo>
                    <a:pt x="15" y="66"/>
                  </a:lnTo>
                  <a:lnTo>
                    <a:pt x="44" y="66"/>
                  </a:lnTo>
                  <a:cubicBezTo>
                    <a:pt x="45" y="66"/>
                    <a:pt x="46" y="66"/>
                    <a:pt x="46" y="65"/>
                  </a:cubicBezTo>
                  <a:lnTo>
                    <a:pt x="69" y="107"/>
                  </a:lnTo>
                  <a:lnTo>
                    <a:pt x="87" y="107"/>
                  </a:lnTo>
                  <a:lnTo>
                    <a:pt x="62" y="62"/>
                  </a:lnTo>
                  <a:cubicBezTo>
                    <a:pt x="76" y="56"/>
                    <a:pt x="83" y="45"/>
                    <a:pt x="83" y="3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grpSp>
      <p:sp>
        <p:nvSpPr>
          <p:cNvPr id="36" name="Picture Placeholder 22">
            <a:extLst>
              <a:ext uri="{FF2B5EF4-FFF2-40B4-BE49-F238E27FC236}">
                <a16:creationId xmlns:a16="http://schemas.microsoft.com/office/drawing/2014/main" id="{8A849791-6852-4C64-AE72-FB234CCCE27F}"/>
              </a:ext>
            </a:extLst>
          </p:cNvPr>
          <p:cNvSpPr>
            <a:spLocks noGrp="1" noChangeAspect="1"/>
          </p:cNvSpPr>
          <p:nvPr>
            <p:ph type="pic" sz="quarter" idx="18"/>
          </p:nvPr>
        </p:nvSpPr>
        <p:spPr>
          <a:xfrm>
            <a:off x="6813533" y="1274619"/>
            <a:ext cx="5040000" cy="5040000"/>
          </a:xfrm>
          <a:custGeom>
            <a:avLst/>
            <a:gdLst>
              <a:gd name="connsiteX0" fmla="*/ 991609 w 1983218"/>
              <a:gd name="connsiteY0" fmla="*/ 0 h 1983218"/>
              <a:gd name="connsiteX1" fmla="*/ 1983218 w 1983218"/>
              <a:gd name="connsiteY1" fmla="*/ 991609 h 1983218"/>
              <a:gd name="connsiteX2" fmla="*/ 991679 w 1983218"/>
              <a:gd name="connsiteY2" fmla="*/ 1983218 h 1983218"/>
              <a:gd name="connsiteX3" fmla="*/ 236970 w 1983218"/>
              <a:gd name="connsiteY3" fmla="*/ 1634445 h 1983218"/>
              <a:gd name="connsiteX4" fmla="*/ 303087 w 1983218"/>
              <a:gd name="connsiteY4" fmla="*/ 1615274 h 1983218"/>
              <a:gd name="connsiteX5" fmla="*/ 372492 w 1983218"/>
              <a:gd name="connsiteY5" fmla="*/ 1609677 h 1983218"/>
              <a:gd name="connsiteX6" fmla="*/ 515919 w 1983218"/>
              <a:gd name="connsiteY6" fmla="*/ 1624440 h 1983218"/>
              <a:gd name="connsiteX7" fmla="*/ 637938 w 1983218"/>
              <a:gd name="connsiteY7" fmla="*/ 1637593 h 1983218"/>
              <a:gd name="connsiteX8" fmla="*/ 643955 w 1983218"/>
              <a:gd name="connsiteY8" fmla="*/ 1637523 h 1983218"/>
              <a:gd name="connsiteX9" fmla="*/ 747083 w 1983218"/>
              <a:gd name="connsiteY9" fmla="*/ 1603520 h 1983218"/>
              <a:gd name="connsiteX10" fmla="*/ 816768 w 1983218"/>
              <a:gd name="connsiteY10" fmla="*/ 1511167 h 1983218"/>
              <a:gd name="connsiteX11" fmla="*/ 835448 w 1983218"/>
              <a:gd name="connsiteY11" fmla="*/ 1457994 h 1983218"/>
              <a:gd name="connsiteX12" fmla="*/ 816558 w 1983218"/>
              <a:gd name="connsiteY12" fmla="*/ 1453166 h 1983218"/>
              <a:gd name="connsiteX13" fmla="*/ 810261 w 1983218"/>
              <a:gd name="connsiteY13" fmla="*/ 1465830 h 1983218"/>
              <a:gd name="connsiteX14" fmla="*/ 747083 w 1983218"/>
              <a:gd name="connsiteY14" fmla="*/ 1537893 h 1983218"/>
              <a:gd name="connsiteX15" fmla="*/ 701466 w 1983218"/>
              <a:gd name="connsiteY15" fmla="*/ 1559862 h 1983218"/>
              <a:gd name="connsiteX16" fmla="*/ 627303 w 1983218"/>
              <a:gd name="connsiteY16" fmla="*/ 1568748 h 1983218"/>
              <a:gd name="connsiteX17" fmla="*/ 571192 w 1983218"/>
              <a:gd name="connsiteY17" fmla="*/ 1566789 h 1983218"/>
              <a:gd name="connsiteX18" fmla="*/ 508573 w 1983218"/>
              <a:gd name="connsiteY18" fmla="*/ 1562941 h 1983218"/>
              <a:gd name="connsiteX19" fmla="*/ 443576 w 1983218"/>
              <a:gd name="connsiteY19" fmla="*/ 1560352 h 1983218"/>
              <a:gd name="connsiteX20" fmla="*/ 392922 w 1983218"/>
              <a:gd name="connsiteY20" fmla="*/ 1562871 h 1983218"/>
              <a:gd name="connsiteX21" fmla="*/ 745334 w 1983218"/>
              <a:gd name="connsiteY21" fmla="*/ 1091659 h 1983218"/>
              <a:gd name="connsiteX22" fmla="*/ 301828 w 1983218"/>
              <a:gd name="connsiteY22" fmla="*/ 1091659 h 1983218"/>
              <a:gd name="connsiteX23" fmla="*/ 267125 w 1983218"/>
              <a:gd name="connsiteY23" fmla="*/ 1225291 h 1983218"/>
              <a:gd name="connsiteX24" fmla="*/ 287835 w 1983218"/>
              <a:gd name="connsiteY24" fmla="*/ 1229979 h 1983218"/>
              <a:gd name="connsiteX25" fmla="*/ 293572 w 1983218"/>
              <a:gd name="connsiteY25" fmla="*/ 1218924 h 1983218"/>
              <a:gd name="connsiteX26" fmla="*/ 336950 w 1983218"/>
              <a:gd name="connsiteY26" fmla="*/ 1167361 h 1983218"/>
              <a:gd name="connsiteX27" fmla="*/ 380328 w 1983218"/>
              <a:gd name="connsiteY27" fmla="*/ 1149659 h 1983218"/>
              <a:gd name="connsiteX28" fmla="*/ 485975 w 1983218"/>
              <a:gd name="connsiteY28" fmla="*/ 1141474 h 1983218"/>
              <a:gd name="connsiteX29" fmla="*/ 523755 w 1983218"/>
              <a:gd name="connsiteY29" fmla="*/ 1141544 h 1983218"/>
              <a:gd name="connsiteX30" fmla="*/ 561886 w 1983218"/>
              <a:gd name="connsiteY30" fmla="*/ 1141474 h 1983218"/>
              <a:gd name="connsiteX31" fmla="*/ 210943 w 1983218"/>
              <a:gd name="connsiteY31" fmla="*/ 1602681 h 1983218"/>
              <a:gd name="connsiteX32" fmla="*/ 0 w 1983218"/>
              <a:gd name="connsiteY32" fmla="*/ 991609 h 1983218"/>
              <a:gd name="connsiteX33" fmla="*/ 991609 w 1983218"/>
              <a:gd name="connsiteY33" fmla="*/ 0 h 198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83218" h="1983218">
                <a:moveTo>
                  <a:pt x="991609" y="0"/>
                </a:moveTo>
                <a:cubicBezTo>
                  <a:pt x="1539293" y="0"/>
                  <a:pt x="1983218" y="443996"/>
                  <a:pt x="1983218" y="991609"/>
                </a:cubicBezTo>
                <a:cubicBezTo>
                  <a:pt x="1983218" y="1539293"/>
                  <a:pt x="1539293" y="1983218"/>
                  <a:pt x="991679" y="1983218"/>
                </a:cubicBezTo>
                <a:cubicBezTo>
                  <a:pt x="689362" y="1983218"/>
                  <a:pt x="418878" y="1847767"/>
                  <a:pt x="236970" y="1634445"/>
                </a:cubicBezTo>
                <a:cubicBezTo>
                  <a:pt x="261668" y="1623390"/>
                  <a:pt x="274122" y="1619822"/>
                  <a:pt x="303087" y="1615274"/>
                </a:cubicBezTo>
                <a:cubicBezTo>
                  <a:pt x="326245" y="1611496"/>
                  <a:pt x="348494" y="1609677"/>
                  <a:pt x="372492" y="1609677"/>
                </a:cubicBezTo>
                <a:cubicBezTo>
                  <a:pt x="408314" y="1609677"/>
                  <a:pt x="444625" y="1613455"/>
                  <a:pt x="515919" y="1624440"/>
                </a:cubicBezTo>
                <a:cubicBezTo>
                  <a:pt x="586024" y="1635144"/>
                  <a:pt x="608693" y="1637593"/>
                  <a:pt x="637938" y="1637593"/>
                </a:cubicBezTo>
                <a:lnTo>
                  <a:pt x="643955" y="1637523"/>
                </a:lnTo>
                <a:cubicBezTo>
                  <a:pt x="683485" y="1636823"/>
                  <a:pt x="716858" y="1625909"/>
                  <a:pt x="747083" y="1603520"/>
                </a:cubicBezTo>
                <a:cubicBezTo>
                  <a:pt x="776468" y="1581831"/>
                  <a:pt x="797807" y="1553425"/>
                  <a:pt x="816768" y="1511167"/>
                </a:cubicBezTo>
                <a:cubicBezTo>
                  <a:pt x="826073" y="1490317"/>
                  <a:pt x="829291" y="1481362"/>
                  <a:pt x="835448" y="1457994"/>
                </a:cubicBezTo>
                <a:lnTo>
                  <a:pt x="816558" y="1453166"/>
                </a:lnTo>
                <a:cubicBezTo>
                  <a:pt x="813969" y="1458763"/>
                  <a:pt x="811660" y="1463031"/>
                  <a:pt x="810261" y="1465830"/>
                </a:cubicBezTo>
                <a:cubicBezTo>
                  <a:pt x="795918" y="1493326"/>
                  <a:pt x="771850" y="1520752"/>
                  <a:pt x="747083" y="1537893"/>
                </a:cubicBezTo>
                <a:cubicBezTo>
                  <a:pt x="732950" y="1547478"/>
                  <a:pt x="717628" y="1554895"/>
                  <a:pt x="701466" y="1559862"/>
                </a:cubicBezTo>
                <a:cubicBezTo>
                  <a:pt x="680546" y="1566229"/>
                  <a:pt x="659557" y="1568748"/>
                  <a:pt x="627303" y="1568748"/>
                </a:cubicBezTo>
                <a:cubicBezTo>
                  <a:pt x="612821" y="1568748"/>
                  <a:pt x="593720" y="1568048"/>
                  <a:pt x="571192" y="1566789"/>
                </a:cubicBezTo>
                <a:lnTo>
                  <a:pt x="508573" y="1562941"/>
                </a:lnTo>
                <a:cubicBezTo>
                  <a:pt x="479608" y="1561262"/>
                  <a:pt x="457849" y="1560352"/>
                  <a:pt x="443576" y="1560352"/>
                </a:cubicBezTo>
                <a:cubicBezTo>
                  <a:pt x="425035" y="1560352"/>
                  <a:pt x="415800" y="1560842"/>
                  <a:pt x="392922" y="1562871"/>
                </a:cubicBezTo>
                <a:lnTo>
                  <a:pt x="745334" y="1091659"/>
                </a:lnTo>
                <a:lnTo>
                  <a:pt x="301828" y="1091659"/>
                </a:lnTo>
                <a:lnTo>
                  <a:pt x="267125" y="1225291"/>
                </a:lnTo>
                <a:lnTo>
                  <a:pt x="287835" y="1229979"/>
                </a:lnTo>
                <a:cubicBezTo>
                  <a:pt x="290283" y="1224871"/>
                  <a:pt x="292242" y="1221303"/>
                  <a:pt x="293572" y="1218924"/>
                </a:cubicBezTo>
                <a:cubicBezTo>
                  <a:pt x="305116" y="1198285"/>
                  <a:pt x="322817" y="1177225"/>
                  <a:pt x="336950" y="1167361"/>
                </a:cubicBezTo>
                <a:cubicBezTo>
                  <a:pt x="348984" y="1158895"/>
                  <a:pt x="363746" y="1152948"/>
                  <a:pt x="380328" y="1149659"/>
                </a:cubicBezTo>
                <a:cubicBezTo>
                  <a:pt x="407684" y="1144342"/>
                  <a:pt x="445605" y="1141474"/>
                  <a:pt x="485975" y="1141474"/>
                </a:cubicBezTo>
                <a:lnTo>
                  <a:pt x="523755" y="1141544"/>
                </a:lnTo>
                <a:lnTo>
                  <a:pt x="561886" y="1141474"/>
                </a:lnTo>
                <a:lnTo>
                  <a:pt x="210943" y="1602681"/>
                </a:lnTo>
                <a:cubicBezTo>
                  <a:pt x="78920" y="1434276"/>
                  <a:pt x="0" y="1222213"/>
                  <a:pt x="0" y="991609"/>
                </a:cubicBezTo>
                <a:cubicBezTo>
                  <a:pt x="0" y="443996"/>
                  <a:pt x="443996" y="0"/>
                  <a:pt x="991609" y="0"/>
                </a:cubicBezTo>
                <a:close/>
              </a:path>
            </a:pathLst>
          </a:custGeom>
        </p:spPr>
        <p:txBody>
          <a:bodyPr wrap="square">
            <a:noAutofit/>
          </a:bodyPr>
          <a:lstStyle>
            <a:lvl1pPr marL="0" indent="0" algn="ctr">
              <a:buNone/>
              <a:defRPr>
                <a:latin typeface="+mn-lt"/>
                <a:cs typeface="Arial" panose="020B0604020202020204" pitchFamily="34" charset="0"/>
              </a:defRPr>
            </a:lvl1pPr>
          </a:lstStyle>
          <a:p>
            <a:r>
              <a:rPr lang="nl-NL"/>
              <a:t>Klik op het pictogram als u een afbeelding wilt toevoegen</a:t>
            </a:r>
            <a:endParaRPr lang="en-US"/>
          </a:p>
        </p:txBody>
      </p:sp>
      <p:sp>
        <p:nvSpPr>
          <p:cNvPr id="32" name="Slide Number Placeholder 5">
            <a:extLst>
              <a:ext uri="{FF2B5EF4-FFF2-40B4-BE49-F238E27FC236}">
                <a16:creationId xmlns:a16="http://schemas.microsoft.com/office/drawing/2014/main" id="{93FBEF06-3376-4805-93CA-9F93395D9603}"/>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84B6CFBF-971A-45D4-9A48-C535D13B975C}"/>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708403575"/>
      </p:ext>
    </p:extLst>
  </p:cSld>
  <p:clrMapOvr>
    <a:masterClrMapping/>
  </p:clrMapOvr>
  <p:hf hdr="0" dt="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text box and 3 images ">
    <p:spTree>
      <p:nvGrpSpPr>
        <p:cNvPr id="1" name=""/>
        <p:cNvGrpSpPr/>
        <p:nvPr/>
      </p:nvGrpSpPr>
      <p:grpSpPr>
        <a:xfrm>
          <a:off x="0" y="0"/>
          <a:ext cx="0" cy="0"/>
          <a:chOff x="0" y="0"/>
          <a:chExt cx="0" cy="0"/>
        </a:xfrm>
      </p:grpSpPr>
      <p:sp>
        <p:nvSpPr>
          <p:cNvPr id="16" name="Picture Placeholder 3">
            <a:extLst>
              <a:ext uri="{FF2B5EF4-FFF2-40B4-BE49-F238E27FC236}">
                <a16:creationId xmlns:a16="http://schemas.microsoft.com/office/drawing/2014/main" id="{240E76D1-56AB-41F8-8334-371CEAB4738C}"/>
              </a:ext>
            </a:extLst>
          </p:cNvPr>
          <p:cNvSpPr>
            <a:spLocks noGrp="1"/>
          </p:cNvSpPr>
          <p:nvPr>
            <p:ph type="pic" sz="quarter" idx="28"/>
          </p:nvPr>
        </p:nvSpPr>
        <p:spPr>
          <a:xfrm>
            <a:off x="1079656" y="1436992"/>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nl-NL"/>
              <a:t>Klik op het pictogram als u een afbeelding wilt toevoegen</a:t>
            </a:r>
            <a:endParaRPr lang="en-GB"/>
          </a:p>
        </p:txBody>
      </p:sp>
      <p:sp>
        <p:nvSpPr>
          <p:cNvPr id="17" name="Picture Placeholder 3">
            <a:extLst>
              <a:ext uri="{FF2B5EF4-FFF2-40B4-BE49-F238E27FC236}">
                <a16:creationId xmlns:a16="http://schemas.microsoft.com/office/drawing/2014/main" id="{BFDFBA93-64DC-4F26-953C-E4271D7A5F2C}"/>
              </a:ext>
            </a:extLst>
          </p:cNvPr>
          <p:cNvSpPr>
            <a:spLocks noGrp="1"/>
          </p:cNvSpPr>
          <p:nvPr>
            <p:ph type="pic" sz="quarter" idx="29"/>
          </p:nvPr>
        </p:nvSpPr>
        <p:spPr>
          <a:xfrm>
            <a:off x="4871864" y="1436992"/>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nl-NL"/>
              <a:t>Klik op het pictogram als u een afbeelding wilt toevoegen</a:t>
            </a:r>
            <a:endParaRPr lang="en-GB"/>
          </a:p>
        </p:txBody>
      </p:sp>
      <p:sp>
        <p:nvSpPr>
          <p:cNvPr id="18" name="Picture Placeholder 3">
            <a:extLst>
              <a:ext uri="{FF2B5EF4-FFF2-40B4-BE49-F238E27FC236}">
                <a16:creationId xmlns:a16="http://schemas.microsoft.com/office/drawing/2014/main" id="{33BE1813-D5B5-4415-BB63-F6AD5397276E}"/>
              </a:ext>
            </a:extLst>
          </p:cNvPr>
          <p:cNvSpPr>
            <a:spLocks noGrp="1"/>
          </p:cNvSpPr>
          <p:nvPr>
            <p:ph type="pic" sz="quarter" idx="30"/>
          </p:nvPr>
        </p:nvSpPr>
        <p:spPr>
          <a:xfrm>
            <a:off x="8688288" y="1436992"/>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nl-NL"/>
              <a:t>Klik op het pictogram als u een afbeelding wilt toevoegen</a:t>
            </a:r>
            <a:endParaRPr lang="en-GB"/>
          </a:p>
        </p:txBody>
      </p:sp>
      <p:sp>
        <p:nvSpPr>
          <p:cNvPr id="20" name="Title 1">
            <a:extLst>
              <a:ext uri="{FF2B5EF4-FFF2-40B4-BE49-F238E27FC236}">
                <a16:creationId xmlns:a16="http://schemas.microsoft.com/office/drawing/2014/main" id="{6E310D89-47FE-194B-8632-078ED6BD782F}"/>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nl-NL"/>
              <a:t>Klik om stijl te bewerken</a:t>
            </a:r>
            <a:endParaRPr lang="en-US"/>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nl-NL"/>
              <a:t>Klikken om de ondertitelstijl van het model te bewerken</a:t>
            </a:r>
            <a:endParaRPr lang="en-GB" noProof="0"/>
          </a:p>
        </p:txBody>
      </p:sp>
      <p:grpSp>
        <p:nvGrpSpPr>
          <p:cNvPr id="22" name="Group 4">
            <a:extLst>
              <a:ext uri="{FF2B5EF4-FFF2-40B4-BE49-F238E27FC236}">
                <a16:creationId xmlns:a16="http://schemas.microsoft.com/office/drawing/2014/main" id="{120CBD0B-068A-4C9D-A5D9-CC3C32A54D71}"/>
              </a:ext>
            </a:extLst>
          </p:cNvPr>
          <p:cNvGrpSpPr>
            <a:grpSpLocks noChangeAspect="1"/>
          </p:cNvGrpSpPr>
          <p:nvPr userDrawn="1"/>
        </p:nvGrpSpPr>
        <p:grpSpPr bwMode="auto">
          <a:xfrm>
            <a:off x="10178596" y="158751"/>
            <a:ext cx="1773767" cy="683683"/>
            <a:chOff x="79" y="75"/>
            <a:chExt cx="838" cy="323"/>
          </a:xfrm>
          <a:solidFill>
            <a:schemeClr val="accent1"/>
          </a:solidFill>
        </p:grpSpPr>
        <p:sp>
          <p:nvSpPr>
            <p:cNvPr id="23" name="AutoShape 3">
              <a:extLst>
                <a:ext uri="{FF2B5EF4-FFF2-40B4-BE49-F238E27FC236}">
                  <a16:creationId xmlns:a16="http://schemas.microsoft.com/office/drawing/2014/main" id="{E104E6B1-C1DC-467A-BB1D-FF9D3EC1AC9B}"/>
                </a:ext>
              </a:extLst>
            </p:cNvPr>
            <p:cNvSpPr>
              <a:spLocks noChangeAspect="1" noChangeArrowheads="1" noTextEdit="1"/>
            </p:cNvSpPr>
            <p:nvPr userDrawn="1"/>
          </p:nvSpPr>
          <p:spPr bwMode="auto">
            <a:xfrm>
              <a:off x="79" y="75"/>
              <a:ext cx="838" cy="32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4" name="Freeform 5">
              <a:extLst>
                <a:ext uri="{FF2B5EF4-FFF2-40B4-BE49-F238E27FC236}">
                  <a16:creationId xmlns:a16="http://schemas.microsoft.com/office/drawing/2014/main" id="{D2DB3497-EF73-45DC-A6F1-AD7FD36C2A42}"/>
                </a:ext>
              </a:extLst>
            </p:cNvPr>
            <p:cNvSpPr>
              <a:spLocks/>
            </p:cNvSpPr>
            <p:nvPr userDrawn="1"/>
          </p:nvSpPr>
          <p:spPr bwMode="auto">
            <a:xfrm>
              <a:off x="159" y="155"/>
              <a:ext cx="163" cy="164"/>
            </a:xfrm>
            <a:custGeom>
              <a:avLst/>
              <a:gdLst>
                <a:gd name="T0" fmla="*/ 920 w 1841"/>
                <a:gd name="T1" fmla="*/ 0 h 1842"/>
                <a:gd name="T2" fmla="*/ 920 w 1841"/>
                <a:gd name="T3" fmla="*/ 0 h 1842"/>
                <a:gd name="T4" fmla="*/ 0 w 1841"/>
                <a:gd name="T5" fmla="*/ 921 h 1842"/>
                <a:gd name="T6" fmla="*/ 0 w 1841"/>
                <a:gd name="T7" fmla="*/ 921 h 1842"/>
                <a:gd name="T8" fmla="*/ 188 w 1841"/>
                <a:gd name="T9" fmla="*/ 1479 h 1842"/>
                <a:gd name="T10" fmla="*/ 954 w 1841"/>
                <a:gd name="T11" fmla="*/ 473 h 1842"/>
                <a:gd name="T12" fmla="*/ 871 w 1841"/>
                <a:gd name="T13" fmla="*/ 474 h 1842"/>
                <a:gd name="T14" fmla="*/ 790 w 1841"/>
                <a:gd name="T15" fmla="*/ 473 h 1842"/>
                <a:gd name="T16" fmla="*/ 561 w 1841"/>
                <a:gd name="T17" fmla="*/ 491 h 1842"/>
                <a:gd name="T18" fmla="*/ 467 w 1841"/>
                <a:gd name="T19" fmla="*/ 530 h 1842"/>
                <a:gd name="T20" fmla="*/ 374 w 1841"/>
                <a:gd name="T21" fmla="*/ 641 h 1842"/>
                <a:gd name="T22" fmla="*/ 361 w 1841"/>
                <a:gd name="T23" fmla="*/ 665 h 1842"/>
                <a:gd name="T24" fmla="*/ 316 w 1841"/>
                <a:gd name="T25" fmla="*/ 655 h 1842"/>
                <a:gd name="T26" fmla="*/ 392 w 1841"/>
                <a:gd name="T27" fmla="*/ 366 h 1842"/>
                <a:gd name="T28" fmla="*/ 1350 w 1841"/>
                <a:gd name="T29" fmla="*/ 366 h 1842"/>
                <a:gd name="T30" fmla="*/ 588 w 1841"/>
                <a:gd name="T31" fmla="*/ 1385 h 1842"/>
                <a:gd name="T32" fmla="*/ 698 w 1841"/>
                <a:gd name="T33" fmla="*/ 1379 h 1842"/>
                <a:gd name="T34" fmla="*/ 839 w 1841"/>
                <a:gd name="T35" fmla="*/ 1385 h 1842"/>
                <a:gd name="T36" fmla="*/ 974 w 1841"/>
                <a:gd name="T37" fmla="*/ 1393 h 1842"/>
                <a:gd name="T38" fmla="*/ 1095 w 1841"/>
                <a:gd name="T39" fmla="*/ 1397 h 1842"/>
                <a:gd name="T40" fmla="*/ 1255 w 1841"/>
                <a:gd name="T41" fmla="*/ 1378 h 1842"/>
                <a:gd name="T42" fmla="*/ 1354 w 1841"/>
                <a:gd name="T43" fmla="*/ 1331 h 1842"/>
                <a:gd name="T44" fmla="*/ 1491 w 1841"/>
                <a:gd name="T45" fmla="*/ 1175 h 1842"/>
                <a:gd name="T46" fmla="*/ 1504 w 1841"/>
                <a:gd name="T47" fmla="*/ 1147 h 1842"/>
                <a:gd name="T48" fmla="*/ 1545 w 1841"/>
                <a:gd name="T49" fmla="*/ 1158 h 1842"/>
                <a:gd name="T50" fmla="*/ 1505 w 1841"/>
                <a:gd name="T51" fmla="*/ 1273 h 1842"/>
                <a:gd name="T52" fmla="*/ 1354 w 1841"/>
                <a:gd name="T53" fmla="*/ 1472 h 1842"/>
                <a:gd name="T54" fmla="*/ 1131 w 1841"/>
                <a:gd name="T55" fmla="*/ 1546 h 1842"/>
                <a:gd name="T56" fmla="*/ 1118 w 1841"/>
                <a:gd name="T57" fmla="*/ 1546 h 1842"/>
                <a:gd name="T58" fmla="*/ 854 w 1841"/>
                <a:gd name="T59" fmla="*/ 1518 h 1842"/>
                <a:gd name="T60" fmla="*/ 544 w 1841"/>
                <a:gd name="T61" fmla="*/ 1486 h 1842"/>
                <a:gd name="T62" fmla="*/ 394 w 1841"/>
                <a:gd name="T63" fmla="*/ 1498 h 1842"/>
                <a:gd name="T64" fmla="*/ 242 w 1841"/>
                <a:gd name="T65" fmla="*/ 1543 h 1842"/>
                <a:gd name="T66" fmla="*/ 920 w 1841"/>
                <a:gd name="T67" fmla="*/ 1842 h 1842"/>
                <a:gd name="T68" fmla="*/ 1841 w 1841"/>
                <a:gd name="T69" fmla="*/ 921 h 1842"/>
                <a:gd name="T70" fmla="*/ 920 w 1841"/>
                <a:gd name="T71" fmla="*/ 0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41" h="1842">
                  <a:moveTo>
                    <a:pt x="920" y="0"/>
                  </a:moveTo>
                  <a:lnTo>
                    <a:pt x="920" y="0"/>
                  </a:lnTo>
                  <a:cubicBezTo>
                    <a:pt x="412" y="0"/>
                    <a:pt x="0" y="412"/>
                    <a:pt x="0" y="921"/>
                  </a:cubicBezTo>
                  <a:lnTo>
                    <a:pt x="0" y="921"/>
                  </a:lnTo>
                  <a:cubicBezTo>
                    <a:pt x="0" y="1131"/>
                    <a:pt x="70" y="1325"/>
                    <a:pt x="188" y="1479"/>
                  </a:cubicBezTo>
                  <a:lnTo>
                    <a:pt x="954" y="473"/>
                  </a:lnTo>
                  <a:lnTo>
                    <a:pt x="871" y="474"/>
                  </a:lnTo>
                  <a:lnTo>
                    <a:pt x="790" y="473"/>
                  </a:lnTo>
                  <a:cubicBezTo>
                    <a:pt x="702" y="473"/>
                    <a:pt x="620" y="480"/>
                    <a:pt x="561" y="491"/>
                  </a:cubicBezTo>
                  <a:cubicBezTo>
                    <a:pt x="525" y="498"/>
                    <a:pt x="493" y="511"/>
                    <a:pt x="467" y="530"/>
                  </a:cubicBezTo>
                  <a:cubicBezTo>
                    <a:pt x="437" y="551"/>
                    <a:pt x="399" y="596"/>
                    <a:pt x="374" y="641"/>
                  </a:cubicBezTo>
                  <a:cubicBezTo>
                    <a:pt x="371" y="646"/>
                    <a:pt x="367" y="654"/>
                    <a:pt x="361" y="665"/>
                  </a:cubicBezTo>
                  <a:lnTo>
                    <a:pt x="316" y="655"/>
                  </a:lnTo>
                  <a:lnTo>
                    <a:pt x="392" y="366"/>
                  </a:lnTo>
                  <a:lnTo>
                    <a:pt x="1350" y="366"/>
                  </a:lnTo>
                  <a:lnTo>
                    <a:pt x="588" y="1385"/>
                  </a:lnTo>
                  <a:cubicBezTo>
                    <a:pt x="638" y="1380"/>
                    <a:pt x="658" y="1379"/>
                    <a:pt x="698" y="1379"/>
                  </a:cubicBezTo>
                  <a:cubicBezTo>
                    <a:pt x="729" y="1379"/>
                    <a:pt x="776" y="1381"/>
                    <a:pt x="839" y="1385"/>
                  </a:cubicBezTo>
                  <a:lnTo>
                    <a:pt x="974" y="1393"/>
                  </a:lnTo>
                  <a:cubicBezTo>
                    <a:pt x="1023" y="1396"/>
                    <a:pt x="1064" y="1397"/>
                    <a:pt x="1095" y="1397"/>
                  </a:cubicBezTo>
                  <a:cubicBezTo>
                    <a:pt x="1165" y="1397"/>
                    <a:pt x="1210" y="1392"/>
                    <a:pt x="1255" y="1378"/>
                  </a:cubicBezTo>
                  <a:cubicBezTo>
                    <a:pt x="1290" y="1367"/>
                    <a:pt x="1324" y="1351"/>
                    <a:pt x="1354" y="1331"/>
                  </a:cubicBezTo>
                  <a:cubicBezTo>
                    <a:pt x="1408" y="1293"/>
                    <a:pt x="1460" y="1234"/>
                    <a:pt x="1491" y="1175"/>
                  </a:cubicBezTo>
                  <a:cubicBezTo>
                    <a:pt x="1494" y="1169"/>
                    <a:pt x="1499" y="1160"/>
                    <a:pt x="1504" y="1147"/>
                  </a:cubicBezTo>
                  <a:lnTo>
                    <a:pt x="1545" y="1158"/>
                  </a:lnTo>
                  <a:cubicBezTo>
                    <a:pt x="1532" y="1208"/>
                    <a:pt x="1525" y="1228"/>
                    <a:pt x="1505" y="1273"/>
                  </a:cubicBezTo>
                  <a:cubicBezTo>
                    <a:pt x="1464" y="1364"/>
                    <a:pt x="1417" y="1425"/>
                    <a:pt x="1354" y="1472"/>
                  </a:cubicBezTo>
                  <a:cubicBezTo>
                    <a:pt x="1289" y="1521"/>
                    <a:pt x="1216" y="1544"/>
                    <a:pt x="1131" y="1546"/>
                  </a:cubicBezTo>
                  <a:lnTo>
                    <a:pt x="1118" y="1546"/>
                  </a:lnTo>
                  <a:cubicBezTo>
                    <a:pt x="1055" y="1546"/>
                    <a:pt x="1006" y="1541"/>
                    <a:pt x="854" y="1518"/>
                  </a:cubicBezTo>
                  <a:cubicBezTo>
                    <a:pt x="700" y="1494"/>
                    <a:pt x="621" y="1486"/>
                    <a:pt x="544" y="1486"/>
                  </a:cubicBezTo>
                  <a:cubicBezTo>
                    <a:pt x="492" y="1486"/>
                    <a:pt x="444" y="1490"/>
                    <a:pt x="394" y="1498"/>
                  </a:cubicBezTo>
                  <a:cubicBezTo>
                    <a:pt x="328" y="1508"/>
                    <a:pt x="302" y="1516"/>
                    <a:pt x="242" y="1543"/>
                  </a:cubicBezTo>
                  <a:cubicBezTo>
                    <a:pt x="410" y="1727"/>
                    <a:pt x="652" y="1842"/>
                    <a:pt x="920" y="1842"/>
                  </a:cubicBezTo>
                  <a:cubicBezTo>
                    <a:pt x="1429" y="1842"/>
                    <a:pt x="1841" y="1430"/>
                    <a:pt x="1841" y="921"/>
                  </a:cubicBezTo>
                  <a:cubicBezTo>
                    <a:pt x="1841" y="412"/>
                    <a:pt x="1429" y="0"/>
                    <a:pt x="9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5" name="Freeform 6">
              <a:extLst>
                <a:ext uri="{FF2B5EF4-FFF2-40B4-BE49-F238E27FC236}">
                  <a16:creationId xmlns:a16="http://schemas.microsoft.com/office/drawing/2014/main" id="{5691E393-78CA-4B9E-9494-DA83F7CB10D4}"/>
                </a:ext>
              </a:extLst>
            </p:cNvPr>
            <p:cNvSpPr>
              <a:spLocks/>
            </p:cNvSpPr>
            <p:nvPr userDrawn="1"/>
          </p:nvSpPr>
          <p:spPr bwMode="auto">
            <a:xfrm>
              <a:off x="642" y="197"/>
              <a:ext cx="25" cy="80"/>
            </a:xfrm>
            <a:custGeom>
              <a:avLst/>
              <a:gdLst>
                <a:gd name="T0" fmla="*/ 232 w 288"/>
                <a:gd name="T1" fmla="*/ 166 h 897"/>
                <a:gd name="T2" fmla="*/ 232 w 288"/>
                <a:gd name="T3" fmla="*/ 166 h 897"/>
                <a:gd name="T4" fmla="*/ 241 w 288"/>
                <a:gd name="T5" fmla="*/ 65 h 897"/>
                <a:gd name="T6" fmla="*/ 254 w 288"/>
                <a:gd name="T7" fmla="*/ 37 h 897"/>
                <a:gd name="T8" fmla="*/ 288 w 288"/>
                <a:gd name="T9" fmla="*/ 0 h 897"/>
                <a:gd name="T10" fmla="*/ 0 w 288"/>
                <a:gd name="T11" fmla="*/ 0 h 897"/>
                <a:gd name="T12" fmla="*/ 33 w 288"/>
                <a:gd name="T13" fmla="*/ 35 h 897"/>
                <a:gd name="T14" fmla="*/ 47 w 288"/>
                <a:gd name="T15" fmla="*/ 64 h 897"/>
                <a:gd name="T16" fmla="*/ 56 w 288"/>
                <a:gd name="T17" fmla="*/ 161 h 897"/>
                <a:gd name="T18" fmla="*/ 56 w 288"/>
                <a:gd name="T19" fmla="*/ 215 h 897"/>
                <a:gd name="T20" fmla="*/ 56 w 288"/>
                <a:gd name="T21" fmla="*/ 752 h 897"/>
                <a:gd name="T22" fmla="*/ 42 w 288"/>
                <a:gd name="T23" fmla="*/ 839 h 897"/>
                <a:gd name="T24" fmla="*/ 28 w 288"/>
                <a:gd name="T25" fmla="*/ 865 h 897"/>
                <a:gd name="T26" fmla="*/ 1 w 288"/>
                <a:gd name="T27" fmla="*/ 897 h 897"/>
                <a:gd name="T28" fmla="*/ 285 w 288"/>
                <a:gd name="T29" fmla="*/ 897 h 897"/>
                <a:gd name="T30" fmla="*/ 258 w 288"/>
                <a:gd name="T31" fmla="*/ 865 h 897"/>
                <a:gd name="T32" fmla="*/ 243 w 288"/>
                <a:gd name="T33" fmla="*/ 838 h 897"/>
                <a:gd name="T34" fmla="*/ 231 w 288"/>
                <a:gd name="T35" fmla="*/ 759 h 897"/>
                <a:gd name="T36" fmla="*/ 231 w 288"/>
                <a:gd name="T37" fmla="*/ 218 h 897"/>
                <a:gd name="T38" fmla="*/ 232 w 288"/>
                <a:gd name="T39" fmla="*/ 16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897">
                  <a:moveTo>
                    <a:pt x="232" y="166"/>
                  </a:moveTo>
                  <a:lnTo>
                    <a:pt x="232" y="166"/>
                  </a:lnTo>
                  <a:cubicBezTo>
                    <a:pt x="232" y="106"/>
                    <a:pt x="233" y="89"/>
                    <a:pt x="241" y="65"/>
                  </a:cubicBezTo>
                  <a:cubicBezTo>
                    <a:pt x="244" y="55"/>
                    <a:pt x="248" y="46"/>
                    <a:pt x="254" y="37"/>
                  </a:cubicBezTo>
                  <a:cubicBezTo>
                    <a:pt x="263" y="22"/>
                    <a:pt x="270" y="14"/>
                    <a:pt x="288" y="0"/>
                  </a:cubicBezTo>
                  <a:lnTo>
                    <a:pt x="0" y="0"/>
                  </a:lnTo>
                  <a:cubicBezTo>
                    <a:pt x="18" y="16"/>
                    <a:pt x="24" y="22"/>
                    <a:pt x="33" y="35"/>
                  </a:cubicBezTo>
                  <a:cubicBezTo>
                    <a:pt x="39" y="44"/>
                    <a:pt x="44" y="54"/>
                    <a:pt x="47" y="64"/>
                  </a:cubicBezTo>
                  <a:cubicBezTo>
                    <a:pt x="53" y="86"/>
                    <a:pt x="56" y="108"/>
                    <a:pt x="56" y="161"/>
                  </a:cubicBezTo>
                  <a:cubicBezTo>
                    <a:pt x="56" y="188"/>
                    <a:pt x="56" y="206"/>
                    <a:pt x="56" y="215"/>
                  </a:cubicBezTo>
                  <a:lnTo>
                    <a:pt x="56" y="752"/>
                  </a:lnTo>
                  <a:cubicBezTo>
                    <a:pt x="56" y="784"/>
                    <a:pt x="51" y="817"/>
                    <a:pt x="42" y="839"/>
                  </a:cubicBezTo>
                  <a:cubicBezTo>
                    <a:pt x="39" y="848"/>
                    <a:pt x="34" y="857"/>
                    <a:pt x="28" y="865"/>
                  </a:cubicBezTo>
                  <a:cubicBezTo>
                    <a:pt x="21" y="875"/>
                    <a:pt x="16" y="880"/>
                    <a:pt x="1" y="897"/>
                  </a:cubicBezTo>
                  <a:lnTo>
                    <a:pt x="285" y="897"/>
                  </a:lnTo>
                  <a:cubicBezTo>
                    <a:pt x="271" y="885"/>
                    <a:pt x="266" y="879"/>
                    <a:pt x="258" y="865"/>
                  </a:cubicBezTo>
                  <a:cubicBezTo>
                    <a:pt x="252" y="856"/>
                    <a:pt x="247" y="847"/>
                    <a:pt x="243" y="838"/>
                  </a:cubicBezTo>
                  <a:cubicBezTo>
                    <a:pt x="236" y="817"/>
                    <a:pt x="231" y="787"/>
                    <a:pt x="231" y="759"/>
                  </a:cubicBezTo>
                  <a:lnTo>
                    <a:pt x="231" y="218"/>
                  </a:lnTo>
                  <a:lnTo>
                    <a:pt x="232" y="1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6" name="Freeform 7">
              <a:extLst>
                <a:ext uri="{FF2B5EF4-FFF2-40B4-BE49-F238E27FC236}">
                  <a16:creationId xmlns:a16="http://schemas.microsoft.com/office/drawing/2014/main" id="{C65EB71A-6536-4B43-9DB4-67DC4EE291B6}"/>
                </a:ext>
              </a:extLst>
            </p:cNvPr>
            <p:cNvSpPr>
              <a:spLocks/>
            </p:cNvSpPr>
            <p:nvPr userDrawn="1"/>
          </p:nvSpPr>
          <p:spPr bwMode="auto">
            <a:xfrm>
              <a:off x="761" y="197"/>
              <a:ext cx="77" cy="80"/>
            </a:xfrm>
            <a:custGeom>
              <a:avLst/>
              <a:gdLst>
                <a:gd name="T0" fmla="*/ 810 w 869"/>
                <a:gd name="T1" fmla="*/ 165 h 897"/>
                <a:gd name="T2" fmla="*/ 810 w 869"/>
                <a:gd name="T3" fmla="*/ 165 h 897"/>
                <a:gd name="T4" fmla="*/ 819 w 869"/>
                <a:gd name="T5" fmla="*/ 70 h 897"/>
                <a:gd name="T6" fmla="*/ 834 w 869"/>
                <a:gd name="T7" fmla="*/ 37 h 897"/>
                <a:gd name="T8" fmla="*/ 869 w 869"/>
                <a:gd name="T9" fmla="*/ 0 h 897"/>
                <a:gd name="T10" fmla="*/ 576 w 869"/>
                <a:gd name="T11" fmla="*/ 0 h 897"/>
                <a:gd name="T12" fmla="*/ 609 w 869"/>
                <a:gd name="T13" fmla="*/ 36 h 897"/>
                <a:gd name="T14" fmla="*/ 624 w 869"/>
                <a:gd name="T15" fmla="*/ 67 h 897"/>
                <a:gd name="T16" fmla="*/ 634 w 869"/>
                <a:gd name="T17" fmla="*/ 162 h 897"/>
                <a:gd name="T18" fmla="*/ 634 w 869"/>
                <a:gd name="T19" fmla="*/ 379 h 897"/>
                <a:gd name="T20" fmla="*/ 232 w 869"/>
                <a:gd name="T21" fmla="*/ 379 h 897"/>
                <a:gd name="T22" fmla="*/ 232 w 869"/>
                <a:gd name="T23" fmla="*/ 216 h 897"/>
                <a:gd name="T24" fmla="*/ 234 w 869"/>
                <a:gd name="T25" fmla="*/ 109 h 897"/>
                <a:gd name="T26" fmla="*/ 241 w 869"/>
                <a:gd name="T27" fmla="*/ 70 h 897"/>
                <a:gd name="T28" fmla="*/ 278 w 869"/>
                <a:gd name="T29" fmla="*/ 9 h 897"/>
                <a:gd name="T30" fmla="*/ 288 w 869"/>
                <a:gd name="T31" fmla="*/ 0 h 897"/>
                <a:gd name="T32" fmla="*/ 1 w 869"/>
                <a:gd name="T33" fmla="*/ 0 h 897"/>
                <a:gd name="T34" fmla="*/ 30 w 869"/>
                <a:gd name="T35" fmla="*/ 34 h 897"/>
                <a:gd name="T36" fmla="*/ 46 w 869"/>
                <a:gd name="T37" fmla="*/ 64 h 897"/>
                <a:gd name="T38" fmla="*/ 56 w 869"/>
                <a:gd name="T39" fmla="*/ 159 h 897"/>
                <a:gd name="T40" fmla="*/ 57 w 869"/>
                <a:gd name="T41" fmla="*/ 216 h 897"/>
                <a:gd name="T42" fmla="*/ 57 w 869"/>
                <a:gd name="T43" fmla="*/ 707 h 897"/>
                <a:gd name="T44" fmla="*/ 53 w 869"/>
                <a:gd name="T45" fmla="*/ 802 h 897"/>
                <a:gd name="T46" fmla="*/ 44 w 869"/>
                <a:gd name="T47" fmla="*/ 838 h 897"/>
                <a:gd name="T48" fmla="*/ 9 w 869"/>
                <a:gd name="T49" fmla="*/ 888 h 897"/>
                <a:gd name="T50" fmla="*/ 0 w 869"/>
                <a:gd name="T51" fmla="*/ 897 h 897"/>
                <a:gd name="T52" fmla="*/ 284 w 869"/>
                <a:gd name="T53" fmla="*/ 897 h 897"/>
                <a:gd name="T54" fmla="*/ 260 w 869"/>
                <a:gd name="T55" fmla="*/ 867 h 897"/>
                <a:gd name="T56" fmla="*/ 245 w 869"/>
                <a:gd name="T57" fmla="*/ 839 h 897"/>
                <a:gd name="T58" fmla="*/ 232 w 869"/>
                <a:gd name="T59" fmla="*/ 761 h 897"/>
                <a:gd name="T60" fmla="*/ 232 w 869"/>
                <a:gd name="T61" fmla="*/ 707 h 897"/>
                <a:gd name="T62" fmla="*/ 232 w 869"/>
                <a:gd name="T63" fmla="*/ 490 h 897"/>
                <a:gd name="T64" fmla="*/ 634 w 869"/>
                <a:gd name="T65" fmla="*/ 490 h 897"/>
                <a:gd name="T66" fmla="*/ 634 w 869"/>
                <a:gd name="T67" fmla="*/ 709 h 897"/>
                <a:gd name="T68" fmla="*/ 630 w 869"/>
                <a:gd name="T69" fmla="*/ 800 h 897"/>
                <a:gd name="T70" fmla="*/ 620 w 869"/>
                <a:gd name="T71" fmla="*/ 838 h 897"/>
                <a:gd name="T72" fmla="*/ 588 w 869"/>
                <a:gd name="T73" fmla="*/ 885 h 897"/>
                <a:gd name="T74" fmla="*/ 575 w 869"/>
                <a:gd name="T75" fmla="*/ 897 h 897"/>
                <a:gd name="T76" fmla="*/ 862 w 869"/>
                <a:gd name="T77" fmla="*/ 897 h 897"/>
                <a:gd name="T78" fmla="*/ 838 w 869"/>
                <a:gd name="T79" fmla="*/ 869 h 897"/>
                <a:gd name="T80" fmla="*/ 821 w 869"/>
                <a:gd name="T81" fmla="*/ 839 h 897"/>
                <a:gd name="T82" fmla="*/ 810 w 869"/>
                <a:gd name="T83" fmla="*/ 758 h 897"/>
                <a:gd name="T84" fmla="*/ 809 w 869"/>
                <a:gd name="T85" fmla="*/ 712 h 897"/>
                <a:gd name="T86" fmla="*/ 810 w 869"/>
                <a:gd name="T87" fmla="*/ 218 h 897"/>
                <a:gd name="T88" fmla="*/ 810 w 869"/>
                <a:gd name="T89" fmla="*/ 16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9" h="897">
                  <a:moveTo>
                    <a:pt x="810" y="165"/>
                  </a:moveTo>
                  <a:lnTo>
                    <a:pt x="810" y="165"/>
                  </a:lnTo>
                  <a:cubicBezTo>
                    <a:pt x="810" y="125"/>
                    <a:pt x="813" y="95"/>
                    <a:pt x="819" y="70"/>
                  </a:cubicBezTo>
                  <a:cubicBezTo>
                    <a:pt x="823" y="59"/>
                    <a:pt x="828" y="48"/>
                    <a:pt x="834" y="37"/>
                  </a:cubicBezTo>
                  <a:cubicBezTo>
                    <a:pt x="843" y="22"/>
                    <a:pt x="850" y="14"/>
                    <a:pt x="869" y="0"/>
                  </a:cubicBezTo>
                  <a:lnTo>
                    <a:pt x="576" y="0"/>
                  </a:lnTo>
                  <a:cubicBezTo>
                    <a:pt x="593" y="14"/>
                    <a:pt x="599" y="20"/>
                    <a:pt x="609" y="36"/>
                  </a:cubicBezTo>
                  <a:cubicBezTo>
                    <a:pt x="616" y="46"/>
                    <a:pt x="621" y="57"/>
                    <a:pt x="624" y="67"/>
                  </a:cubicBezTo>
                  <a:cubicBezTo>
                    <a:pt x="631" y="88"/>
                    <a:pt x="634" y="115"/>
                    <a:pt x="634" y="162"/>
                  </a:cubicBezTo>
                  <a:lnTo>
                    <a:pt x="634" y="379"/>
                  </a:lnTo>
                  <a:lnTo>
                    <a:pt x="232" y="379"/>
                  </a:lnTo>
                  <a:lnTo>
                    <a:pt x="232" y="216"/>
                  </a:lnTo>
                  <a:cubicBezTo>
                    <a:pt x="232" y="166"/>
                    <a:pt x="232" y="134"/>
                    <a:pt x="234" y="109"/>
                  </a:cubicBezTo>
                  <a:cubicBezTo>
                    <a:pt x="235" y="95"/>
                    <a:pt x="238" y="82"/>
                    <a:pt x="241" y="70"/>
                  </a:cubicBezTo>
                  <a:cubicBezTo>
                    <a:pt x="247" y="51"/>
                    <a:pt x="264" y="24"/>
                    <a:pt x="278" y="9"/>
                  </a:cubicBezTo>
                  <a:cubicBezTo>
                    <a:pt x="280" y="7"/>
                    <a:pt x="284" y="4"/>
                    <a:pt x="288" y="0"/>
                  </a:cubicBezTo>
                  <a:lnTo>
                    <a:pt x="1" y="0"/>
                  </a:lnTo>
                  <a:cubicBezTo>
                    <a:pt x="18" y="17"/>
                    <a:pt x="23" y="23"/>
                    <a:pt x="30" y="34"/>
                  </a:cubicBezTo>
                  <a:cubicBezTo>
                    <a:pt x="37" y="43"/>
                    <a:pt x="42" y="53"/>
                    <a:pt x="46" y="64"/>
                  </a:cubicBezTo>
                  <a:cubicBezTo>
                    <a:pt x="53" y="87"/>
                    <a:pt x="55" y="100"/>
                    <a:pt x="56" y="159"/>
                  </a:cubicBezTo>
                  <a:lnTo>
                    <a:pt x="57" y="216"/>
                  </a:lnTo>
                  <a:lnTo>
                    <a:pt x="57" y="707"/>
                  </a:lnTo>
                  <a:cubicBezTo>
                    <a:pt x="57" y="757"/>
                    <a:pt x="56" y="779"/>
                    <a:pt x="53" y="802"/>
                  </a:cubicBezTo>
                  <a:cubicBezTo>
                    <a:pt x="51" y="814"/>
                    <a:pt x="48" y="825"/>
                    <a:pt x="44" y="838"/>
                  </a:cubicBezTo>
                  <a:cubicBezTo>
                    <a:pt x="37" y="857"/>
                    <a:pt x="26" y="872"/>
                    <a:pt x="9" y="888"/>
                  </a:cubicBezTo>
                  <a:cubicBezTo>
                    <a:pt x="7" y="890"/>
                    <a:pt x="4" y="893"/>
                    <a:pt x="0" y="897"/>
                  </a:cubicBezTo>
                  <a:lnTo>
                    <a:pt x="284" y="897"/>
                  </a:lnTo>
                  <a:cubicBezTo>
                    <a:pt x="271" y="884"/>
                    <a:pt x="267" y="878"/>
                    <a:pt x="260" y="867"/>
                  </a:cubicBezTo>
                  <a:cubicBezTo>
                    <a:pt x="254" y="859"/>
                    <a:pt x="249" y="849"/>
                    <a:pt x="245" y="839"/>
                  </a:cubicBezTo>
                  <a:cubicBezTo>
                    <a:pt x="236" y="815"/>
                    <a:pt x="233" y="799"/>
                    <a:pt x="232" y="761"/>
                  </a:cubicBezTo>
                  <a:cubicBezTo>
                    <a:pt x="232" y="741"/>
                    <a:pt x="232" y="724"/>
                    <a:pt x="232" y="707"/>
                  </a:cubicBezTo>
                  <a:lnTo>
                    <a:pt x="232" y="490"/>
                  </a:lnTo>
                  <a:lnTo>
                    <a:pt x="634" y="490"/>
                  </a:lnTo>
                  <a:lnTo>
                    <a:pt x="634" y="709"/>
                  </a:lnTo>
                  <a:cubicBezTo>
                    <a:pt x="634" y="757"/>
                    <a:pt x="633" y="775"/>
                    <a:pt x="630" y="800"/>
                  </a:cubicBezTo>
                  <a:cubicBezTo>
                    <a:pt x="628" y="813"/>
                    <a:pt x="625" y="826"/>
                    <a:pt x="620" y="838"/>
                  </a:cubicBezTo>
                  <a:cubicBezTo>
                    <a:pt x="613" y="855"/>
                    <a:pt x="603" y="871"/>
                    <a:pt x="588" y="885"/>
                  </a:cubicBezTo>
                  <a:cubicBezTo>
                    <a:pt x="585" y="888"/>
                    <a:pt x="581" y="892"/>
                    <a:pt x="575" y="897"/>
                  </a:cubicBezTo>
                  <a:lnTo>
                    <a:pt x="862" y="897"/>
                  </a:lnTo>
                  <a:cubicBezTo>
                    <a:pt x="850" y="885"/>
                    <a:pt x="846" y="880"/>
                    <a:pt x="838" y="869"/>
                  </a:cubicBezTo>
                  <a:cubicBezTo>
                    <a:pt x="831" y="859"/>
                    <a:pt x="825" y="849"/>
                    <a:pt x="821" y="839"/>
                  </a:cubicBezTo>
                  <a:cubicBezTo>
                    <a:pt x="813" y="818"/>
                    <a:pt x="811" y="803"/>
                    <a:pt x="810" y="758"/>
                  </a:cubicBezTo>
                  <a:cubicBezTo>
                    <a:pt x="809" y="732"/>
                    <a:pt x="809" y="717"/>
                    <a:pt x="809" y="712"/>
                  </a:cubicBezTo>
                  <a:lnTo>
                    <a:pt x="810" y="218"/>
                  </a:lnTo>
                  <a:lnTo>
                    <a:pt x="810" y="16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7" name="Freeform 8">
              <a:extLst>
                <a:ext uri="{FF2B5EF4-FFF2-40B4-BE49-F238E27FC236}">
                  <a16:creationId xmlns:a16="http://schemas.microsoft.com/office/drawing/2014/main" id="{6BBC35C7-7D0A-47E2-B2C4-06C544547044}"/>
                </a:ext>
              </a:extLst>
            </p:cNvPr>
            <p:cNvSpPr>
              <a:spLocks noEditPoints="1"/>
            </p:cNvSpPr>
            <p:nvPr userDrawn="1"/>
          </p:nvSpPr>
          <p:spPr bwMode="auto">
            <a:xfrm>
              <a:off x="562" y="197"/>
              <a:ext cx="73" cy="80"/>
            </a:xfrm>
            <a:custGeom>
              <a:avLst/>
              <a:gdLst>
                <a:gd name="T0" fmla="*/ 408 w 822"/>
                <a:gd name="T1" fmla="*/ 395 h 897"/>
                <a:gd name="T2" fmla="*/ 408 w 822"/>
                <a:gd name="T3" fmla="*/ 395 h 897"/>
                <a:gd name="T4" fmla="*/ 295 w 822"/>
                <a:gd name="T5" fmla="*/ 431 h 897"/>
                <a:gd name="T6" fmla="*/ 248 w 822"/>
                <a:gd name="T7" fmla="*/ 435 h 897"/>
                <a:gd name="T8" fmla="*/ 233 w 822"/>
                <a:gd name="T9" fmla="*/ 435 h 897"/>
                <a:gd name="T10" fmla="*/ 233 w 822"/>
                <a:gd name="T11" fmla="*/ 103 h 897"/>
                <a:gd name="T12" fmla="*/ 257 w 822"/>
                <a:gd name="T13" fmla="*/ 102 h 897"/>
                <a:gd name="T14" fmla="*/ 378 w 822"/>
                <a:gd name="T15" fmla="*/ 117 h 897"/>
                <a:gd name="T16" fmla="*/ 439 w 822"/>
                <a:gd name="T17" fmla="*/ 149 h 897"/>
                <a:gd name="T18" fmla="*/ 485 w 822"/>
                <a:gd name="T19" fmla="*/ 260 h 897"/>
                <a:gd name="T20" fmla="*/ 450 w 822"/>
                <a:gd name="T21" fmla="*/ 361 h 897"/>
                <a:gd name="T22" fmla="*/ 408 w 822"/>
                <a:gd name="T23" fmla="*/ 395 h 897"/>
                <a:gd name="T24" fmla="*/ 408 w 822"/>
                <a:gd name="T25" fmla="*/ 395 h 897"/>
                <a:gd name="T26" fmla="*/ 750 w 822"/>
                <a:gd name="T27" fmla="*/ 835 h 897"/>
                <a:gd name="T28" fmla="*/ 750 w 822"/>
                <a:gd name="T29" fmla="*/ 835 h 897"/>
                <a:gd name="T30" fmla="*/ 649 w 822"/>
                <a:gd name="T31" fmla="*/ 730 h 897"/>
                <a:gd name="T32" fmla="*/ 583 w 822"/>
                <a:gd name="T33" fmla="*/ 657 h 897"/>
                <a:gd name="T34" fmla="*/ 444 w 822"/>
                <a:gd name="T35" fmla="*/ 493 h 897"/>
                <a:gd name="T36" fmla="*/ 484 w 822"/>
                <a:gd name="T37" fmla="*/ 480 h 897"/>
                <a:gd name="T38" fmla="*/ 594 w 822"/>
                <a:gd name="T39" fmla="*/ 416 h 897"/>
                <a:gd name="T40" fmla="*/ 665 w 822"/>
                <a:gd name="T41" fmla="*/ 313 h 897"/>
                <a:gd name="T42" fmla="*/ 676 w 822"/>
                <a:gd name="T43" fmla="*/ 244 h 897"/>
                <a:gd name="T44" fmla="*/ 615 w 822"/>
                <a:gd name="T45" fmla="*/ 97 h 897"/>
                <a:gd name="T46" fmla="*/ 470 w 822"/>
                <a:gd name="T47" fmla="*/ 16 h 897"/>
                <a:gd name="T48" fmla="*/ 316 w 822"/>
                <a:gd name="T49" fmla="*/ 1 h 897"/>
                <a:gd name="T50" fmla="*/ 233 w 822"/>
                <a:gd name="T51" fmla="*/ 0 h 897"/>
                <a:gd name="T52" fmla="*/ 2 w 822"/>
                <a:gd name="T53" fmla="*/ 0 h 897"/>
                <a:gd name="T54" fmla="*/ 32 w 822"/>
                <a:gd name="T55" fmla="*/ 33 h 897"/>
                <a:gd name="T56" fmla="*/ 47 w 822"/>
                <a:gd name="T57" fmla="*/ 66 h 897"/>
                <a:gd name="T58" fmla="*/ 56 w 822"/>
                <a:gd name="T59" fmla="*/ 162 h 897"/>
                <a:gd name="T60" fmla="*/ 56 w 822"/>
                <a:gd name="T61" fmla="*/ 750 h 897"/>
                <a:gd name="T62" fmla="*/ 46 w 822"/>
                <a:gd name="T63" fmla="*/ 837 h 897"/>
                <a:gd name="T64" fmla="*/ 31 w 822"/>
                <a:gd name="T65" fmla="*/ 865 h 897"/>
                <a:gd name="T66" fmla="*/ 0 w 822"/>
                <a:gd name="T67" fmla="*/ 897 h 897"/>
                <a:gd name="T68" fmla="*/ 285 w 822"/>
                <a:gd name="T69" fmla="*/ 897 h 897"/>
                <a:gd name="T70" fmla="*/ 261 w 822"/>
                <a:gd name="T71" fmla="*/ 867 h 897"/>
                <a:gd name="T72" fmla="*/ 245 w 822"/>
                <a:gd name="T73" fmla="*/ 840 h 897"/>
                <a:gd name="T74" fmla="*/ 234 w 822"/>
                <a:gd name="T75" fmla="*/ 757 h 897"/>
                <a:gd name="T76" fmla="*/ 233 w 822"/>
                <a:gd name="T77" fmla="*/ 712 h 897"/>
                <a:gd name="T78" fmla="*/ 233 w 822"/>
                <a:gd name="T79" fmla="*/ 510 h 897"/>
                <a:gd name="T80" fmla="*/ 400 w 822"/>
                <a:gd name="T81" fmla="*/ 710 h 897"/>
                <a:gd name="T82" fmla="*/ 437 w 822"/>
                <a:gd name="T83" fmla="*/ 753 h 897"/>
                <a:gd name="T84" fmla="*/ 481 w 822"/>
                <a:gd name="T85" fmla="*/ 801 h 897"/>
                <a:gd name="T86" fmla="*/ 573 w 822"/>
                <a:gd name="T87" fmla="*/ 875 h 897"/>
                <a:gd name="T88" fmla="*/ 662 w 822"/>
                <a:gd name="T89" fmla="*/ 896 h 897"/>
                <a:gd name="T90" fmla="*/ 709 w 822"/>
                <a:gd name="T91" fmla="*/ 897 h 897"/>
                <a:gd name="T92" fmla="*/ 822 w 822"/>
                <a:gd name="T93" fmla="*/ 897 h 897"/>
                <a:gd name="T94" fmla="*/ 789 w 822"/>
                <a:gd name="T95" fmla="*/ 870 h 897"/>
                <a:gd name="T96" fmla="*/ 750 w 822"/>
                <a:gd name="T97" fmla="*/ 83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897">
                  <a:moveTo>
                    <a:pt x="408" y="395"/>
                  </a:moveTo>
                  <a:lnTo>
                    <a:pt x="408" y="395"/>
                  </a:lnTo>
                  <a:cubicBezTo>
                    <a:pt x="376" y="413"/>
                    <a:pt x="343" y="424"/>
                    <a:pt x="295" y="431"/>
                  </a:cubicBezTo>
                  <a:cubicBezTo>
                    <a:pt x="277" y="434"/>
                    <a:pt x="261" y="435"/>
                    <a:pt x="248" y="435"/>
                  </a:cubicBezTo>
                  <a:cubicBezTo>
                    <a:pt x="243" y="435"/>
                    <a:pt x="240" y="435"/>
                    <a:pt x="233" y="435"/>
                  </a:cubicBezTo>
                  <a:lnTo>
                    <a:pt x="233" y="103"/>
                  </a:lnTo>
                  <a:cubicBezTo>
                    <a:pt x="245" y="102"/>
                    <a:pt x="249" y="102"/>
                    <a:pt x="257" y="102"/>
                  </a:cubicBezTo>
                  <a:cubicBezTo>
                    <a:pt x="301" y="102"/>
                    <a:pt x="344" y="107"/>
                    <a:pt x="378" y="117"/>
                  </a:cubicBezTo>
                  <a:cubicBezTo>
                    <a:pt x="400" y="123"/>
                    <a:pt x="421" y="135"/>
                    <a:pt x="439" y="149"/>
                  </a:cubicBezTo>
                  <a:cubicBezTo>
                    <a:pt x="469" y="175"/>
                    <a:pt x="485" y="213"/>
                    <a:pt x="485" y="260"/>
                  </a:cubicBezTo>
                  <a:cubicBezTo>
                    <a:pt x="485" y="300"/>
                    <a:pt x="473" y="335"/>
                    <a:pt x="450" y="361"/>
                  </a:cubicBezTo>
                  <a:cubicBezTo>
                    <a:pt x="439" y="373"/>
                    <a:pt x="425" y="385"/>
                    <a:pt x="408" y="395"/>
                  </a:cubicBezTo>
                  <a:lnTo>
                    <a:pt x="408" y="395"/>
                  </a:lnTo>
                  <a:close/>
                  <a:moveTo>
                    <a:pt x="750" y="835"/>
                  </a:moveTo>
                  <a:lnTo>
                    <a:pt x="750" y="835"/>
                  </a:lnTo>
                  <a:cubicBezTo>
                    <a:pt x="719" y="804"/>
                    <a:pt x="691" y="776"/>
                    <a:pt x="649" y="730"/>
                  </a:cubicBezTo>
                  <a:cubicBezTo>
                    <a:pt x="622" y="702"/>
                    <a:pt x="600" y="677"/>
                    <a:pt x="583" y="657"/>
                  </a:cubicBezTo>
                  <a:lnTo>
                    <a:pt x="444" y="493"/>
                  </a:lnTo>
                  <a:cubicBezTo>
                    <a:pt x="461" y="488"/>
                    <a:pt x="468" y="486"/>
                    <a:pt x="484" y="480"/>
                  </a:cubicBezTo>
                  <a:cubicBezTo>
                    <a:pt x="529" y="462"/>
                    <a:pt x="563" y="442"/>
                    <a:pt x="594" y="416"/>
                  </a:cubicBezTo>
                  <a:cubicBezTo>
                    <a:pt x="630" y="386"/>
                    <a:pt x="652" y="354"/>
                    <a:pt x="665" y="313"/>
                  </a:cubicBezTo>
                  <a:cubicBezTo>
                    <a:pt x="673" y="291"/>
                    <a:pt x="676" y="267"/>
                    <a:pt x="676" y="244"/>
                  </a:cubicBezTo>
                  <a:cubicBezTo>
                    <a:pt x="676" y="189"/>
                    <a:pt x="656" y="139"/>
                    <a:pt x="615" y="97"/>
                  </a:cubicBezTo>
                  <a:cubicBezTo>
                    <a:pt x="579" y="58"/>
                    <a:pt x="527" y="30"/>
                    <a:pt x="470" y="16"/>
                  </a:cubicBezTo>
                  <a:cubicBezTo>
                    <a:pt x="429" y="7"/>
                    <a:pt x="388" y="2"/>
                    <a:pt x="316" y="1"/>
                  </a:cubicBezTo>
                  <a:cubicBezTo>
                    <a:pt x="289" y="0"/>
                    <a:pt x="262" y="0"/>
                    <a:pt x="233" y="0"/>
                  </a:cubicBezTo>
                  <a:lnTo>
                    <a:pt x="2" y="0"/>
                  </a:lnTo>
                  <a:cubicBezTo>
                    <a:pt x="17" y="14"/>
                    <a:pt x="23" y="20"/>
                    <a:pt x="32" y="33"/>
                  </a:cubicBezTo>
                  <a:cubicBezTo>
                    <a:pt x="38" y="44"/>
                    <a:pt x="44" y="55"/>
                    <a:pt x="47" y="66"/>
                  </a:cubicBezTo>
                  <a:cubicBezTo>
                    <a:pt x="53" y="86"/>
                    <a:pt x="56" y="114"/>
                    <a:pt x="56" y="162"/>
                  </a:cubicBezTo>
                  <a:lnTo>
                    <a:pt x="56" y="750"/>
                  </a:lnTo>
                  <a:cubicBezTo>
                    <a:pt x="56" y="793"/>
                    <a:pt x="53" y="817"/>
                    <a:pt x="46" y="837"/>
                  </a:cubicBezTo>
                  <a:cubicBezTo>
                    <a:pt x="42" y="847"/>
                    <a:pt x="37" y="857"/>
                    <a:pt x="31" y="865"/>
                  </a:cubicBezTo>
                  <a:cubicBezTo>
                    <a:pt x="22" y="876"/>
                    <a:pt x="17" y="882"/>
                    <a:pt x="0" y="897"/>
                  </a:cubicBezTo>
                  <a:lnTo>
                    <a:pt x="285" y="897"/>
                  </a:lnTo>
                  <a:cubicBezTo>
                    <a:pt x="273" y="883"/>
                    <a:pt x="269" y="878"/>
                    <a:pt x="261" y="867"/>
                  </a:cubicBezTo>
                  <a:cubicBezTo>
                    <a:pt x="254" y="859"/>
                    <a:pt x="249" y="850"/>
                    <a:pt x="245" y="840"/>
                  </a:cubicBezTo>
                  <a:cubicBezTo>
                    <a:pt x="238" y="820"/>
                    <a:pt x="234" y="799"/>
                    <a:pt x="234" y="757"/>
                  </a:cubicBezTo>
                  <a:cubicBezTo>
                    <a:pt x="234" y="744"/>
                    <a:pt x="233" y="729"/>
                    <a:pt x="233" y="712"/>
                  </a:cubicBezTo>
                  <a:lnTo>
                    <a:pt x="233" y="510"/>
                  </a:lnTo>
                  <a:lnTo>
                    <a:pt x="400" y="710"/>
                  </a:lnTo>
                  <a:cubicBezTo>
                    <a:pt x="407" y="719"/>
                    <a:pt x="420" y="734"/>
                    <a:pt x="437" y="753"/>
                  </a:cubicBezTo>
                  <a:cubicBezTo>
                    <a:pt x="456" y="775"/>
                    <a:pt x="471" y="791"/>
                    <a:pt x="481" y="801"/>
                  </a:cubicBezTo>
                  <a:cubicBezTo>
                    <a:pt x="513" y="835"/>
                    <a:pt x="543" y="859"/>
                    <a:pt x="573" y="875"/>
                  </a:cubicBezTo>
                  <a:cubicBezTo>
                    <a:pt x="599" y="889"/>
                    <a:pt x="624" y="895"/>
                    <a:pt x="662" y="896"/>
                  </a:cubicBezTo>
                  <a:cubicBezTo>
                    <a:pt x="677" y="897"/>
                    <a:pt x="693" y="897"/>
                    <a:pt x="709" y="897"/>
                  </a:cubicBezTo>
                  <a:lnTo>
                    <a:pt x="822" y="897"/>
                  </a:lnTo>
                  <a:cubicBezTo>
                    <a:pt x="807" y="885"/>
                    <a:pt x="800" y="880"/>
                    <a:pt x="789" y="870"/>
                  </a:cubicBezTo>
                  <a:cubicBezTo>
                    <a:pt x="777" y="859"/>
                    <a:pt x="764" y="848"/>
                    <a:pt x="750" y="8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8" name="Freeform 9">
              <a:extLst>
                <a:ext uri="{FF2B5EF4-FFF2-40B4-BE49-F238E27FC236}">
                  <a16:creationId xmlns:a16="http://schemas.microsoft.com/office/drawing/2014/main" id="{A584396E-C3BB-4279-AED5-86C460BF26E5}"/>
                </a:ext>
              </a:extLst>
            </p:cNvPr>
            <p:cNvSpPr>
              <a:spLocks/>
            </p:cNvSpPr>
            <p:nvPr userDrawn="1"/>
          </p:nvSpPr>
          <p:spPr bwMode="auto">
            <a:xfrm>
              <a:off x="679" y="195"/>
              <a:ext cx="68" cy="84"/>
            </a:xfrm>
            <a:custGeom>
              <a:avLst/>
              <a:gdLst>
                <a:gd name="T0" fmla="*/ 668 w 765"/>
                <a:gd name="T1" fmla="*/ 790 h 944"/>
                <a:gd name="T2" fmla="*/ 668 w 765"/>
                <a:gd name="T3" fmla="*/ 790 h 944"/>
                <a:gd name="T4" fmla="*/ 512 w 765"/>
                <a:gd name="T5" fmla="*/ 823 h 944"/>
                <a:gd name="T6" fmla="*/ 281 w 765"/>
                <a:gd name="T7" fmla="*/ 727 h 944"/>
                <a:gd name="T8" fmla="*/ 191 w 765"/>
                <a:gd name="T9" fmla="*/ 478 h 944"/>
                <a:gd name="T10" fmla="*/ 272 w 765"/>
                <a:gd name="T11" fmla="*/ 236 h 944"/>
                <a:gd name="T12" fmla="*/ 354 w 765"/>
                <a:gd name="T13" fmla="*/ 170 h 944"/>
                <a:gd name="T14" fmla="*/ 527 w 765"/>
                <a:gd name="T15" fmla="*/ 126 h 944"/>
                <a:gd name="T16" fmla="*/ 688 w 765"/>
                <a:gd name="T17" fmla="*/ 159 h 944"/>
                <a:gd name="T18" fmla="*/ 762 w 765"/>
                <a:gd name="T19" fmla="*/ 199 h 944"/>
                <a:gd name="T20" fmla="*/ 762 w 765"/>
                <a:gd name="T21" fmla="*/ 31 h 944"/>
                <a:gd name="T22" fmla="*/ 708 w 765"/>
                <a:gd name="T23" fmla="*/ 16 h 944"/>
                <a:gd name="T24" fmla="*/ 550 w 765"/>
                <a:gd name="T25" fmla="*/ 0 h 944"/>
                <a:gd name="T26" fmla="*/ 294 w 765"/>
                <a:gd name="T27" fmla="*/ 48 h 944"/>
                <a:gd name="T28" fmla="*/ 171 w 765"/>
                <a:gd name="T29" fmla="*/ 121 h 944"/>
                <a:gd name="T30" fmla="*/ 0 w 765"/>
                <a:gd name="T31" fmla="*/ 488 h 944"/>
                <a:gd name="T32" fmla="*/ 164 w 765"/>
                <a:gd name="T33" fmla="*/ 840 h 944"/>
                <a:gd name="T34" fmla="*/ 499 w 765"/>
                <a:gd name="T35" fmla="*/ 944 h 944"/>
                <a:gd name="T36" fmla="*/ 751 w 765"/>
                <a:gd name="T37" fmla="*/ 904 h 944"/>
                <a:gd name="T38" fmla="*/ 765 w 765"/>
                <a:gd name="T39" fmla="*/ 899 h 944"/>
                <a:gd name="T40" fmla="*/ 765 w 765"/>
                <a:gd name="T41" fmla="*/ 736 h 944"/>
                <a:gd name="T42" fmla="*/ 724 w 765"/>
                <a:gd name="T43" fmla="*/ 763 h 944"/>
                <a:gd name="T44" fmla="*/ 668 w 765"/>
                <a:gd name="T45" fmla="*/ 79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5" h="944">
                  <a:moveTo>
                    <a:pt x="668" y="790"/>
                  </a:moveTo>
                  <a:lnTo>
                    <a:pt x="668" y="790"/>
                  </a:lnTo>
                  <a:cubicBezTo>
                    <a:pt x="614" y="813"/>
                    <a:pt x="565" y="823"/>
                    <a:pt x="512" y="823"/>
                  </a:cubicBezTo>
                  <a:cubicBezTo>
                    <a:pt x="419" y="823"/>
                    <a:pt x="340" y="790"/>
                    <a:pt x="281" y="727"/>
                  </a:cubicBezTo>
                  <a:cubicBezTo>
                    <a:pt x="222" y="664"/>
                    <a:pt x="191" y="577"/>
                    <a:pt x="191" y="478"/>
                  </a:cubicBezTo>
                  <a:cubicBezTo>
                    <a:pt x="191" y="384"/>
                    <a:pt x="220" y="297"/>
                    <a:pt x="272" y="236"/>
                  </a:cubicBezTo>
                  <a:cubicBezTo>
                    <a:pt x="295" y="210"/>
                    <a:pt x="322" y="187"/>
                    <a:pt x="354" y="170"/>
                  </a:cubicBezTo>
                  <a:cubicBezTo>
                    <a:pt x="404" y="141"/>
                    <a:pt x="463" y="126"/>
                    <a:pt x="527" y="126"/>
                  </a:cubicBezTo>
                  <a:cubicBezTo>
                    <a:pt x="582" y="126"/>
                    <a:pt x="635" y="137"/>
                    <a:pt x="688" y="159"/>
                  </a:cubicBezTo>
                  <a:cubicBezTo>
                    <a:pt x="722" y="172"/>
                    <a:pt x="734" y="179"/>
                    <a:pt x="762" y="199"/>
                  </a:cubicBezTo>
                  <a:lnTo>
                    <a:pt x="762" y="31"/>
                  </a:lnTo>
                  <a:cubicBezTo>
                    <a:pt x="740" y="24"/>
                    <a:pt x="731" y="21"/>
                    <a:pt x="708" y="16"/>
                  </a:cubicBezTo>
                  <a:cubicBezTo>
                    <a:pt x="656" y="5"/>
                    <a:pt x="606" y="0"/>
                    <a:pt x="550" y="0"/>
                  </a:cubicBezTo>
                  <a:cubicBezTo>
                    <a:pt x="453" y="0"/>
                    <a:pt x="370" y="16"/>
                    <a:pt x="294" y="48"/>
                  </a:cubicBezTo>
                  <a:cubicBezTo>
                    <a:pt x="249" y="67"/>
                    <a:pt x="207" y="91"/>
                    <a:pt x="171" y="121"/>
                  </a:cubicBezTo>
                  <a:cubicBezTo>
                    <a:pt x="60" y="210"/>
                    <a:pt x="0" y="339"/>
                    <a:pt x="0" y="488"/>
                  </a:cubicBezTo>
                  <a:cubicBezTo>
                    <a:pt x="0" y="632"/>
                    <a:pt x="58" y="756"/>
                    <a:pt x="164" y="840"/>
                  </a:cubicBezTo>
                  <a:cubicBezTo>
                    <a:pt x="251" y="909"/>
                    <a:pt x="364" y="944"/>
                    <a:pt x="499" y="944"/>
                  </a:cubicBezTo>
                  <a:cubicBezTo>
                    <a:pt x="583" y="944"/>
                    <a:pt x="662" y="931"/>
                    <a:pt x="751" y="904"/>
                  </a:cubicBezTo>
                  <a:cubicBezTo>
                    <a:pt x="754" y="903"/>
                    <a:pt x="759" y="901"/>
                    <a:pt x="765" y="899"/>
                  </a:cubicBezTo>
                  <a:lnTo>
                    <a:pt x="765" y="736"/>
                  </a:lnTo>
                  <a:cubicBezTo>
                    <a:pt x="744" y="750"/>
                    <a:pt x="736" y="755"/>
                    <a:pt x="724" y="763"/>
                  </a:cubicBezTo>
                  <a:cubicBezTo>
                    <a:pt x="706" y="773"/>
                    <a:pt x="688" y="782"/>
                    <a:pt x="668" y="7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9" name="Freeform 10">
              <a:extLst>
                <a:ext uri="{FF2B5EF4-FFF2-40B4-BE49-F238E27FC236}">
                  <a16:creationId xmlns:a16="http://schemas.microsoft.com/office/drawing/2014/main" id="{5F2F9B40-5A8A-438C-941A-F5B69038E2ED}"/>
                </a:ext>
              </a:extLst>
            </p:cNvPr>
            <p:cNvSpPr>
              <a:spLocks/>
            </p:cNvSpPr>
            <p:nvPr userDrawn="1"/>
          </p:nvSpPr>
          <p:spPr bwMode="auto">
            <a:xfrm>
              <a:off x="471" y="197"/>
              <a:ext cx="78" cy="83"/>
            </a:xfrm>
            <a:custGeom>
              <a:avLst/>
              <a:gdLst>
                <a:gd name="T0" fmla="*/ 631 w 885"/>
                <a:gd name="T1" fmla="*/ 34 h 927"/>
                <a:gd name="T2" fmla="*/ 631 w 885"/>
                <a:gd name="T3" fmla="*/ 34 h 927"/>
                <a:gd name="T4" fmla="*/ 644 w 885"/>
                <a:gd name="T5" fmla="*/ 65 h 927"/>
                <a:gd name="T6" fmla="*/ 652 w 885"/>
                <a:gd name="T7" fmla="*/ 159 h 927"/>
                <a:gd name="T8" fmla="*/ 652 w 885"/>
                <a:gd name="T9" fmla="*/ 500 h 927"/>
                <a:gd name="T10" fmla="*/ 645 w 885"/>
                <a:gd name="T11" fmla="*/ 652 h 927"/>
                <a:gd name="T12" fmla="*/ 621 w 885"/>
                <a:gd name="T13" fmla="*/ 718 h 927"/>
                <a:gd name="T14" fmla="*/ 511 w 885"/>
                <a:gd name="T15" fmla="*/ 795 h 927"/>
                <a:gd name="T16" fmla="*/ 448 w 885"/>
                <a:gd name="T17" fmla="*/ 802 h 927"/>
                <a:gd name="T18" fmla="*/ 272 w 885"/>
                <a:gd name="T19" fmla="*/ 726 h 927"/>
                <a:gd name="T20" fmla="*/ 240 w 885"/>
                <a:gd name="T21" fmla="*/ 562 h 927"/>
                <a:gd name="T22" fmla="*/ 239 w 885"/>
                <a:gd name="T23" fmla="*/ 488 h 927"/>
                <a:gd name="T24" fmla="*/ 239 w 885"/>
                <a:gd name="T25" fmla="*/ 218 h 927"/>
                <a:gd name="T26" fmla="*/ 241 w 885"/>
                <a:gd name="T27" fmla="*/ 114 h 927"/>
                <a:gd name="T28" fmla="*/ 248 w 885"/>
                <a:gd name="T29" fmla="*/ 73 h 927"/>
                <a:gd name="T30" fmla="*/ 284 w 885"/>
                <a:gd name="T31" fmla="*/ 8 h 927"/>
                <a:gd name="T32" fmla="*/ 291 w 885"/>
                <a:gd name="T33" fmla="*/ 0 h 927"/>
                <a:gd name="T34" fmla="*/ 0 w 885"/>
                <a:gd name="T35" fmla="*/ 0 h 927"/>
                <a:gd name="T36" fmla="*/ 32 w 885"/>
                <a:gd name="T37" fmla="*/ 36 h 927"/>
                <a:gd name="T38" fmla="*/ 45 w 885"/>
                <a:gd name="T39" fmla="*/ 67 h 927"/>
                <a:gd name="T40" fmla="*/ 51 w 885"/>
                <a:gd name="T41" fmla="*/ 109 h 927"/>
                <a:gd name="T42" fmla="*/ 51 w 885"/>
                <a:gd name="T43" fmla="*/ 164 h 927"/>
                <a:gd name="T44" fmla="*/ 52 w 885"/>
                <a:gd name="T45" fmla="*/ 216 h 927"/>
                <a:gd name="T46" fmla="*/ 52 w 885"/>
                <a:gd name="T47" fmla="*/ 473 h 927"/>
                <a:gd name="T48" fmla="*/ 55 w 885"/>
                <a:gd name="T49" fmla="*/ 631 h 927"/>
                <a:gd name="T50" fmla="*/ 118 w 885"/>
                <a:gd name="T51" fmla="*/ 796 h 927"/>
                <a:gd name="T52" fmla="*/ 435 w 885"/>
                <a:gd name="T53" fmla="*/ 927 h 927"/>
                <a:gd name="T54" fmla="*/ 615 w 885"/>
                <a:gd name="T55" fmla="*/ 898 h 927"/>
                <a:gd name="T56" fmla="*/ 748 w 885"/>
                <a:gd name="T57" fmla="*/ 809 h 927"/>
                <a:gd name="T58" fmla="*/ 821 w 885"/>
                <a:gd name="T59" fmla="*/ 635 h 927"/>
                <a:gd name="T60" fmla="*/ 827 w 885"/>
                <a:gd name="T61" fmla="*/ 475 h 927"/>
                <a:gd name="T62" fmla="*/ 827 w 885"/>
                <a:gd name="T63" fmla="*/ 217 h 927"/>
                <a:gd name="T64" fmla="*/ 826 w 885"/>
                <a:gd name="T65" fmla="*/ 165 h 927"/>
                <a:gd name="T66" fmla="*/ 826 w 885"/>
                <a:gd name="T67" fmla="*/ 155 h 927"/>
                <a:gd name="T68" fmla="*/ 834 w 885"/>
                <a:gd name="T69" fmla="*/ 73 h 927"/>
                <a:gd name="T70" fmla="*/ 849 w 885"/>
                <a:gd name="T71" fmla="*/ 37 h 927"/>
                <a:gd name="T72" fmla="*/ 885 w 885"/>
                <a:gd name="T73" fmla="*/ 0 h 927"/>
                <a:gd name="T74" fmla="*/ 599 w 885"/>
                <a:gd name="T75" fmla="*/ 0 h 927"/>
                <a:gd name="T76" fmla="*/ 631 w 885"/>
                <a:gd name="T77" fmla="*/ 34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5" h="927">
                  <a:moveTo>
                    <a:pt x="631" y="34"/>
                  </a:moveTo>
                  <a:lnTo>
                    <a:pt x="631" y="34"/>
                  </a:lnTo>
                  <a:cubicBezTo>
                    <a:pt x="637" y="44"/>
                    <a:pt x="641" y="54"/>
                    <a:pt x="644" y="65"/>
                  </a:cubicBezTo>
                  <a:cubicBezTo>
                    <a:pt x="650" y="87"/>
                    <a:pt x="652" y="108"/>
                    <a:pt x="652" y="159"/>
                  </a:cubicBezTo>
                  <a:lnTo>
                    <a:pt x="652" y="500"/>
                  </a:lnTo>
                  <a:cubicBezTo>
                    <a:pt x="652" y="573"/>
                    <a:pt x="650" y="617"/>
                    <a:pt x="645" y="652"/>
                  </a:cubicBezTo>
                  <a:cubicBezTo>
                    <a:pt x="641" y="676"/>
                    <a:pt x="633" y="698"/>
                    <a:pt x="621" y="718"/>
                  </a:cubicBezTo>
                  <a:cubicBezTo>
                    <a:pt x="600" y="755"/>
                    <a:pt x="559" y="783"/>
                    <a:pt x="511" y="795"/>
                  </a:cubicBezTo>
                  <a:cubicBezTo>
                    <a:pt x="492" y="800"/>
                    <a:pt x="470" y="802"/>
                    <a:pt x="448" y="802"/>
                  </a:cubicBezTo>
                  <a:cubicBezTo>
                    <a:pt x="371" y="802"/>
                    <a:pt x="304" y="773"/>
                    <a:pt x="272" y="726"/>
                  </a:cubicBezTo>
                  <a:cubicBezTo>
                    <a:pt x="248" y="690"/>
                    <a:pt x="241" y="655"/>
                    <a:pt x="240" y="562"/>
                  </a:cubicBezTo>
                  <a:lnTo>
                    <a:pt x="239" y="488"/>
                  </a:lnTo>
                  <a:lnTo>
                    <a:pt x="239" y="218"/>
                  </a:lnTo>
                  <a:cubicBezTo>
                    <a:pt x="239" y="166"/>
                    <a:pt x="239" y="141"/>
                    <a:pt x="241" y="114"/>
                  </a:cubicBezTo>
                  <a:cubicBezTo>
                    <a:pt x="242" y="98"/>
                    <a:pt x="244" y="84"/>
                    <a:pt x="248" y="73"/>
                  </a:cubicBezTo>
                  <a:cubicBezTo>
                    <a:pt x="254" y="52"/>
                    <a:pt x="269" y="25"/>
                    <a:pt x="284" y="8"/>
                  </a:cubicBezTo>
                  <a:cubicBezTo>
                    <a:pt x="286" y="6"/>
                    <a:pt x="288" y="3"/>
                    <a:pt x="291" y="0"/>
                  </a:cubicBezTo>
                  <a:lnTo>
                    <a:pt x="0" y="0"/>
                  </a:lnTo>
                  <a:cubicBezTo>
                    <a:pt x="18" y="15"/>
                    <a:pt x="23" y="21"/>
                    <a:pt x="32" y="36"/>
                  </a:cubicBezTo>
                  <a:cubicBezTo>
                    <a:pt x="38" y="46"/>
                    <a:pt x="42" y="56"/>
                    <a:pt x="45" y="67"/>
                  </a:cubicBezTo>
                  <a:cubicBezTo>
                    <a:pt x="48" y="81"/>
                    <a:pt x="51" y="95"/>
                    <a:pt x="51" y="109"/>
                  </a:cubicBezTo>
                  <a:cubicBezTo>
                    <a:pt x="51" y="117"/>
                    <a:pt x="51" y="136"/>
                    <a:pt x="51" y="164"/>
                  </a:cubicBezTo>
                  <a:lnTo>
                    <a:pt x="52" y="216"/>
                  </a:lnTo>
                  <a:lnTo>
                    <a:pt x="52" y="473"/>
                  </a:lnTo>
                  <a:cubicBezTo>
                    <a:pt x="52" y="569"/>
                    <a:pt x="52" y="593"/>
                    <a:pt x="55" y="631"/>
                  </a:cubicBezTo>
                  <a:cubicBezTo>
                    <a:pt x="61" y="697"/>
                    <a:pt x="80" y="749"/>
                    <a:pt x="118" y="796"/>
                  </a:cubicBezTo>
                  <a:cubicBezTo>
                    <a:pt x="186" y="882"/>
                    <a:pt x="295" y="927"/>
                    <a:pt x="435" y="927"/>
                  </a:cubicBezTo>
                  <a:cubicBezTo>
                    <a:pt x="501" y="927"/>
                    <a:pt x="566" y="916"/>
                    <a:pt x="615" y="898"/>
                  </a:cubicBezTo>
                  <a:cubicBezTo>
                    <a:pt x="667" y="879"/>
                    <a:pt x="714" y="847"/>
                    <a:pt x="748" y="809"/>
                  </a:cubicBezTo>
                  <a:cubicBezTo>
                    <a:pt x="790" y="763"/>
                    <a:pt x="814" y="705"/>
                    <a:pt x="821" y="635"/>
                  </a:cubicBezTo>
                  <a:cubicBezTo>
                    <a:pt x="825" y="594"/>
                    <a:pt x="827" y="545"/>
                    <a:pt x="827" y="475"/>
                  </a:cubicBezTo>
                  <a:lnTo>
                    <a:pt x="827" y="217"/>
                  </a:lnTo>
                  <a:lnTo>
                    <a:pt x="826" y="165"/>
                  </a:lnTo>
                  <a:lnTo>
                    <a:pt x="826" y="155"/>
                  </a:lnTo>
                  <a:cubicBezTo>
                    <a:pt x="826" y="117"/>
                    <a:pt x="828" y="94"/>
                    <a:pt x="834" y="73"/>
                  </a:cubicBezTo>
                  <a:cubicBezTo>
                    <a:pt x="837" y="61"/>
                    <a:pt x="842" y="48"/>
                    <a:pt x="849" y="37"/>
                  </a:cubicBezTo>
                  <a:cubicBezTo>
                    <a:pt x="859" y="22"/>
                    <a:pt x="866" y="15"/>
                    <a:pt x="885" y="0"/>
                  </a:cubicBezTo>
                  <a:lnTo>
                    <a:pt x="599" y="0"/>
                  </a:lnTo>
                  <a:cubicBezTo>
                    <a:pt x="616" y="13"/>
                    <a:pt x="622" y="20"/>
                    <a:pt x="631"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0" name="Freeform 11">
              <a:extLst>
                <a:ext uri="{FF2B5EF4-FFF2-40B4-BE49-F238E27FC236}">
                  <a16:creationId xmlns:a16="http://schemas.microsoft.com/office/drawing/2014/main" id="{BBE2A4D2-785C-41E1-80BD-11621F799382}"/>
                </a:ext>
              </a:extLst>
            </p:cNvPr>
            <p:cNvSpPr>
              <a:spLocks/>
            </p:cNvSpPr>
            <p:nvPr userDrawn="1"/>
          </p:nvSpPr>
          <p:spPr bwMode="auto">
            <a:xfrm>
              <a:off x="381" y="197"/>
              <a:ext cx="77" cy="80"/>
            </a:xfrm>
            <a:custGeom>
              <a:avLst/>
              <a:gdLst>
                <a:gd name="T0" fmla="*/ 654 w 865"/>
                <a:gd name="T1" fmla="*/ 771 h 897"/>
                <a:gd name="T2" fmla="*/ 654 w 865"/>
                <a:gd name="T3" fmla="*/ 771 h 897"/>
                <a:gd name="T4" fmla="*/ 513 w 865"/>
                <a:gd name="T5" fmla="*/ 783 h 897"/>
                <a:gd name="T6" fmla="*/ 442 w 865"/>
                <a:gd name="T7" fmla="*/ 784 h 897"/>
                <a:gd name="T8" fmla="*/ 304 w 865"/>
                <a:gd name="T9" fmla="*/ 784 h 897"/>
                <a:gd name="T10" fmla="*/ 848 w 865"/>
                <a:gd name="T11" fmla="*/ 0 h 897"/>
                <a:gd name="T12" fmla="*/ 143 w 865"/>
                <a:gd name="T13" fmla="*/ 0 h 897"/>
                <a:gd name="T14" fmla="*/ 56 w 865"/>
                <a:gd name="T15" fmla="*/ 191 h 897"/>
                <a:gd name="T16" fmla="*/ 121 w 865"/>
                <a:gd name="T17" fmla="*/ 160 h 897"/>
                <a:gd name="T18" fmla="*/ 248 w 865"/>
                <a:gd name="T19" fmla="*/ 124 h 897"/>
                <a:gd name="T20" fmla="*/ 375 w 865"/>
                <a:gd name="T21" fmla="*/ 113 h 897"/>
                <a:gd name="T22" fmla="*/ 444 w 865"/>
                <a:gd name="T23" fmla="*/ 112 h 897"/>
                <a:gd name="T24" fmla="*/ 549 w 865"/>
                <a:gd name="T25" fmla="*/ 112 h 897"/>
                <a:gd name="T26" fmla="*/ 0 w 865"/>
                <a:gd name="T27" fmla="*/ 897 h 897"/>
                <a:gd name="T28" fmla="*/ 776 w 865"/>
                <a:gd name="T29" fmla="*/ 897 h 897"/>
                <a:gd name="T30" fmla="*/ 865 w 865"/>
                <a:gd name="T31" fmla="*/ 692 h 897"/>
                <a:gd name="T32" fmla="*/ 800 w 865"/>
                <a:gd name="T33" fmla="*/ 727 h 897"/>
                <a:gd name="T34" fmla="*/ 654 w 865"/>
                <a:gd name="T35" fmla="*/ 771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 h="897">
                  <a:moveTo>
                    <a:pt x="654" y="771"/>
                  </a:moveTo>
                  <a:lnTo>
                    <a:pt x="654" y="771"/>
                  </a:lnTo>
                  <a:cubicBezTo>
                    <a:pt x="614" y="778"/>
                    <a:pt x="569" y="782"/>
                    <a:pt x="513" y="783"/>
                  </a:cubicBezTo>
                  <a:cubicBezTo>
                    <a:pt x="495" y="784"/>
                    <a:pt x="471" y="784"/>
                    <a:pt x="442" y="784"/>
                  </a:cubicBezTo>
                  <a:lnTo>
                    <a:pt x="304" y="784"/>
                  </a:lnTo>
                  <a:lnTo>
                    <a:pt x="848" y="0"/>
                  </a:lnTo>
                  <a:lnTo>
                    <a:pt x="143" y="0"/>
                  </a:lnTo>
                  <a:lnTo>
                    <a:pt x="56" y="191"/>
                  </a:lnTo>
                  <a:cubicBezTo>
                    <a:pt x="85" y="176"/>
                    <a:pt x="96" y="170"/>
                    <a:pt x="121" y="160"/>
                  </a:cubicBezTo>
                  <a:cubicBezTo>
                    <a:pt x="162" y="144"/>
                    <a:pt x="206" y="132"/>
                    <a:pt x="248" y="124"/>
                  </a:cubicBezTo>
                  <a:cubicBezTo>
                    <a:pt x="285" y="118"/>
                    <a:pt x="319" y="115"/>
                    <a:pt x="375" y="113"/>
                  </a:cubicBezTo>
                  <a:cubicBezTo>
                    <a:pt x="400" y="112"/>
                    <a:pt x="423" y="112"/>
                    <a:pt x="444" y="112"/>
                  </a:cubicBezTo>
                  <a:lnTo>
                    <a:pt x="549" y="112"/>
                  </a:lnTo>
                  <a:lnTo>
                    <a:pt x="0" y="897"/>
                  </a:lnTo>
                  <a:lnTo>
                    <a:pt x="776" y="897"/>
                  </a:lnTo>
                  <a:lnTo>
                    <a:pt x="865" y="692"/>
                  </a:lnTo>
                  <a:cubicBezTo>
                    <a:pt x="834" y="710"/>
                    <a:pt x="823" y="716"/>
                    <a:pt x="800" y="727"/>
                  </a:cubicBezTo>
                  <a:cubicBezTo>
                    <a:pt x="754" y="747"/>
                    <a:pt x="705" y="762"/>
                    <a:pt x="654" y="7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1" name="Freeform 12">
              <a:extLst>
                <a:ext uri="{FF2B5EF4-FFF2-40B4-BE49-F238E27FC236}">
                  <a16:creationId xmlns:a16="http://schemas.microsoft.com/office/drawing/2014/main" id="{84875BC3-7911-4AAB-A751-3F6F3DA3F901}"/>
                </a:ext>
              </a:extLst>
            </p:cNvPr>
            <p:cNvSpPr>
              <a:spLocks noEditPoints="1"/>
            </p:cNvSpPr>
            <p:nvPr userDrawn="1"/>
          </p:nvSpPr>
          <p:spPr bwMode="auto">
            <a:xfrm>
              <a:off x="850" y="167"/>
              <a:ext cx="18" cy="18"/>
            </a:xfrm>
            <a:custGeom>
              <a:avLst/>
              <a:gdLst>
                <a:gd name="T0" fmla="*/ 102 w 203"/>
                <a:gd name="T1" fmla="*/ 189 h 203"/>
                <a:gd name="T2" fmla="*/ 102 w 203"/>
                <a:gd name="T3" fmla="*/ 189 h 203"/>
                <a:gd name="T4" fmla="*/ 17 w 203"/>
                <a:gd name="T5" fmla="*/ 102 h 203"/>
                <a:gd name="T6" fmla="*/ 102 w 203"/>
                <a:gd name="T7" fmla="*/ 15 h 203"/>
                <a:gd name="T8" fmla="*/ 187 w 203"/>
                <a:gd name="T9" fmla="*/ 102 h 203"/>
                <a:gd name="T10" fmla="*/ 102 w 203"/>
                <a:gd name="T11" fmla="*/ 189 h 203"/>
                <a:gd name="T12" fmla="*/ 102 w 203"/>
                <a:gd name="T13" fmla="*/ 189 h 203"/>
                <a:gd name="T14" fmla="*/ 102 w 203"/>
                <a:gd name="T15" fmla="*/ 0 h 203"/>
                <a:gd name="T16" fmla="*/ 102 w 203"/>
                <a:gd name="T17" fmla="*/ 0 h 203"/>
                <a:gd name="T18" fmla="*/ 0 w 203"/>
                <a:gd name="T19" fmla="*/ 102 h 203"/>
                <a:gd name="T20" fmla="*/ 102 w 203"/>
                <a:gd name="T21" fmla="*/ 203 h 203"/>
                <a:gd name="T22" fmla="*/ 203 w 203"/>
                <a:gd name="T23" fmla="*/ 102 h 203"/>
                <a:gd name="T24" fmla="*/ 102 w 203"/>
                <a:gd name="T2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203">
                  <a:moveTo>
                    <a:pt x="102" y="189"/>
                  </a:moveTo>
                  <a:lnTo>
                    <a:pt x="102" y="189"/>
                  </a:lnTo>
                  <a:cubicBezTo>
                    <a:pt x="54" y="189"/>
                    <a:pt x="17" y="154"/>
                    <a:pt x="17" y="102"/>
                  </a:cubicBezTo>
                  <a:cubicBezTo>
                    <a:pt x="17" y="50"/>
                    <a:pt x="54" y="15"/>
                    <a:pt x="102" y="15"/>
                  </a:cubicBezTo>
                  <a:cubicBezTo>
                    <a:pt x="150" y="15"/>
                    <a:pt x="187" y="50"/>
                    <a:pt x="187" y="102"/>
                  </a:cubicBezTo>
                  <a:cubicBezTo>
                    <a:pt x="187" y="154"/>
                    <a:pt x="150" y="189"/>
                    <a:pt x="102" y="189"/>
                  </a:cubicBezTo>
                  <a:lnTo>
                    <a:pt x="102" y="189"/>
                  </a:lnTo>
                  <a:close/>
                  <a:moveTo>
                    <a:pt x="102" y="0"/>
                  </a:moveTo>
                  <a:lnTo>
                    <a:pt x="102" y="0"/>
                  </a:lnTo>
                  <a:cubicBezTo>
                    <a:pt x="46" y="0"/>
                    <a:pt x="0" y="42"/>
                    <a:pt x="0" y="102"/>
                  </a:cubicBezTo>
                  <a:cubicBezTo>
                    <a:pt x="0" y="162"/>
                    <a:pt x="46" y="203"/>
                    <a:pt x="102" y="203"/>
                  </a:cubicBezTo>
                  <a:cubicBezTo>
                    <a:pt x="158" y="203"/>
                    <a:pt x="203" y="162"/>
                    <a:pt x="203" y="102"/>
                  </a:cubicBezTo>
                  <a:cubicBezTo>
                    <a:pt x="203" y="42"/>
                    <a:pt x="158" y="0"/>
                    <a:pt x="10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2" name="Freeform 13">
              <a:extLst>
                <a:ext uri="{FF2B5EF4-FFF2-40B4-BE49-F238E27FC236}">
                  <a16:creationId xmlns:a16="http://schemas.microsoft.com/office/drawing/2014/main" id="{93909FC0-F49E-485A-A2A8-CCDB496B6B96}"/>
                </a:ext>
              </a:extLst>
            </p:cNvPr>
            <p:cNvSpPr>
              <a:spLocks noEditPoints="1"/>
            </p:cNvSpPr>
            <p:nvPr userDrawn="1"/>
          </p:nvSpPr>
          <p:spPr bwMode="auto">
            <a:xfrm>
              <a:off x="856" y="171"/>
              <a:ext cx="7" cy="9"/>
            </a:xfrm>
            <a:custGeom>
              <a:avLst/>
              <a:gdLst>
                <a:gd name="T0" fmla="*/ 40 w 87"/>
                <a:gd name="T1" fmla="*/ 50 h 107"/>
                <a:gd name="T2" fmla="*/ 40 w 87"/>
                <a:gd name="T3" fmla="*/ 50 h 107"/>
                <a:gd name="T4" fmla="*/ 15 w 87"/>
                <a:gd name="T5" fmla="*/ 50 h 107"/>
                <a:gd name="T6" fmla="*/ 15 w 87"/>
                <a:gd name="T7" fmla="*/ 16 h 107"/>
                <a:gd name="T8" fmla="*/ 38 w 87"/>
                <a:gd name="T9" fmla="*/ 16 h 107"/>
                <a:gd name="T10" fmla="*/ 66 w 87"/>
                <a:gd name="T11" fmla="*/ 33 h 107"/>
                <a:gd name="T12" fmla="*/ 40 w 87"/>
                <a:gd name="T13" fmla="*/ 50 h 107"/>
                <a:gd name="T14" fmla="*/ 40 w 87"/>
                <a:gd name="T15" fmla="*/ 50 h 107"/>
                <a:gd name="T16" fmla="*/ 83 w 87"/>
                <a:gd name="T17" fmla="*/ 33 h 107"/>
                <a:gd name="T18" fmla="*/ 83 w 87"/>
                <a:gd name="T19" fmla="*/ 33 h 107"/>
                <a:gd name="T20" fmla="*/ 32 w 87"/>
                <a:gd name="T21" fmla="*/ 0 h 107"/>
                <a:gd name="T22" fmla="*/ 0 w 87"/>
                <a:gd name="T23" fmla="*/ 0 h 107"/>
                <a:gd name="T24" fmla="*/ 0 w 87"/>
                <a:gd name="T25" fmla="*/ 107 h 107"/>
                <a:gd name="T26" fmla="*/ 15 w 87"/>
                <a:gd name="T27" fmla="*/ 107 h 107"/>
                <a:gd name="T28" fmla="*/ 15 w 87"/>
                <a:gd name="T29" fmla="*/ 66 h 107"/>
                <a:gd name="T30" fmla="*/ 44 w 87"/>
                <a:gd name="T31" fmla="*/ 66 h 107"/>
                <a:gd name="T32" fmla="*/ 46 w 87"/>
                <a:gd name="T33" fmla="*/ 65 h 107"/>
                <a:gd name="T34" fmla="*/ 69 w 87"/>
                <a:gd name="T35" fmla="*/ 107 h 107"/>
                <a:gd name="T36" fmla="*/ 87 w 87"/>
                <a:gd name="T37" fmla="*/ 107 h 107"/>
                <a:gd name="T38" fmla="*/ 62 w 87"/>
                <a:gd name="T39" fmla="*/ 62 h 107"/>
                <a:gd name="T40" fmla="*/ 83 w 87"/>
                <a:gd name="T41"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107">
                  <a:moveTo>
                    <a:pt x="40" y="50"/>
                  </a:moveTo>
                  <a:lnTo>
                    <a:pt x="40" y="50"/>
                  </a:lnTo>
                  <a:lnTo>
                    <a:pt x="15" y="50"/>
                  </a:lnTo>
                  <a:lnTo>
                    <a:pt x="15" y="16"/>
                  </a:lnTo>
                  <a:lnTo>
                    <a:pt x="38" y="16"/>
                  </a:lnTo>
                  <a:cubicBezTo>
                    <a:pt x="54" y="16"/>
                    <a:pt x="66" y="19"/>
                    <a:pt x="66" y="33"/>
                  </a:cubicBezTo>
                  <a:cubicBezTo>
                    <a:pt x="66" y="45"/>
                    <a:pt x="58" y="50"/>
                    <a:pt x="40" y="50"/>
                  </a:cubicBezTo>
                  <a:lnTo>
                    <a:pt x="40" y="50"/>
                  </a:lnTo>
                  <a:close/>
                  <a:moveTo>
                    <a:pt x="83" y="33"/>
                  </a:moveTo>
                  <a:lnTo>
                    <a:pt x="83" y="33"/>
                  </a:lnTo>
                  <a:cubicBezTo>
                    <a:pt x="83" y="5"/>
                    <a:pt x="64" y="0"/>
                    <a:pt x="32" y="0"/>
                  </a:cubicBezTo>
                  <a:lnTo>
                    <a:pt x="0" y="0"/>
                  </a:lnTo>
                  <a:lnTo>
                    <a:pt x="0" y="107"/>
                  </a:lnTo>
                  <a:lnTo>
                    <a:pt x="15" y="107"/>
                  </a:lnTo>
                  <a:lnTo>
                    <a:pt x="15" y="66"/>
                  </a:lnTo>
                  <a:lnTo>
                    <a:pt x="44" y="66"/>
                  </a:lnTo>
                  <a:cubicBezTo>
                    <a:pt x="45" y="66"/>
                    <a:pt x="46" y="66"/>
                    <a:pt x="46" y="65"/>
                  </a:cubicBezTo>
                  <a:lnTo>
                    <a:pt x="69" y="107"/>
                  </a:lnTo>
                  <a:lnTo>
                    <a:pt x="87" y="107"/>
                  </a:lnTo>
                  <a:lnTo>
                    <a:pt x="62" y="62"/>
                  </a:lnTo>
                  <a:cubicBezTo>
                    <a:pt x="76" y="56"/>
                    <a:pt x="83" y="45"/>
                    <a:pt x="83" y="3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grpSp>
      <p:sp>
        <p:nvSpPr>
          <p:cNvPr id="33" name="Slide Number Placeholder 5">
            <a:extLst>
              <a:ext uri="{FF2B5EF4-FFF2-40B4-BE49-F238E27FC236}">
                <a16:creationId xmlns:a16="http://schemas.microsoft.com/office/drawing/2014/main" id="{714EC8C7-A133-478F-BF8B-66FEF67BC793}"/>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5" name="Footer Placeholder 3">
            <a:extLst>
              <a:ext uri="{FF2B5EF4-FFF2-40B4-BE49-F238E27FC236}">
                <a16:creationId xmlns:a16="http://schemas.microsoft.com/office/drawing/2014/main" id="{E5C41A63-DFB8-45B3-BA91-86A5B9928FC9}"/>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22255320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estion right">
    <p:bg>
      <p:bgPr>
        <a:solidFill>
          <a:schemeClr val="accent6"/>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BEF5B5A-AEBB-28F2-AEAC-65D1EA4A76AC}"/>
              </a:ext>
            </a:extLst>
          </p:cNvPr>
          <p:cNvGraphicFramePr>
            <a:graphicFrameLocks noChangeAspect="1"/>
          </p:cNvGraphicFramePr>
          <p:nvPr userDrawn="1">
            <p:custDataLst>
              <p:tags r:id="rId1"/>
            </p:custDataLst>
            <p:extLst>
              <p:ext uri="{D42A27DB-BD31-4B8C-83A1-F6EECF244321}">
                <p14:modId xmlns:p14="http://schemas.microsoft.com/office/powerpoint/2010/main" val="973979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6BEF5B5A-AEBB-28F2-AEAC-65D1EA4A76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0660FE9-7058-445A-A87D-587C9395E97C}"/>
              </a:ext>
            </a:extLst>
          </p:cNvPr>
          <p:cNvSpPr/>
          <p:nvPr userDrawn="1"/>
        </p:nvSpPr>
        <p:spPr>
          <a:xfrm flipH="1">
            <a:off x="-8816" y="0"/>
            <a:ext cx="823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a:endParaRPr lang="de-DE" sz="1000">
              <a:latin typeface="+mn-lt"/>
              <a:cs typeface="Arial" panose="020B0604020202020204" pitchFamily="34" charset="0"/>
            </a:endParaRPr>
          </a:p>
        </p:txBody>
      </p:sp>
      <p:sp>
        <p:nvSpPr>
          <p:cNvPr id="33" name="Content Placeholder 2">
            <a:extLst>
              <a:ext uri="{FF2B5EF4-FFF2-40B4-BE49-F238E27FC236}">
                <a16:creationId xmlns:a16="http://schemas.microsoft.com/office/drawing/2014/main" id="{22F76E53-ED3E-4712-828A-462700FD54D1}"/>
              </a:ext>
            </a:extLst>
          </p:cNvPr>
          <p:cNvSpPr>
            <a:spLocks noGrp="1"/>
          </p:cNvSpPr>
          <p:nvPr>
            <p:ph idx="1" hasCustomPrompt="1"/>
          </p:nvPr>
        </p:nvSpPr>
        <p:spPr>
          <a:xfrm>
            <a:off x="334800" y="1206178"/>
            <a:ext cx="7621515" cy="5040145"/>
          </a:xfrm>
        </p:spPr>
        <p:txBody>
          <a:bodyPr lIns="72000" tIns="72000" rIns="72000" bIns="72000"/>
          <a:lstStyle>
            <a:lvl1pPr rtl="0">
              <a:defRPr sz="1800">
                <a:latin typeface="+mn-lt"/>
                <a:cs typeface="Arial" panose="020B0604020202020204" pitchFamily="34" charset="0"/>
              </a:defRPr>
            </a:lvl1pPr>
            <a:lvl2pPr rtl="0">
              <a:defRPr sz="1600">
                <a:latin typeface="+mn-lt"/>
                <a:cs typeface="Arial" panose="020B0604020202020204" pitchFamily="34" charset="0"/>
              </a:defRPr>
            </a:lvl2pPr>
            <a:lvl3pPr rtl="0">
              <a:defRPr sz="1400">
                <a:latin typeface="+mn-lt"/>
                <a:cs typeface="Arial" panose="020B0604020202020204" pitchFamily="34" charset="0"/>
              </a:defRPr>
            </a:lvl3pPr>
            <a:lvl4pPr rtl="0">
              <a:defRPr sz="1200">
                <a:latin typeface="+mn-lt"/>
                <a:cs typeface="Arial" panose="020B0604020202020204" pitchFamily="34" charset="0"/>
              </a:defRPr>
            </a:lvl4pPr>
            <a:lvl5pPr rtl="0">
              <a:defRPr sz="1200">
                <a:latin typeface="+mn-lt"/>
                <a:cs typeface="Arial" panose="020B0604020202020204" pitchFamily="34" charset="0"/>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20" name="Title 1">
            <a:extLst>
              <a:ext uri="{FF2B5EF4-FFF2-40B4-BE49-F238E27FC236}">
                <a16:creationId xmlns:a16="http://schemas.microsoft.com/office/drawing/2014/main" id="{6E310D89-47FE-194B-8632-078ED6BD782F}"/>
              </a:ext>
            </a:extLst>
          </p:cNvPr>
          <p:cNvSpPr>
            <a:spLocks noGrp="1"/>
          </p:cNvSpPr>
          <p:nvPr>
            <p:ph type="title" hasCustomPrompt="1"/>
          </p:nvPr>
        </p:nvSpPr>
        <p:spPr>
          <a:xfrm>
            <a:off x="334800" y="260268"/>
            <a:ext cx="7621515" cy="332399"/>
          </a:xfrm>
        </p:spPr>
        <p:txBody>
          <a:bodyPr vert="horz" wrap="square">
            <a:spAutoFit/>
          </a:bodyPr>
          <a:lstStyle>
            <a:lvl1pPr rtl="0">
              <a:defRPr>
                <a:latin typeface="+mj-lt"/>
                <a:cs typeface="Arial" panose="020B0604020202020204" pitchFamily="34" charset="0"/>
              </a:defRPr>
            </a:lvl1pPr>
          </a:lstStyle>
          <a:p>
            <a:r>
              <a:rPr lang="de-DE"/>
              <a:t>Click to edit Master title style</a:t>
            </a:r>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hasCustomPrompt="1"/>
          </p:nvPr>
        </p:nvSpPr>
        <p:spPr>
          <a:xfrm>
            <a:off x="334800" y="610597"/>
            <a:ext cx="7621515" cy="332399"/>
          </a:xfrm>
          <a:prstGeom prst="rect">
            <a:avLst/>
          </a:prstGeom>
        </p:spPr>
        <p:txBody>
          <a:bodyPr anchor="t">
            <a:normAutofit/>
          </a:bodyPr>
          <a:lstStyle>
            <a:lvl1pPr marL="0" indent="0" algn="l" rtl="0">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Click to edit Master subtitle style</a:t>
            </a:r>
            <a:endParaRPr lang="de-DE" noProof="0"/>
          </a:p>
        </p:txBody>
      </p:sp>
      <p:sp>
        <p:nvSpPr>
          <p:cNvPr id="34" name="Slide Number Placeholder 5">
            <a:extLst>
              <a:ext uri="{FF2B5EF4-FFF2-40B4-BE49-F238E27FC236}">
                <a16:creationId xmlns:a16="http://schemas.microsoft.com/office/drawing/2014/main" id="{3E83A98D-348B-40D1-B8DE-954D062DE5ED}"/>
              </a:ext>
            </a:extLst>
          </p:cNvPr>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31715"/>
            <a:ext cx="8112000" cy="181960"/>
          </a:xfrm>
          <a:prstGeom prst="rect">
            <a:avLst/>
          </a:prstGeom>
        </p:spPr>
        <p:txBody>
          <a:bodyPr lIns="0" tIns="0" rIns="0" bIns="0"/>
          <a:lstStyle>
            <a:lvl1pPr algn="r" rtl="0">
              <a:defRPr sz="900">
                <a:solidFill>
                  <a:schemeClr val="accent1"/>
                </a:solidFill>
                <a:latin typeface="+mn-lt"/>
                <a:cs typeface="Arial" panose="020B0604020202020204" pitchFamily="34" charset="0"/>
              </a:defRPr>
            </a:lvl1pPr>
          </a:lstStyle>
          <a:p>
            <a:endParaRPr lang="de-DE"/>
          </a:p>
        </p:txBody>
      </p:sp>
      <p:sp>
        <p:nvSpPr>
          <p:cNvPr id="49" name="Content Placeholder 3">
            <a:extLst>
              <a:ext uri="{FF2B5EF4-FFF2-40B4-BE49-F238E27FC236}">
                <a16:creationId xmlns:a16="http://schemas.microsoft.com/office/drawing/2014/main" id="{9F3E414F-C821-4DD9-91FC-CF7C8D1A8CF4}"/>
              </a:ext>
            </a:extLst>
          </p:cNvPr>
          <p:cNvSpPr>
            <a:spLocks noGrp="1" noChangeAspect="1"/>
          </p:cNvSpPr>
          <p:nvPr>
            <p:ph sz="quarter" idx="31" hasCustomPrompt="1"/>
          </p:nvPr>
        </p:nvSpPr>
        <p:spPr>
          <a:xfrm>
            <a:off x="8767592" y="1206178"/>
            <a:ext cx="2880000" cy="2880000"/>
          </a:xfrm>
          <a:prstGeom prst="ellipse">
            <a:avLst/>
          </a:prstGeom>
          <a:solidFill>
            <a:schemeClr val="accent5"/>
          </a:solidFill>
        </p:spPr>
        <p:txBody>
          <a:bodyPr tIns="180000" anchor="t" anchorCtr="0"/>
          <a:lstStyle>
            <a:lvl1pPr marL="0" indent="0" algn="ctr" rtl="0">
              <a:buNone/>
              <a:defRPr sz="2000"/>
            </a:lvl1pPr>
            <a:lvl2pPr marL="239712" indent="0" algn="ctr" rtl="0">
              <a:buNone/>
              <a:defRPr/>
            </a:lvl2pPr>
            <a:lvl3pPr marL="538163" indent="0" algn="ctr" rtl="0">
              <a:buNone/>
              <a:defRPr/>
            </a:lvl3pPr>
            <a:lvl4pPr marL="719138" indent="0" algn="ctr" rtl="0">
              <a:buNone/>
              <a:defRPr/>
            </a:lvl4pPr>
            <a:lvl5pPr marL="985837" indent="0" algn="ctr" rtl="0">
              <a:buNone/>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Tree>
    <p:extLst>
      <p:ext uri="{BB962C8B-B14F-4D97-AF65-F5344CB8AC3E}">
        <p14:creationId xmlns:p14="http://schemas.microsoft.com/office/powerpoint/2010/main" val="33020020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V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660FE9-7058-445A-A87D-587C9395E97C}"/>
              </a:ext>
            </a:extLst>
          </p:cNvPr>
          <p:cNvSpPr/>
          <p:nvPr userDrawn="1"/>
        </p:nvSpPr>
        <p:spPr>
          <a:xfrm>
            <a:off x="8234008" y="0"/>
            <a:ext cx="3960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000">
              <a:latin typeface="+mn-lt"/>
              <a:cs typeface="Arial" panose="020B0604020202020204" pitchFamily="34" charset="0"/>
            </a:endParaRPr>
          </a:p>
        </p:txBody>
      </p:sp>
      <p:sp>
        <p:nvSpPr>
          <p:cNvPr id="18" name="Picture Placeholder 3">
            <a:extLst>
              <a:ext uri="{FF2B5EF4-FFF2-40B4-BE49-F238E27FC236}">
                <a16:creationId xmlns:a16="http://schemas.microsoft.com/office/drawing/2014/main" id="{33BE1813-D5B5-4415-BB63-F6AD5397276E}"/>
              </a:ext>
            </a:extLst>
          </p:cNvPr>
          <p:cNvSpPr>
            <a:spLocks noGrp="1"/>
          </p:cNvSpPr>
          <p:nvPr>
            <p:ph type="pic" sz="quarter" idx="30"/>
          </p:nvPr>
        </p:nvSpPr>
        <p:spPr>
          <a:xfrm>
            <a:off x="9413053" y="1509000"/>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nl-NL"/>
              <a:t>Klik op het pictogram als u een afbeelding wilt toevoegen</a:t>
            </a:r>
            <a:endParaRPr lang="en-GB"/>
          </a:p>
        </p:txBody>
      </p:sp>
      <p:sp>
        <p:nvSpPr>
          <p:cNvPr id="20" name="Title 1">
            <a:extLst>
              <a:ext uri="{FF2B5EF4-FFF2-40B4-BE49-F238E27FC236}">
                <a16:creationId xmlns:a16="http://schemas.microsoft.com/office/drawing/2014/main" id="{6E310D89-47FE-194B-8632-078ED6BD782F}"/>
              </a:ext>
            </a:extLst>
          </p:cNvPr>
          <p:cNvSpPr>
            <a:spLocks noGrp="1"/>
          </p:cNvSpPr>
          <p:nvPr>
            <p:ph type="title"/>
          </p:nvPr>
        </p:nvSpPr>
        <p:spPr>
          <a:xfrm>
            <a:off x="252659" y="260268"/>
            <a:ext cx="7621515" cy="332399"/>
          </a:xfrm>
        </p:spPr>
        <p:txBody>
          <a:bodyPr wrap="square">
            <a:spAutoFit/>
          </a:bodyPr>
          <a:lstStyle>
            <a:lvl1pPr>
              <a:defRPr>
                <a:latin typeface="+mj-lt"/>
                <a:cs typeface="Arial" panose="020B0604020202020204" pitchFamily="34" charset="0"/>
              </a:defRPr>
            </a:lvl1pPr>
          </a:lstStyle>
          <a:p>
            <a:r>
              <a:rPr lang="nl-NL"/>
              <a:t>Klik om stijl te bewerken</a:t>
            </a:r>
            <a:endParaRPr lang="en-US"/>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p:nvPr>
        </p:nvSpPr>
        <p:spPr>
          <a:xfrm>
            <a:off x="252658" y="610597"/>
            <a:ext cx="76215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nl-NL"/>
              <a:t>Klikken om de ondertitelstijl van het model te bewerken</a:t>
            </a:r>
            <a:endParaRPr lang="en-GB" noProof="0"/>
          </a:p>
        </p:txBody>
      </p:sp>
      <p:grpSp>
        <p:nvGrpSpPr>
          <p:cNvPr id="22" name="Group 4">
            <a:extLst>
              <a:ext uri="{FF2B5EF4-FFF2-40B4-BE49-F238E27FC236}">
                <a16:creationId xmlns:a16="http://schemas.microsoft.com/office/drawing/2014/main" id="{120CBD0B-068A-4C9D-A5D9-CC3C32A54D71}"/>
              </a:ext>
            </a:extLst>
          </p:cNvPr>
          <p:cNvGrpSpPr>
            <a:grpSpLocks noChangeAspect="1"/>
          </p:cNvGrpSpPr>
          <p:nvPr userDrawn="1"/>
        </p:nvGrpSpPr>
        <p:grpSpPr bwMode="auto">
          <a:xfrm>
            <a:off x="10178596" y="158751"/>
            <a:ext cx="1773767" cy="683683"/>
            <a:chOff x="79" y="75"/>
            <a:chExt cx="838" cy="323"/>
          </a:xfrm>
          <a:solidFill>
            <a:schemeClr val="accent1"/>
          </a:solidFill>
        </p:grpSpPr>
        <p:sp>
          <p:nvSpPr>
            <p:cNvPr id="23" name="AutoShape 3">
              <a:extLst>
                <a:ext uri="{FF2B5EF4-FFF2-40B4-BE49-F238E27FC236}">
                  <a16:creationId xmlns:a16="http://schemas.microsoft.com/office/drawing/2014/main" id="{E104E6B1-C1DC-467A-BB1D-FF9D3EC1AC9B}"/>
                </a:ext>
              </a:extLst>
            </p:cNvPr>
            <p:cNvSpPr>
              <a:spLocks noChangeAspect="1" noChangeArrowheads="1" noTextEdit="1"/>
            </p:cNvSpPr>
            <p:nvPr userDrawn="1"/>
          </p:nvSpPr>
          <p:spPr bwMode="auto">
            <a:xfrm>
              <a:off x="79" y="75"/>
              <a:ext cx="838" cy="32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4" name="Freeform 5">
              <a:extLst>
                <a:ext uri="{FF2B5EF4-FFF2-40B4-BE49-F238E27FC236}">
                  <a16:creationId xmlns:a16="http://schemas.microsoft.com/office/drawing/2014/main" id="{D2DB3497-EF73-45DC-A6F1-AD7FD36C2A42}"/>
                </a:ext>
              </a:extLst>
            </p:cNvPr>
            <p:cNvSpPr>
              <a:spLocks/>
            </p:cNvSpPr>
            <p:nvPr userDrawn="1"/>
          </p:nvSpPr>
          <p:spPr bwMode="auto">
            <a:xfrm>
              <a:off x="159" y="155"/>
              <a:ext cx="163" cy="164"/>
            </a:xfrm>
            <a:custGeom>
              <a:avLst/>
              <a:gdLst>
                <a:gd name="T0" fmla="*/ 920 w 1841"/>
                <a:gd name="T1" fmla="*/ 0 h 1842"/>
                <a:gd name="T2" fmla="*/ 920 w 1841"/>
                <a:gd name="T3" fmla="*/ 0 h 1842"/>
                <a:gd name="T4" fmla="*/ 0 w 1841"/>
                <a:gd name="T5" fmla="*/ 921 h 1842"/>
                <a:gd name="T6" fmla="*/ 0 w 1841"/>
                <a:gd name="T7" fmla="*/ 921 h 1842"/>
                <a:gd name="T8" fmla="*/ 188 w 1841"/>
                <a:gd name="T9" fmla="*/ 1479 h 1842"/>
                <a:gd name="T10" fmla="*/ 954 w 1841"/>
                <a:gd name="T11" fmla="*/ 473 h 1842"/>
                <a:gd name="T12" fmla="*/ 871 w 1841"/>
                <a:gd name="T13" fmla="*/ 474 h 1842"/>
                <a:gd name="T14" fmla="*/ 790 w 1841"/>
                <a:gd name="T15" fmla="*/ 473 h 1842"/>
                <a:gd name="T16" fmla="*/ 561 w 1841"/>
                <a:gd name="T17" fmla="*/ 491 h 1842"/>
                <a:gd name="T18" fmla="*/ 467 w 1841"/>
                <a:gd name="T19" fmla="*/ 530 h 1842"/>
                <a:gd name="T20" fmla="*/ 374 w 1841"/>
                <a:gd name="T21" fmla="*/ 641 h 1842"/>
                <a:gd name="T22" fmla="*/ 361 w 1841"/>
                <a:gd name="T23" fmla="*/ 665 h 1842"/>
                <a:gd name="T24" fmla="*/ 316 w 1841"/>
                <a:gd name="T25" fmla="*/ 655 h 1842"/>
                <a:gd name="T26" fmla="*/ 392 w 1841"/>
                <a:gd name="T27" fmla="*/ 366 h 1842"/>
                <a:gd name="T28" fmla="*/ 1350 w 1841"/>
                <a:gd name="T29" fmla="*/ 366 h 1842"/>
                <a:gd name="T30" fmla="*/ 588 w 1841"/>
                <a:gd name="T31" fmla="*/ 1385 h 1842"/>
                <a:gd name="T32" fmla="*/ 698 w 1841"/>
                <a:gd name="T33" fmla="*/ 1379 h 1842"/>
                <a:gd name="T34" fmla="*/ 839 w 1841"/>
                <a:gd name="T35" fmla="*/ 1385 h 1842"/>
                <a:gd name="T36" fmla="*/ 974 w 1841"/>
                <a:gd name="T37" fmla="*/ 1393 h 1842"/>
                <a:gd name="T38" fmla="*/ 1095 w 1841"/>
                <a:gd name="T39" fmla="*/ 1397 h 1842"/>
                <a:gd name="T40" fmla="*/ 1255 w 1841"/>
                <a:gd name="T41" fmla="*/ 1378 h 1842"/>
                <a:gd name="T42" fmla="*/ 1354 w 1841"/>
                <a:gd name="T43" fmla="*/ 1331 h 1842"/>
                <a:gd name="T44" fmla="*/ 1491 w 1841"/>
                <a:gd name="T45" fmla="*/ 1175 h 1842"/>
                <a:gd name="T46" fmla="*/ 1504 w 1841"/>
                <a:gd name="T47" fmla="*/ 1147 h 1842"/>
                <a:gd name="T48" fmla="*/ 1545 w 1841"/>
                <a:gd name="T49" fmla="*/ 1158 h 1842"/>
                <a:gd name="T50" fmla="*/ 1505 w 1841"/>
                <a:gd name="T51" fmla="*/ 1273 h 1842"/>
                <a:gd name="T52" fmla="*/ 1354 w 1841"/>
                <a:gd name="T53" fmla="*/ 1472 h 1842"/>
                <a:gd name="T54" fmla="*/ 1131 w 1841"/>
                <a:gd name="T55" fmla="*/ 1546 h 1842"/>
                <a:gd name="T56" fmla="*/ 1118 w 1841"/>
                <a:gd name="T57" fmla="*/ 1546 h 1842"/>
                <a:gd name="T58" fmla="*/ 854 w 1841"/>
                <a:gd name="T59" fmla="*/ 1518 h 1842"/>
                <a:gd name="T60" fmla="*/ 544 w 1841"/>
                <a:gd name="T61" fmla="*/ 1486 h 1842"/>
                <a:gd name="T62" fmla="*/ 394 w 1841"/>
                <a:gd name="T63" fmla="*/ 1498 h 1842"/>
                <a:gd name="T64" fmla="*/ 242 w 1841"/>
                <a:gd name="T65" fmla="*/ 1543 h 1842"/>
                <a:gd name="T66" fmla="*/ 920 w 1841"/>
                <a:gd name="T67" fmla="*/ 1842 h 1842"/>
                <a:gd name="T68" fmla="*/ 1841 w 1841"/>
                <a:gd name="T69" fmla="*/ 921 h 1842"/>
                <a:gd name="T70" fmla="*/ 920 w 1841"/>
                <a:gd name="T71" fmla="*/ 0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41" h="1842">
                  <a:moveTo>
                    <a:pt x="920" y="0"/>
                  </a:moveTo>
                  <a:lnTo>
                    <a:pt x="920" y="0"/>
                  </a:lnTo>
                  <a:cubicBezTo>
                    <a:pt x="412" y="0"/>
                    <a:pt x="0" y="412"/>
                    <a:pt x="0" y="921"/>
                  </a:cubicBezTo>
                  <a:lnTo>
                    <a:pt x="0" y="921"/>
                  </a:lnTo>
                  <a:cubicBezTo>
                    <a:pt x="0" y="1131"/>
                    <a:pt x="70" y="1325"/>
                    <a:pt x="188" y="1479"/>
                  </a:cubicBezTo>
                  <a:lnTo>
                    <a:pt x="954" y="473"/>
                  </a:lnTo>
                  <a:lnTo>
                    <a:pt x="871" y="474"/>
                  </a:lnTo>
                  <a:lnTo>
                    <a:pt x="790" y="473"/>
                  </a:lnTo>
                  <a:cubicBezTo>
                    <a:pt x="702" y="473"/>
                    <a:pt x="620" y="480"/>
                    <a:pt x="561" y="491"/>
                  </a:cubicBezTo>
                  <a:cubicBezTo>
                    <a:pt x="525" y="498"/>
                    <a:pt x="493" y="511"/>
                    <a:pt x="467" y="530"/>
                  </a:cubicBezTo>
                  <a:cubicBezTo>
                    <a:pt x="437" y="551"/>
                    <a:pt x="399" y="596"/>
                    <a:pt x="374" y="641"/>
                  </a:cubicBezTo>
                  <a:cubicBezTo>
                    <a:pt x="371" y="646"/>
                    <a:pt x="367" y="654"/>
                    <a:pt x="361" y="665"/>
                  </a:cubicBezTo>
                  <a:lnTo>
                    <a:pt x="316" y="655"/>
                  </a:lnTo>
                  <a:lnTo>
                    <a:pt x="392" y="366"/>
                  </a:lnTo>
                  <a:lnTo>
                    <a:pt x="1350" y="366"/>
                  </a:lnTo>
                  <a:lnTo>
                    <a:pt x="588" y="1385"/>
                  </a:lnTo>
                  <a:cubicBezTo>
                    <a:pt x="638" y="1380"/>
                    <a:pt x="658" y="1379"/>
                    <a:pt x="698" y="1379"/>
                  </a:cubicBezTo>
                  <a:cubicBezTo>
                    <a:pt x="729" y="1379"/>
                    <a:pt x="776" y="1381"/>
                    <a:pt x="839" y="1385"/>
                  </a:cubicBezTo>
                  <a:lnTo>
                    <a:pt x="974" y="1393"/>
                  </a:lnTo>
                  <a:cubicBezTo>
                    <a:pt x="1023" y="1396"/>
                    <a:pt x="1064" y="1397"/>
                    <a:pt x="1095" y="1397"/>
                  </a:cubicBezTo>
                  <a:cubicBezTo>
                    <a:pt x="1165" y="1397"/>
                    <a:pt x="1210" y="1392"/>
                    <a:pt x="1255" y="1378"/>
                  </a:cubicBezTo>
                  <a:cubicBezTo>
                    <a:pt x="1290" y="1367"/>
                    <a:pt x="1324" y="1351"/>
                    <a:pt x="1354" y="1331"/>
                  </a:cubicBezTo>
                  <a:cubicBezTo>
                    <a:pt x="1408" y="1293"/>
                    <a:pt x="1460" y="1234"/>
                    <a:pt x="1491" y="1175"/>
                  </a:cubicBezTo>
                  <a:cubicBezTo>
                    <a:pt x="1494" y="1169"/>
                    <a:pt x="1499" y="1160"/>
                    <a:pt x="1504" y="1147"/>
                  </a:cubicBezTo>
                  <a:lnTo>
                    <a:pt x="1545" y="1158"/>
                  </a:lnTo>
                  <a:cubicBezTo>
                    <a:pt x="1532" y="1208"/>
                    <a:pt x="1525" y="1228"/>
                    <a:pt x="1505" y="1273"/>
                  </a:cubicBezTo>
                  <a:cubicBezTo>
                    <a:pt x="1464" y="1364"/>
                    <a:pt x="1417" y="1425"/>
                    <a:pt x="1354" y="1472"/>
                  </a:cubicBezTo>
                  <a:cubicBezTo>
                    <a:pt x="1289" y="1521"/>
                    <a:pt x="1216" y="1544"/>
                    <a:pt x="1131" y="1546"/>
                  </a:cubicBezTo>
                  <a:lnTo>
                    <a:pt x="1118" y="1546"/>
                  </a:lnTo>
                  <a:cubicBezTo>
                    <a:pt x="1055" y="1546"/>
                    <a:pt x="1006" y="1541"/>
                    <a:pt x="854" y="1518"/>
                  </a:cubicBezTo>
                  <a:cubicBezTo>
                    <a:pt x="700" y="1494"/>
                    <a:pt x="621" y="1486"/>
                    <a:pt x="544" y="1486"/>
                  </a:cubicBezTo>
                  <a:cubicBezTo>
                    <a:pt x="492" y="1486"/>
                    <a:pt x="444" y="1490"/>
                    <a:pt x="394" y="1498"/>
                  </a:cubicBezTo>
                  <a:cubicBezTo>
                    <a:pt x="328" y="1508"/>
                    <a:pt x="302" y="1516"/>
                    <a:pt x="242" y="1543"/>
                  </a:cubicBezTo>
                  <a:cubicBezTo>
                    <a:pt x="410" y="1727"/>
                    <a:pt x="652" y="1842"/>
                    <a:pt x="920" y="1842"/>
                  </a:cubicBezTo>
                  <a:cubicBezTo>
                    <a:pt x="1429" y="1842"/>
                    <a:pt x="1841" y="1430"/>
                    <a:pt x="1841" y="921"/>
                  </a:cubicBezTo>
                  <a:cubicBezTo>
                    <a:pt x="1841" y="412"/>
                    <a:pt x="1429" y="0"/>
                    <a:pt x="9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5" name="Freeform 6">
              <a:extLst>
                <a:ext uri="{FF2B5EF4-FFF2-40B4-BE49-F238E27FC236}">
                  <a16:creationId xmlns:a16="http://schemas.microsoft.com/office/drawing/2014/main" id="{5691E393-78CA-4B9E-9494-DA83F7CB10D4}"/>
                </a:ext>
              </a:extLst>
            </p:cNvPr>
            <p:cNvSpPr>
              <a:spLocks/>
            </p:cNvSpPr>
            <p:nvPr userDrawn="1"/>
          </p:nvSpPr>
          <p:spPr bwMode="auto">
            <a:xfrm>
              <a:off x="642" y="197"/>
              <a:ext cx="25" cy="80"/>
            </a:xfrm>
            <a:custGeom>
              <a:avLst/>
              <a:gdLst>
                <a:gd name="T0" fmla="*/ 232 w 288"/>
                <a:gd name="T1" fmla="*/ 166 h 897"/>
                <a:gd name="T2" fmla="*/ 232 w 288"/>
                <a:gd name="T3" fmla="*/ 166 h 897"/>
                <a:gd name="T4" fmla="*/ 241 w 288"/>
                <a:gd name="T5" fmla="*/ 65 h 897"/>
                <a:gd name="T6" fmla="*/ 254 w 288"/>
                <a:gd name="T7" fmla="*/ 37 h 897"/>
                <a:gd name="T8" fmla="*/ 288 w 288"/>
                <a:gd name="T9" fmla="*/ 0 h 897"/>
                <a:gd name="T10" fmla="*/ 0 w 288"/>
                <a:gd name="T11" fmla="*/ 0 h 897"/>
                <a:gd name="T12" fmla="*/ 33 w 288"/>
                <a:gd name="T13" fmla="*/ 35 h 897"/>
                <a:gd name="T14" fmla="*/ 47 w 288"/>
                <a:gd name="T15" fmla="*/ 64 h 897"/>
                <a:gd name="T16" fmla="*/ 56 w 288"/>
                <a:gd name="T17" fmla="*/ 161 h 897"/>
                <a:gd name="T18" fmla="*/ 56 w 288"/>
                <a:gd name="T19" fmla="*/ 215 h 897"/>
                <a:gd name="T20" fmla="*/ 56 w 288"/>
                <a:gd name="T21" fmla="*/ 752 h 897"/>
                <a:gd name="T22" fmla="*/ 42 w 288"/>
                <a:gd name="T23" fmla="*/ 839 h 897"/>
                <a:gd name="T24" fmla="*/ 28 w 288"/>
                <a:gd name="T25" fmla="*/ 865 h 897"/>
                <a:gd name="T26" fmla="*/ 1 w 288"/>
                <a:gd name="T27" fmla="*/ 897 h 897"/>
                <a:gd name="T28" fmla="*/ 285 w 288"/>
                <a:gd name="T29" fmla="*/ 897 h 897"/>
                <a:gd name="T30" fmla="*/ 258 w 288"/>
                <a:gd name="T31" fmla="*/ 865 h 897"/>
                <a:gd name="T32" fmla="*/ 243 w 288"/>
                <a:gd name="T33" fmla="*/ 838 h 897"/>
                <a:gd name="T34" fmla="*/ 231 w 288"/>
                <a:gd name="T35" fmla="*/ 759 h 897"/>
                <a:gd name="T36" fmla="*/ 231 w 288"/>
                <a:gd name="T37" fmla="*/ 218 h 897"/>
                <a:gd name="T38" fmla="*/ 232 w 288"/>
                <a:gd name="T39" fmla="*/ 16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897">
                  <a:moveTo>
                    <a:pt x="232" y="166"/>
                  </a:moveTo>
                  <a:lnTo>
                    <a:pt x="232" y="166"/>
                  </a:lnTo>
                  <a:cubicBezTo>
                    <a:pt x="232" y="106"/>
                    <a:pt x="233" y="89"/>
                    <a:pt x="241" y="65"/>
                  </a:cubicBezTo>
                  <a:cubicBezTo>
                    <a:pt x="244" y="55"/>
                    <a:pt x="248" y="46"/>
                    <a:pt x="254" y="37"/>
                  </a:cubicBezTo>
                  <a:cubicBezTo>
                    <a:pt x="263" y="22"/>
                    <a:pt x="270" y="14"/>
                    <a:pt x="288" y="0"/>
                  </a:cubicBezTo>
                  <a:lnTo>
                    <a:pt x="0" y="0"/>
                  </a:lnTo>
                  <a:cubicBezTo>
                    <a:pt x="18" y="16"/>
                    <a:pt x="24" y="22"/>
                    <a:pt x="33" y="35"/>
                  </a:cubicBezTo>
                  <a:cubicBezTo>
                    <a:pt x="39" y="44"/>
                    <a:pt x="44" y="54"/>
                    <a:pt x="47" y="64"/>
                  </a:cubicBezTo>
                  <a:cubicBezTo>
                    <a:pt x="53" y="86"/>
                    <a:pt x="56" y="108"/>
                    <a:pt x="56" y="161"/>
                  </a:cubicBezTo>
                  <a:cubicBezTo>
                    <a:pt x="56" y="188"/>
                    <a:pt x="56" y="206"/>
                    <a:pt x="56" y="215"/>
                  </a:cubicBezTo>
                  <a:lnTo>
                    <a:pt x="56" y="752"/>
                  </a:lnTo>
                  <a:cubicBezTo>
                    <a:pt x="56" y="784"/>
                    <a:pt x="51" y="817"/>
                    <a:pt x="42" y="839"/>
                  </a:cubicBezTo>
                  <a:cubicBezTo>
                    <a:pt x="39" y="848"/>
                    <a:pt x="34" y="857"/>
                    <a:pt x="28" y="865"/>
                  </a:cubicBezTo>
                  <a:cubicBezTo>
                    <a:pt x="21" y="875"/>
                    <a:pt x="16" y="880"/>
                    <a:pt x="1" y="897"/>
                  </a:cubicBezTo>
                  <a:lnTo>
                    <a:pt x="285" y="897"/>
                  </a:lnTo>
                  <a:cubicBezTo>
                    <a:pt x="271" y="885"/>
                    <a:pt x="266" y="879"/>
                    <a:pt x="258" y="865"/>
                  </a:cubicBezTo>
                  <a:cubicBezTo>
                    <a:pt x="252" y="856"/>
                    <a:pt x="247" y="847"/>
                    <a:pt x="243" y="838"/>
                  </a:cubicBezTo>
                  <a:cubicBezTo>
                    <a:pt x="236" y="817"/>
                    <a:pt x="231" y="787"/>
                    <a:pt x="231" y="759"/>
                  </a:cubicBezTo>
                  <a:lnTo>
                    <a:pt x="231" y="218"/>
                  </a:lnTo>
                  <a:lnTo>
                    <a:pt x="232" y="1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6" name="Freeform 7">
              <a:extLst>
                <a:ext uri="{FF2B5EF4-FFF2-40B4-BE49-F238E27FC236}">
                  <a16:creationId xmlns:a16="http://schemas.microsoft.com/office/drawing/2014/main" id="{C65EB71A-6536-4B43-9DB4-67DC4EE291B6}"/>
                </a:ext>
              </a:extLst>
            </p:cNvPr>
            <p:cNvSpPr>
              <a:spLocks/>
            </p:cNvSpPr>
            <p:nvPr userDrawn="1"/>
          </p:nvSpPr>
          <p:spPr bwMode="auto">
            <a:xfrm>
              <a:off x="761" y="197"/>
              <a:ext cx="77" cy="80"/>
            </a:xfrm>
            <a:custGeom>
              <a:avLst/>
              <a:gdLst>
                <a:gd name="T0" fmla="*/ 810 w 869"/>
                <a:gd name="T1" fmla="*/ 165 h 897"/>
                <a:gd name="T2" fmla="*/ 810 w 869"/>
                <a:gd name="T3" fmla="*/ 165 h 897"/>
                <a:gd name="T4" fmla="*/ 819 w 869"/>
                <a:gd name="T5" fmla="*/ 70 h 897"/>
                <a:gd name="T6" fmla="*/ 834 w 869"/>
                <a:gd name="T7" fmla="*/ 37 h 897"/>
                <a:gd name="T8" fmla="*/ 869 w 869"/>
                <a:gd name="T9" fmla="*/ 0 h 897"/>
                <a:gd name="T10" fmla="*/ 576 w 869"/>
                <a:gd name="T11" fmla="*/ 0 h 897"/>
                <a:gd name="T12" fmla="*/ 609 w 869"/>
                <a:gd name="T13" fmla="*/ 36 h 897"/>
                <a:gd name="T14" fmla="*/ 624 w 869"/>
                <a:gd name="T15" fmla="*/ 67 h 897"/>
                <a:gd name="T16" fmla="*/ 634 w 869"/>
                <a:gd name="T17" fmla="*/ 162 h 897"/>
                <a:gd name="T18" fmla="*/ 634 w 869"/>
                <a:gd name="T19" fmla="*/ 379 h 897"/>
                <a:gd name="T20" fmla="*/ 232 w 869"/>
                <a:gd name="T21" fmla="*/ 379 h 897"/>
                <a:gd name="T22" fmla="*/ 232 w 869"/>
                <a:gd name="T23" fmla="*/ 216 h 897"/>
                <a:gd name="T24" fmla="*/ 234 w 869"/>
                <a:gd name="T25" fmla="*/ 109 h 897"/>
                <a:gd name="T26" fmla="*/ 241 w 869"/>
                <a:gd name="T27" fmla="*/ 70 h 897"/>
                <a:gd name="T28" fmla="*/ 278 w 869"/>
                <a:gd name="T29" fmla="*/ 9 h 897"/>
                <a:gd name="T30" fmla="*/ 288 w 869"/>
                <a:gd name="T31" fmla="*/ 0 h 897"/>
                <a:gd name="T32" fmla="*/ 1 w 869"/>
                <a:gd name="T33" fmla="*/ 0 h 897"/>
                <a:gd name="T34" fmla="*/ 30 w 869"/>
                <a:gd name="T35" fmla="*/ 34 h 897"/>
                <a:gd name="T36" fmla="*/ 46 w 869"/>
                <a:gd name="T37" fmla="*/ 64 h 897"/>
                <a:gd name="T38" fmla="*/ 56 w 869"/>
                <a:gd name="T39" fmla="*/ 159 h 897"/>
                <a:gd name="T40" fmla="*/ 57 w 869"/>
                <a:gd name="T41" fmla="*/ 216 h 897"/>
                <a:gd name="T42" fmla="*/ 57 w 869"/>
                <a:gd name="T43" fmla="*/ 707 h 897"/>
                <a:gd name="T44" fmla="*/ 53 w 869"/>
                <a:gd name="T45" fmla="*/ 802 h 897"/>
                <a:gd name="T46" fmla="*/ 44 w 869"/>
                <a:gd name="T47" fmla="*/ 838 h 897"/>
                <a:gd name="T48" fmla="*/ 9 w 869"/>
                <a:gd name="T49" fmla="*/ 888 h 897"/>
                <a:gd name="T50" fmla="*/ 0 w 869"/>
                <a:gd name="T51" fmla="*/ 897 h 897"/>
                <a:gd name="T52" fmla="*/ 284 w 869"/>
                <a:gd name="T53" fmla="*/ 897 h 897"/>
                <a:gd name="T54" fmla="*/ 260 w 869"/>
                <a:gd name="T55" fmla="*/ 867 h 897"/>
                <a:gd name="T56" fmla="*/ 245 w 869"/>
                <a:gd name="T57" fmla="*/ 839 h 897"/>
                <a:gd name="T58" fmla="*/ 232 w 869"/>
                <a:gd name="T59" fmla="*/ 761 h 897"/>
                <a:gd name="T60" fmla="*/ 232 w 869"/>
                <a:gd name="T61" fmla="*/ 707 h 897"/>
                <a:gd name="T62" fmla="*/ 232 w 869"/>
                <a:gd name="T63" fmla="*/ 490 h 897"/>
                <a:gd name="T64" fmla="*/ 634 w 869"/>
                <a:gd name="T65" fmla="*/ 490 h 897"/>
                <a:gd name="T66" fmla="*/ 634 w 869"/>
                <a:gd name="T67" fmla="*/ 709 h 897"/>
                <a:gd name="T68" fmla="*/ 630 w 869"/>
                <a:gd name="T69" fmla="*/ 800 h 897"/>
                <a:gd name="T70" fmla="*/ 620 w 869"/>
                <a:gd name="T71" fmla="*/ 838 h 897"/>
                <a:gd name="T72" fmla="*/ 588 w 869"/>
                <a:gd name="T73" fmla="*/ 885 h 897"/>
                <a:gd name="T74" fmla="*/ 575 w 869"/>
                <a:gd name="T75" fmla="*/ 897 h 897"/>
                <a:gd name="T76" fmla="*/ 862 w 869"/>
                <a:gd name="T77" fmla="*/ 897 h 897"/>
                <a:gd name="T78" fmla="*/ 838 w 869"/>
                <a:gd name="T79" fmla="*/ 869 h 897"/>
                <a:gd name="T80" fmla="*/ 821 w 869"/>
                <a:gd name="T81" fmla="*/ 839 h 897"/>
                <a:gd name="T82" fmla="*/ 810 w 869"/>
                <a:gd name="T83" fmla="*/ 758 h 897"/>
                <a:gd name="T84" fmla="*/ 809 w 869"/>
                <a:gd name="T85" fmla="*/ 712 h 897"/>
                <a:gd name="T86" fmla="*/ 810 w 869"/>
                <a:gd name="T87" fmla="*/ 218 h 897"/>
                <a:gd name="T88" fmla="*/ 810 w 869"/>
                <a:gd name="T89" fmla="*/ 16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9" h="897">
                  <a:moveTo>
                    <a:pt x="810" y="165"/>
                  </a:moveTo>
                  <a:lnTo>
                    <a:pt x="810" y="165"/>
                  </a:lnTo>
                  <a:cubicBezTo>
                    <a:pt x="810" y="125"/>
                    <a:pt x="813" y="95"/>
                    <a:pt x="819" y="70"/>
                  </a:cubicBezTo>
                  <a:cubicBezTo>
                    <a:pt x="823" y="59"/>
                    <a:pt x="828" y="48"/>
                    <a:pt x="834" y="37"/>
                  </a:cubicBezTo>
                  <a:cubicBezTo>
                    <a:pt x="843" y="22"/>
                    <a:pt x="850" y="14"/>
                    <a:pt x="869" y="0"/>
                  </a:cubicBezTo>
                  <a:lnTo>
                    <a:pt x="576" y="0"/>
                  </a:lnTo>
                  <a:cubicBezTo>
                    <a:pt x="593" y="14"/>
                    <a:pt x="599" y="20"/>
                    <a:pt x="609" y="36"/>
                  </a:cubicBezTo>
                  <a:cubicBezTo>
                    <a:pt x="616" y="46"/>
                    <a:pt x="621" y="57"/>
                    <a:pt x="624" y="67"/>
                  </a:cubicBezTo>
                  <a:cubicBezTo>
                    <a:pt x="631" y="88"/>
                    <a:pt x="634" y="115"/>
                    <a:pt x="634" y="162"/>
                  </a:cubicBezTo>
                  <a:lnTo>
                    <a:pt x="634" y="379"/>
                  </a:lnTo>
                  <a:lnTo>
                    <a:pt x="232" y="379"/>
                  </a:lnTo>
                  <a:lnTo>
                    <a:pt x="232" y="216"/>
                  </a:lnTo>
                  <a:cubicBezTo>
                    <a:pt x="232" y="166"/>
                    <a:pt x="232" y="134"/>
                    <a:pt x="234" y="109"/>
                  </a:cubicBezTo>
                  <a:cubicBezTo>
                    <a:pt x="235" y="95"/>
                    <a:pt x="238" y="82"/>
                    <a:pt x="241" y="70"/>
                  </a:cubicBezTo>
                  <a:cubicBezTo>
                    <a:pt x="247" y="51"/>
                    <a:pt x="264" y="24"/>
                    <a:pt x="278" y="9"/>
                  </a:cubicBezTo>
                  <a:cubicBezTo>
                    <a:pt x="280" y="7"/>
                    <a:pt x="284" y="4"/>
                    <a:pt x="288" y="0"/>
                  </a:cubicBezTo>
                  <a:lnTo>
                    <a:pt x="1" y="0"/>
                  </a:lnTo>
                  <a:cubicBezTo>
                    <a:pt x="18" y="17"/>
                    <a:pt x="23" y="23"/>
                    <a:pt x="30" y="34"/>
                  </a:cubicBezTo>
                  <a:cubicBezTo>
                    <a:pt x="37" y="43"/>
                    <a:pt x="42" y="53"/>
                    <a:pt x="46" y="64"/>
                  </a:cubicBezTo>
                  <a:cubicBezTo>
                    <a:pt x="53" y="87"/>
                    <a:pt x="55" y="100"/>
                    <a:pt x="56" y="159"/>
                  </a:cubicBezTo>
                  <a:lnTo>
                    <a:pt x="57" y="216"/>
                  </a:lnTo>
                  <a:lnTo>
                    <a:pt x="57" y="707"/>
                  </a:lnTo>
                  <a:cubicBezTo>
                    <a:pt x="57" y="757"/>
                    <a:pt x="56" y="779"/>
                    <a:pt x="53" y="802"/>
                  </a:cubicBezTo>
                  <a:cubicBezTo>
                    <a:pt x="51" y="814"/>
                    <a:pt x="48" y="825"/>
                    <a:pt x="44" y="838"/>
                  </a:cubicBezTo>
                  <a:cubicBezTo>
                    <a:pt x="37" y="857"/>
                    <a:pt x="26" y="872"/>
                    <a:pt x="9" y="888"/>
                  </a:cubicBezTo>
                  <a:cubicBezTo>
                    <a:pt x="7" y="890"/>
                    <a:pt x="4" y="893"/>
                    <a:pt x="0" y="897"/>
                  </a:cubicBezTo>
                  <a:lnTo>
                    <a:pt x="284" y="897"/>
                  </a:lnTo>
                  <a:cubicBezTo>
                    <a:pt x="271" y="884"/>
                    <a:pt x="267" y="878"/>
                    <a:pt x="260" y="867"/>
                  </a:cubicBezTo>
                  <a:cubicBezTo>
                    <a:pt x="254" y="859"/>
                    <a:pt x="249" y="849"/>
                    <a:pt x="245" y="839"/>
                  </a:cubicBezTo>
                  <a:cubicBezTo>
                    <a:pt x="236" y="815"/>
                    <a:pt x="233" y="799"/>
                    <a:pt x="232" y="761"/>
                  </a:cubicBezTo>
                  <a:cubicBezTo>
                    <a:pt x="232" y="741"/>
                    <a:pt x="232" y="724"/>
                    <a:pt x="232" y="707"/>
                  </a:cubicBezTo>
                  <a:lnTo>
                    <a:pt x="232" y="490"/>
                  </a:lnTo>
                  <a:lnTo>
                    <a:pt x="634" y="490"/>
                  </a:lnTo>
                  <a:lnTo>
                    <a:pt x="634" y="709"/>
                  </a:lnTo>
                  <a:cubicBezTo>
                    <a:pt x="634" y="757"/>
                    <a:pt x="633" y="775"/>
                    <a:pt x="630" y="800"/>
                  </a:cubicBezTo>
                  <a:cubicBezTo>
                    <a:pt x="628" y="813"/>
                    <a:pt x="625" y="826"/>
                    <a:pt x="620" y="838"/>
                  </a:cubicBezTo>
                  <a:cubicBezTo>
                    <a:pt x="613" y="855"/>
                    <a:pt x="603" y="871"/>
                    <a:pt x="588" y="885"/>
                  </a:cubicBezTo>
                  <a:cubicBezTo>
                    <a:pt x="585" y="888"/>
                    <a:pt x="581" y="892"/>
                    <a:pt x="575" y="897"/>
                  </a:cubicBezTo>
                  <a:lnTo>
                    <a:pt x="862" y="897"/>
                  </a:lnTo>
                  <a:cubicBezTo>
                    <a:pt x="850" y="885"/>
                    <a:pt x="846" y="880"/>
                    <a:pt x="838" y="869"/>
                  </a:cubicBezTo>
                  <a:cubicBezTo>
                    <a:pt x="831" y="859"/>
                    <a:pt x="825" y="849"/>
                    <a:pt x="821" y="839"/>
                  </a:cubicBezTo>
                  <a:cubicBezTo>
                    <a:pt x="813" y="818"/>
                    <a:pt x="811" y="803"/>
                    <a:pt x="810" y="758"/>
                  </a:cubicBezTo>
                  <a:cubicBezTo>
                    <a:pt x="809" y="732"/>
                    <a:pt x="809" y="717"/>
                    <a:pt x="809" y="712"/>
                  </a:cubicBezTo>
                  <a:lnTo>
                    <a:pt x="810" y="218"/>
                  </a:lnTo>
                  <a:lnTo>
                    <a:pt x="810" y="16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7" name="Freeform 8">
              <a:extLst>
                <a:ext uri="{FF2B5EF4-FFF2-40B4-BE49-F238E27FC236}">
                  <a16:creationId xmlns:a16="http://schemas.microsoft.com/office/drawing/2014/main" id="{6BBC35C7-7D0A-47E2-B2C4-06C544547044}"/>
                </a:ext>
              </a:extLst>
            </p:cNvPr>
            <p:cNvSpPr>
              <a:spLocks noEditPoints="1"/>
            </p:cNvSpPr>
            <p:nvPr userDrawn="1"/>
          </p:nvSpPr>
          <p:spPr bwMode="auto">
            <a:xfrm>
              <a:off x="562" y="197"/>
              <a:ext cx="73" cy="80"/>
            </a:xfrm>
            <a:custGeom>
              <a:avLst/>
              <a:gdLst>
                <a:gd name="T0" fmla="*/ 408 w 822"/>
                <a:gd name="T1" fmla="*/ 395 h 897"/>
                <a:gd name="T2" fmla="*/ 408 w 822"/>
                <a:gd name="T3" fmla="*/ 395 h 897"/>
                <a:gd name="T4" fmla="*/ 295 w 822"/>
                <a:gd name="T5" fmla="*/ 431 h 897"/>
                <a:gd name="T6" fmla="*/ 248 w 822"/>
                <a:gd name="T7" fmla="*/ 435 h 897"/>
                <a:gd name="T8" fmla="*/ 233 w 822"/>
                <a:gd name="T9" fmla="*/ 435 h 897"/>
                <a:gd name="T10" fmla="*/ 233 w 822"/>
                <a:gd name="T11" fmla="*/ 103 h 897"/>
                <a:gd name="T12" fmla="*/ 257 w 822"/>
                <a:gd name="T13" fmla="*/ 102 h 897"/>
                <a:gd name="T14" fmla="*/ 378 w 822"/>
                <a:gd name="T15" fmla="*/ 117 h 897"/>
                <a:gd name="T16" fmla="*/ 439 w 822"/>
                <a:gd name="T17" fmla="*/ 149 h 897"/>
                <a:gd name="T18" fmla="*/ 485 w 822"/>
                <a:gd name="T19" fmla="*/ 260 h 897"/>
                <a:gd name="T20" fmla="*/ 450 w 822"/>
                <a:gd name="T21" fmla="*/ 361 h 897"/>
                <a:gd name="T22" fmla="*/ 408 w 822"/>
                <a:gd name="T23" fmla="*/ 395 h 897"/>
                <a:gd name="T24" fmla="*/ 408 w 822"/>
                <a:gd name="T25" fmla="*/ 395 h 897"/>
                <a:gd name="T26" fmla="*/ 750 w 822"/>
                <a:gd name="T27" fmla="*/ 835 h 897"/>
                <a:gd name="T28" fmla="*/ 750 w 822"/>
                <a:gd name="T29" fmla="*/ 835 h 897"/>
                <a:gd name="T30" fmla="*/ 649 w 822"/>
                <a:gd name="T31" fmla="*/ 730 h 897"/>
                <a:gd name="T32" fmla="*/ 583 w 822"/>
                <a:gd name="T33" fmla="*/ 657 h 897"/>
                <a:gd name="T34" fmla="*/ 444 w 822"/>
                <a:gd name="T35" fmla="*/ 493 h 897"/>
                <a:gd name="T36" fmla="*/ 484 w 822"/>
                <a:gd name="T37" fmla="*/ 480 h 897"/>
                <a:gd name="T38" fmla="*/ 594 w 822"/>
                <a:gd name="T39" fmla="*/ 416 h 897"/>
                <a:gd name="T40" fmla="*/ 665 w 822"/>
                <a:gd name="T41" fmla="*/ 313 h 897"/>
                <a:gd name="T42" fmla="*/ 676 w 822"/>
                <a:gd name="T43" fmla="*/ 244 h 897"/>
                <a:gd name="T44" fmla="*/ 615 w 822"/>
                <a:gd name="T45" fmla="*/ 97 h 897"/>
                <a:gd name="T46" fmla="*/ 470 w 822"/>
                <a:gd name="T47" fmla="*/ 16 h 897"/>
                <a:gd name="T48" fmla="*/ 316 w 822"/>
                <a:gd name="T49" fmla="*/ 1 h 897"/>
                <a:gd name="T50" fmla="*/ 233 w 822"/>
                <a:gd name="T51" fmla="*/ 0 h 897"/>
                <a:gd name="T52" fmla="*/ 2 w 822"/>
                <a:gd name="T53" fmla="*/ 0 h 897"/>
                <a:gd name="T54" fmla="*/ 32 w 822"/>
                <a:gd name="T55" fmla="*/ 33 h 897"/>
                <a:gd name="T56" fmla="*/ 47 w 822"/>
                <a:gd name="T57" fmla="*/ 66 h 897"/>
                <a:gd name="T58" fmla="*/ 56 w 822"/>
                <a:gd name="T59" fmla="*/ 162 h 897"/>
                <a:gd name="T60" fmla="*/ 56 w 822"/>
                <a:gd name="T61" fmla="*/ 750 h 897"/>
                <a:gd name="T62" fmla="*/ 46 w 822"/>
                <a:gd name="T63" fmla="*/ 837 h 897"/>
                <a:gd name="T64" fmla="*/ 31 w 822"/>
                <a:gd name="T65" fmla="*/ 865 h 897"/>
                <a:gd name="T66" fmla="*/ 0 w 822"/>
                <a:gd name="T67" fmla="*/ 897 h 897"/>
                <a:gd name="T68" fmla="*/ 285 w 822"/>
                <a:gd name="T69" fmla="*/ 897 h 897"/>
                <a:gd name="T70" fmla="*/ 261 w 822"/>
                <a:gd name="T71" fmla="*/ 867 h 897"/>
                <a:gd name="T72" fmla="*/ 245 w 822"/>
                <a:gd name="T73" fmla="*/ 840 h 897"/>
                <a:gd name="T74" fmla="*/ 234 w 822"/>
                <a:gd name="T75" fmla="*/ 757 h 897"/>
                <a:gd name="T76" fmla="*/ 233 w 822"/>
                <a:gd name="T77" fmla="*/ 712 h 897"/>
                <a:gd name="T78" fmla="*/ 233 w 822"/>
                <a:gd name="T79" fmla="*/ 510 h 897"/>
                <a:gd name="T80" fmla="*/ 400 w 822"/>
                <a:gd name="T81" fmla="*/ 710 h 897"/>
                <a:gd name="T82" fmla="*/ 437 w 822"/>
                <a:gd name="T83" fmla="*/ 753 h 897"/>
                <a:gd name="T84" fmla="*/ 481 w 822"/>
                <a:gd name="T85" fmla="*/ 801 h 897"/>
                <a:gd name="T86" fmla="*/ 573 w 822"/>
                <a:gd name="T87" fmla="*/ 875 h 897"/>
                <a:gd name="T88" fmla="*/ 662 w 822"/>
                <a:gd name="T89" fmla="*/ 896 h 897"/>
                <a:gd name="T90" fmla="*/ 709 w 822"/>
                <a:gd name="T91" fmla="*/ 897 h 897"/>
                <a:gd name="T92" fmla="*/ 822 w 822"/>
                <a:gd name="T93" fmla="*/ 897 h 897"/>
                <a:gd name="T94" fmla="*/ 789 w 822"/>
                <a:gd name="T95" fmla="*/ 870 h 897"/>
                <a:gd name="T96" fmla="*/ 750 w 822"/>
                <a:gd name="T97" fmla="*/ 83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897">
                  <a:moveTo>
                    <a:pt x="408" y="395"/>
                  </a:moveTo>
                  <a:lnTo>
                    <a:pt x="408" y="395"/>
                  </a:lnTo>
                  <a:cubicBezTo>
                    <a:pt x="376" y="413"/>
                    <a:pt x="343" y="424"/>
                    <a:pt x="295" y="431"/>
                  </a:cubicBezTo>
                  <a:cubicBezTo>
                    <a:pt x="277" y="434"/>
                    <a:pt x="261" y="435"/>
                    <a:pt x="248" y="435"/>
                  </a:cubicBezTo>
                  <a:cubicBezTo>
                    <a:pt x="243" y="435"/>
                    <a:pt x="240" y="435"/>
                    <a:pt x="233" y="435"/>
                  </a:cubicBezTo>
                  <a:lnTo>
                    <a:pt x="233" y="103"/>
                  </a:lnTo>
                  <a:cubicBezTo>
                    <a:pt x="245" y="102"/>
                    <a:pt x="249" y="102"/>
                    <a:pt x="257" y="102"/>
                  </a:cubicBezTo>
                  <a:cubicBezTo>
                    <a:pt x="301" y="102"/>
                    <a:pt x="344" y="107"/>
                    <a:pt x="378" y="117"/>
                  </a:cubicBezTo>
                  <a:cubicBezTo>
                    <a:pt x="400" y="123"/>
                    <a:pt x="421" y="135"/>
                    <a:pt x="439" y="149"/>
                  </a:cubicBezTo>
                  <a:cubicBezTo>
                    <a:pt x="469" y="175"/>
                    <a:pt x="485" y="213"/>
                    <a:pt x="485" y="260"/>
                  </a:cubicBezTo>
                  <a:cubicBezTo>
                    <a:pt x="485" y="300"/>
                    <a:pt x="473" y="335"/>
                    <a:pt x="450" y="361"/>
                  </a:cubicBezTo>
                  <a:cubicBezTo>
                    <a:pt x="439" y="373"/>
                    <a:pt x="425" y="385"/>
                    <a:pt x="408" y="395"/>
                  </a:cubicBezTo>
                  <a:lnTo>
                    <a:pt x="408" y="395"/>
                  </a:lnTo>
                  <a:close/>
                  <a:moveTo>
                    <a:pt x="750" y="835"/>
                  </a:moveTo>
                  <a:lnTo>
                    <a:pt x="750" y="835"/>
                  </a:lnTo>
                  <a:cubicBezTo>
                    <a:pt x="719" y="804"/>
                    <a:pt x="691" y="776"/>
                    <a:pt x="649" y="730"/>
                  </a:cubicBezTo>
                  <a:cubicBezTo>
                    <a:pt x="622" y="702"/>
                    <a:pt x="600" y="677"/>
                    <a:pt x="583" y="657"/>
                  </a:cubicBezTo>
                  <a:lnTo>
                    <a:pt x="444" y="493"/>
                  </a:lnTo>
                  <a:cubicBezTo>
                    <a:pt x="461" y="488"/>
                    <a:pt x="468" y="486"/>
                    <a:pt x="484" y="480"/>
                  </a:cubicBezTo>
                  <a:cubicBezTo>
                    <a:pt x="529" y="462"/>
                    <a:pt x="563" y="442"/>
                    <a:pt x="594" y="416"/>
                  </a:cubicBezTo>
                  <a:cubicBezTo>
                    <a:pt x="630" y="386"/>
                    <a:pt x="652" y="354"/>
                    <a:pt x="665" y="313"/>
                  </a:cubicBezTo>
                  <a:cubicBezTo>
                    <a:pt x="673" y="291"/>
                    <a:pt x="676" y="267"/>
                    <a:pt x="676" y="244"/>
                  </a:cubicBezTo>
                  <a:cubicBezTo>
                    <a:pt x="676" y="189"/>
                    <a:pt x="656" y="139"/>
                    <a:pt x="615" y="97"/>
                  </a:cubicBezTo>
                  <a:cubicBezTo>
                    <a:pt x="579" y="58"/>
                    <a:pt x="527" y="30"/>
                    <a:pt x="470" y="16"/>
                  </a:cubicBezTo>
                  <a:cubicBezTo>
                    <a:pt x="429" y="7"/>
                    <a:pt x="388" y="2"/>
                    <a:pt x="316" y="1"/>
                  </a:cubicBezTo>
                  <a:cubicBezTo>
                    <a:pt x="289" y="0"/>
                    <a:pt x="262" y="0"/>
                    <a:pt x="233" y="0"/>
                  </a:cubicBezTo>
                  <a:lnTo>
                    <a:pt x="2" y="0"/>
                  </a:lnTo>
                  <a:cubicBezTo>
                    <a:pt x="17" y="14"/>
                    <a:pt x="23" y="20"/>
                    <a:pt x="32" y="33"/>
                  </a:cubicBezTo>
                  <a:cubicBezTo>
                    <a:pt x="38" y="44"/>
                    <a:pt x="44" y="55"/>
                    <a:pt x="47" y="66"/>
                  </a:cubicBezTo>
                  <a:cubicBezTo>
                    <a:pt x="53" y="86"/>
                    <a:pt x="56" y="114"/>
                    <a:pt x="56" y="162"/>
                  </a:cubicBezTo>
                  <a:lnTo>
                    <a:pt x="56" y="750"/>
                  </a:lnTo>
                  <a:cubicBezTo>
                    <a:pt x="56" y="793"/>
                    <a:pt x="53" y="817"/>
                    <a:pt x="46" y="837"/>
                  </a:cubicBezTo>
                  <a:cubicBezTo>
                    <a:pt x="42" y="847"/>
                    <a:pt x="37" y="857"/>
                    <a:pt x="31" y="865"/>
                  </a:cubicBezTo>
                  <a:cubicBezTo>
                    <a:pt x="22" y="876"/>
                    <a:pt x="17" y="882"/>
                    <a:pt x="0" y="897"/>
                  </a:cubicBezTo>
                  <a:lnTo>
                    <a:pt x="285" y="897"/>
                  </a:lnTo>
                  <a:cubicBezTo>
                    <a:pt x="273" y="883"/>
                    <a:pt x="269" y="878"/>
                    <a:pt x="261" y="867"/>
                  </a:cubicBezTo>
                  <a:cubicBezTo>
                    <a:pt x="254" y="859"/>
                    <a:pt x="249" y="850"/>
                    <a:pt x="245" y="840"/>
                  </a:cubicBezTo>
                  <a:cubicBezTo>
                    <a:pt x="238" y="820"/>
                    <a:pt x="234" y="799"/>
                    <a:pt x="234" y="757"/>
                  </a:cubicBezTo>
                  <a:cubicBezTo>
                    <a:pt x="234" y="744"/>
                    <a:pt x="233" y="729"/>
                    <a:pt x="233" y="712"/>
                  </a:cubicBezTo>
                  <a:lnTo>
                    <a:pt x="233" y="510"/>
                  </a:lnTo>
                  <a:lnTo>
                    <a:pt x="400" y="710"/>
                  </a:lnTo>
                  <a:cubicBezTo>
                    <a:pt x="407" y="719"/>
                    <a:pt x="420" y="734"/>
                    <a:pt x="437" y="753"/>
                  </a:cubicBezTo>
                  <a:cubicBezTo>
                    <a:pt x="456" y="775"/>
                    <a:pt x="471" y="791"/>
                    <a:pt x="481" y="801"/>
                  </a:cubicBezTo>
                  <a:cubicBezTo>
                    <a:pt x="513" y="835"/>
                    <a:pt x="543" y="859"/>
                    <a:pt x="573" y="875"/>
                  </a:cubicBezTo>
                  <a:cubicBezTo>
                    <a:pt x="599" y="889"/>
                    <a:pt x="624" y="895"/>
                    <a:pt x="662" y="896"/>
                  </a:cubicBezTo>
                  <a:cubicBezTo>
                    <a:pt x="677" y="897"/>
                    <a:pt x="693" y="897"/>
                    <a:pt x="709" y="897"/>
                  </a:cubicBezTo>
                  <a:lnTo>
                    <a:pt x="822" y="897"/>
                  </a:lnTo>
                  <a:cubicBezTo>
                    <a:pt x="807" y="885"/>
                    <a:pt x="800" y="880"/>
                    <a:pt x="789" y="870"/>
                  </a:cubicBezTo>
                  <a:cubicBezTo>
                    <a:pt x="777" y="859"/>
                    <a:pt x="764" y="848"/>
                    <a:pt x="750" y="8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8" name="Freeform 9">
              <a:extLst>
                <a:ext uri="{FF2B5EF4-FFF2-40B4-BE49-F238E27FC236}">
                  <a16:creationId xmlns:a16="http://schemas.microsoft.com/office/drawing/2014/main" id="{A584396E-C3BB-4279-AED5-86C460BF26E5}"/>
                </a:ext>
              </a:extLst>
            </p:cNvPr>
            <p:cNvSpPr>
              <a:spLocks/>
            </p:cNvSpPr>
            <p:nvPr userDrawn="1"/>
          </p:nvSpPr>
          <p:spPr bwMode="auto">
            <a:xfrm>
              <a:off x="679" y="195"/>
              <a:ext cx="68" cy="84"/>
            </a:xfrm>
            <a:custGeom>
              <a:avLst/>
              <a:gdLst>
                <a:gd name="T0" fmla="*/ 668 w 765"/>
                <a:gd name="T1" fmla="*/ 790 h 944"/>
                <a:gd name="T2" fmla="*/ 668 w 765"/>
                <a:gd name="T3" fmla="*/ 790 h 944"/>
                <a:gd name="T4" fmla="*/ 512 w 765"/>
                <a:gd name="T5" fmla="*/ 823 h 944"/>
                <a:gd name="T6" fmla="*/ 281 w 765"/>
                <a:gd name="T7" fmla="*/ 727 h 944"/>
                <a:gd name="T8" fmla="*/ 191 w 765"/>
                <a:gd name="T9" fmla="*/ 478 h 944"/>
                <a:gd name="T10" fmla="*/ 272 w 765"/>
                <a:gd name="T11" fmla="*/ 236 h 944"/>
                <a:gd name="T12" fmla="*/ 354 w 765"/>
                <a:gd name="T13" fmla="*/ 170 h 944"/>
                <a:gd name="T14" fmla="*/ 527 w 765"/>
                <a:gd name="T15" fmla="*/ 126 h 944"/>
                <a:gd name="T16" fmla="*/ 688 w 765"/>
                <a:gd name="T17" fmla="*/ 159 h 944"/>
                <a:gd name="T18" fmla="*/ 762 w 765"/>
                <a:gd name="T19" fmla="*/ 199 h 944"/>
                <a:gd name="T20" fmla="*/ 762 w 765"/>
                <a:gd name="T21" fmla="*/ 31 h 944"/>
                <a:gd name="T22" fmla="*/ 708 w 765"/>
                <a:gd name="T23" fmla="*/ 16 h 944"/>
                <a:gd name="T24" fmla="*/ 550 w 765"/>
                <a:gd name="T25" fmla="*/ 0 h 944"/>
                <a:gd name="T26" fmla="*/ 294 w 765"/>
                <a:gd name="T27" fmla="*/ 48 h 944"/>
                <a:gd name="T28" fmla="*/ 171 w 765"/>
                <a:gd name="T29" fmla="*/ 121 h 944"/>
                <a:gd name="T30" fmla="*/ 0 w 765"/>
                <a:gd name="T31" fmla="*/ 488 h 944"/>
                <a:gd name="T32" fmla="*/ 164 w 765"/>
                <a:gd name="T33" fmla="*/ 840 h 944"/>
                <a:gd name="T34" fmla="*/ 499 w 765"/>
                <a:gd name="T35" fmla="*/ 944 h 944"/>
                <a:gd name="T36" fmla="*/ 751 w 765"/>
                <a:gd name="T37" fmla="*/ 904 h 944"/>
                <a:gd name="T38" fmla="*/ 765 w 765"/>
                <a:gd name="T39" fmla="*/ 899 h 944"/>
                <a:gd name="T40" fmla="*/ 765 w 765"/>
                <a:gd name="T41" fmla="*/ 736 h 944"/>
                <a:gd name="T42" fmla="*/ 724 w 765"/>
                <a:gd name="T43" fmla="*/ 763 h 944"/>
                <a:gd name="T44" fmla="*/ 668 w 765"/>
                <a:gd name="T45" fmla="*/ 79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5" h="944">
                  <a:moveTo>
                    <a:pt x="668" y="790"/>
                  </a:moveTo>
                  <a:lnTo>
                    <a:pt x="668" y="790"/>
                  </a:lnTo>
                  <a:cubicBezTo>
                    <a:pt x="614" y="813"/>
                    <a:pt x="565" y="823"/>
                    <a:pt x="512" y="823"/>
                  </a:cubicBezTo>
                  <a:cubicBezTo>
                    <a:pt x="419" y="823"/>
                    <a:pt x="340" y="790"/>
                    <a:pt x="281" y="727"/>
                  </a:cubicBezTo>
                  <a:cubicBezTo>
                    <a:pt x="222" y="664"/>
                    <a:pt x="191" y="577"/>
                    <a:pt x="191" y="478"/>
                  </a:cubicBezTo>
                  <a:cubicBezTo>
                    <a:pt x="191" y="384"/>
                    <a:pt x="220" y="297"/>
                    <a:pt x="272" y="236"/>
                  </a:cubicBezTo>
                  <a:cubicBezTo>
                    <a:pt x="295" y="210"/>
                    <a:pt x="322" y="187"/>
                    <a:pt x="354" y="170"/>
                  </a:cubicBezTo>
                  <a:cubicBezTo>
                    <a:pt x="404" y="141"/>
                    <a:pt x="463" y="126"/>
                    <a:pt x="527" y="126"/>
                  </a:cubicBezTo>
                  <a:cubicBezTo>
                    <a:pt x="582" y="126"/>
                    <a:pt x="635" y="137"/>
                    <a:pt x="688" y="159"/>
                  </a:cubicBezTo>
                  <a:cubicBezTo>
                    <a:pt x="722" y="172"/>
                    <a:pt x="734" y="179"/>
                    <a:pt x="762" y="199"/>
                  </a:cubicBezTo>
                  <a:lnTo>
                    <a:pt x="762" y="31"/>
                  </a:lnTo>
                  <a:cubicBezTo>
                    <a:pt x="740" y="24"/>
                    <a:pt x="731" y="21"/>
                    <a:pt x="708" y="16"/>
                  </a:cubicBezTo>
                  <a:cubicBezTo>
                    <a:pt x="656" y="5"/>
                    <a:pt x="606" y="0"/>
                    <a:pt x="550" y="0"/>
                  </a:cubicBezTo>
                  <a:cubicBezTo>
                    <a:pt x="453" y="0"/>
                    <a:pt x="370" y="16"/>
                    <a:pt x="294" y="48"/>
                  </a:cubicBezTo>
                  <a:cubicBezTo>
                    <a:pt x="249" y="67"/>
                    <a:pt x="207" y="91"/>
                    <a:pt x="171" y="121"/>
                  </a:cubicBezTo>
                  <a:cubicBezTo>
                    <a:pt x="60" y="210"/>
                    <a:pt x="0" y="339"/>
                    <a:pt x="0" y="488"/>
                  </a:cubicBezTo>
                  <a:cubicBezTo>
                    <a:pt x="0" y="632"/>
                    <a:pt x="58" y="756"/>
                    <a:pt x="164" y="840"/>
                  </a:cubicBezTo>
                  <a:cubicBezTo>
                    <a:pt x="251" y="909"/>
                    <a:pt x="364" y="944"/>
                    <a:pt x="499" y="944"/>
                  </a:cubicBezTo>
                  <a:cubicBezTo>
                    <a:pt x="583" y="944"/>
                    <a:pt x="662" y="931"/>
                    <a:pt x="751" y="904"/>
                  </a:cubicBezTo>
                  <a:cubicBezTo>
                    <a:pt x="754" y="903"/>
                    <a:pt x="759" y="901"/>
                    <a:pt x="765" y="899"/>
                  </a:cubicBezTo>
                  <a:lnTo>
                    <a:pt x="765" y="736"/>
                  </a:lnTo>
                  <a:cubicBezTo>
                    <a:pt x="744" y="750"/>
                    <a:pt x="736" y="755"/>
                    <a:pt x="724" y="763"/>
                  </a:cubicBezTo>
                  <a:cubicBezTo>
                    <a:pt x="706" y="773"/>
                    <a:pt x="688" y="782"/>
                    <a:pt x="668" y="7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9" name="Freeform 10">
              <a:extLst>
                <a:ext uri="{FF2B5EF4-FFF2-40B4-BE49-F238E27FC236}">
                  <a16:creationId xmlns:a16="http://schemas.microsoft.com/office/drawing/2014/main" id="{5F2F9B40-5A8A-438C-941A-F5B69038E2ED}"/>
                </a:ext>
              </a:extLst>
            </p:cNvPr>
            <p:cNvSpPr>
              <a:spLocks/>
            </p:cNvSpPr>
            <p:nvPr userDrawn="1"/>
          </p:nvSpPr>
          <p:spPr bwMode="auto">
            <a:xfrm>
              <a:off x="471" y="197"/>
              <a:ext cx="78" cy="83"/>
            </a:xfrm>
            <a:custGeom>
              <a:avLst/>
              <a:gdLst>
                <a:gd name="T0" fmla="*/ 631 w 885"/>
                <a:gd name="T1" fmla="*/ 34 h 927"/>
                <a:gd name="T2" fmla="*/ 631 w 885"/>
                <a:gd name="T3" fmla="*/ 34 h 927"/>
                <a:gd name="T4" fmla="*/ 644 w 885"/>
                <a:gd name="T5" fmla="*/ 65 h 927"/>
                <a:gd name="T6" fmla="*/ 652 w 885"/>
                <a:gd name="T7" fmla="*/ 159 h 927"/>
                <a:gd name="T8" fmla="*/ 652 w 885"/>
                <a:gd name="T9" fmla="*/ 500 h 927"/>
                <a:gd name="T10" fmla="*/ 645 w 885"/>
                <a:gd name="T11" fmla="*/ 652 h 927"/>
                <a:gd name="T12" fmla="*/ 621 w 885"/>
                <a:gd name="T13" fmla="*/ 718 h 927"/>
                <a:gd name="T14" fmla="*/ 511 w 885"/>
                <a:gd name="T15" fmla="*/ 795 h 927"/>
                <a:gd name="T16" fmla="*/ 448 w 885"/>
                <a:gd name="T17" fmla="*/ 802 h 927"/>
                <a:gd name="T18" fmla="*/ 272 w 885"/>
                <a:gd name="T19" fmla="*/ 726 h 927"/>
                <a:gd name="T20" fmla="*/ 240 w 885"/>
                <a:gd name="T21" fmla="*/ 562 h 927"/>
                <a:gd name="T22" fmla="*/ 239 w 885"/>
                <a:gd name="T23" fmla="*/ 488 h 927"/>
                <a:gd name="T24" fmla="*/ 239 w 885"/>
                <a:gd name="T25" fmla="*/ 218 h 927"/>
                <a:gd name="T26" fmla="*/ 241 w 885"/>
                <a:gd name="T27" fmla="*/ 114 h 927"/>
                <a:gd name="T28" fmla="*/ 248 w 885"/>
                <a:gd name="T29" fmla="*/ 73 h 927"/>
                <a:gd name="T30" fmla="*/ 284 w 885"/>
                <a:gd name="T31" fmla="*/ 8 h 927"/>
                <a:gd name="T32" fmla="*/ 291 w 885"/>
                <a:gd name="T33" fmla="*/ 0 h 927"/>
                <a:gd name="T34" fmla="*/ 0 w 885"/>
                <a:gd name="T35" fmla="*/ 0 h 927"/>
                <a:gd name="T36" fmla="*/ 32 w 885"/>
                <a:gd name="T37" fmla="*/ 36 h 927"/>
                <a:gd name="T38" fmla="*/ 45 w 885"/>
                <a:gd name="T39" fmla="*/ 67 h 927"/>
                <a:gd name="T40" fmla="*/ 51 w 885"/>
                <a:gd name="T41" fmla="*/ 109 h 927"/>
                <a:gd name="T42" fmla="*/ 51 w 885"/>
                <a:gd name="T43" fmla="*/ 164 h 927"/>
                <a:gd name="T44" fmla="*/ 52 w 885"/>
                <a:gd name="T45" fmla="*/ 216 h 927"/>
                <a:gd name="T46" fmla="*/ 52 w 885"/>
                <a:gd name="T47" fmla="*/ 473 h 927"/>
                <a:gd name="T48" fmla="*/ 55 w 885"/>
                <a:gd name="T49" fmla="*/ 631 h 927"/>
                <a:gd name="T50" fmla="*/ 118 w 885"/>
                <a:gd name="T51" fmla="*/ 796 h 927"/>
                <a:gd name="T52" fmla="*/ 435 w 885"/>
                <a:gd name="T53" fmla="*/ 927 h 927"/>
                <a:gd name="T54" fmla="*/ 615 w 885"/>
                <a:gd name="T55" fmla="*/ 898 h 927"/>
                <a:gd name="T56" fmla="*/ 748 w 885"/>
                <a:gd name="T57" fmla="*/ 809 h 927"/>
                <a:gd name="T58" fmla="*/ 821 w 885"/>
                <a:gd name="T59" fmla="*/ 635 h 927"/>
                <a:gd name="T60" fmla="*/ 827 w 885"/>
                <a:gd name="T61" fmla="*/ 475 h 927"/>
                <a:gd name="T62" fmla="*/ 827 w 885"/>
                <a:gd name="T63" fmla="*/ 217 h 927"/>
                <a:gd name="T64" fmla="*/ 826 w 885"/>
                <a:gd name="T65" fmla="*/ 165 h 927"/>
                <a:gd name="T66" fmla="*/ 826 w 885"/>
                <a:gd name="T67" fmla="*/ 155 h 927"/>
                <a:gd name="T68" fmla="*/ 834 w 885"/>
                <a:gd name="T69" fmla="*/ 73 h 927"/>
                <a:gd name="T70" fmla="*/ 849 w 885"/>
                <a:gd name="T71" fmla="*/ 37 h 927"/>
                <a:gd name="T72" fmla="*/ 885 w 885"/>
                <a:gd name="T73" fmla="*/ 0 h 927"/>
                <a:gd name="T74" fmla="*/ 599 w 885"/>
                <a:gd name="T75" fmla="*/ 0 h 927"/>
                <a:gd name="T76" fmla="*/ 631 w 885"/>
                <a:gd name="T77" fmla="*/ 34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5" h="927">
                  <a:moveTo>
                    <a:pt x="631" y="34"/>
                  </a:moveTo>
                  <a:lnTo>
                    <a:pt x="631" y="34"/>
                  </a:lnTo>
                  <a:cubicBezTo>
                    <a:pt x="637" y="44"/>
                    <a:pt x="641" y="54"/>
                    <a:pt x="644" y="65"/>
                  </a:cubicBezTo>
                  <a:cubicBezTo>
                    <a:pt x="650" y="87"/>
                    <a:pt x="652" y="108"/>
                    <a:pt x="652" y="159"/>
                  </a:cubicBezTo>
                  <a:lnTo>
                    <a:pt x="652" y="500"/>
                  </a:lnTo>
                  <a:cubicBezTo>
                    <a:pt x="652" y="573"/>
                    <a:pt x="650" y="617"/>
                    <a:pt x="645" y="652"/>
                  </a:cubicBezTo>
                  <a:cubicBezTo>
                    <a:pt x="641" y="676"/>
                    <a:pt x="633" y="698"/>
                    <a:pt x="621" y="718"/>
                  </a:cubicBezTo>
                  <a:cubicBezTo>
                    <a:pt x="600" y="755"/>
                    <a:pt x="559" y="783"/>
                    <a:pt x="511" y="795"/>
                  </a:cubicBezTo>
                  <a:cubicBezTo>
                    <a:pt x="492" y="800"/>
                    <a:pt x="470" y="802"/>
                    <a:pt x="448" y="802"/>
                  </a:cubicBezTo>
                  <a:cubicBezTo>
                    <a:pt x="371" y="802"/>
                    <a:pt x="304" y="773"/>
                    <a:pt x="272" y="726"/>
                  </a:cubicBezTo>
                  <a:cubicBezTo>
                    <a:pt x="248" y="690"/>
                    <a:pt x="241" y="655"/>
                    <a:pt x="240" y="562"/>
                  </a:cubicBezTo>
                  <a:lnTo>
                    <a:pt x="239" y="488"/>
                  </a:lnTo>
                  <a:lnTo>
                    <a:pt x="239" y="218"/>
                  </a:lnTo>
                  <a:cubicBezTo>
                    <a:pt x="239" y="166"/>
                    <a:pt x="239" y="141"/>
                    <a:pt x="241" y="114"/>
                  </a:cubicBezTo>
                  <a:cubicBezTo>
                    <a:pt x="242" y="98"/>
                    <a:pt x="244" y="84"/>
                    <a:pt x="248" y="73"/>
                  </a:cubicBezTo>
                  <a:cubicBezTo>
                    <a:pt x="254" y="52"/>
                    <a:pt x="269" y="25"/>
                    <a:pt x="284" y="8"/>
                  </a:cubicBezTo>
                  <a:cubicBezTo>
                    <a:pt x="286" y="6"/>
                    <a:pt x="288" y="3"/>
                    <a:pt x="291" y="0"/>
                  </a:cubicBezTo>
                  <a:lnTo>
                    <a:pt x="0" y="0"/>
                  </a:lnTo>
                  <a:cubicBezTo>
                    <a:pt x="18" y="15"/>
                    <a:pt x="23" y="21"/>
                    <a:pt x="32" y="36"/>
                  </a:cubicBezTo>
                  <a:cubicBezTo>
                    <a:pt x="38" y="46"/>
                    <a:pt x="42" y="56"/>
                    <a:pt x="45" y="67"/>
                  </a:cubicBezTo>
                  <a:cubicBezTo>
                    <a:pt x="48" y="81"/>
                    <a:pt x="51" y="95"/>
                    <a:pt x="51" y="109"/>
                  </a:cubicBezTo>
                  <a:cubicBezTo>
                    <a:pt x="51" y="117"/>
                    <a:pt x="51" y="136"/>
                    <a:pt x="51" y="164"/>
                  </a:cubicBezTo>
                  <a:lnTo>
                    <a:pt x="52" y="216"/>
                  </a:lnTo>
                  <a:lnTo>
                    <a:pt x="52" y="473"/>
                  </a:lnTo>
                  <a:cubicBezTo>
                    <a:pt x="52" y="569"/>
                    <a:pt x="52" y="593"/>
                    <a:pt x="55" y="631"/>
                  </a:cubicBezTo>
                  <a:cubicBezTo>
                    <a:pt x="61" y="697"/>
                    <a:pt x="80" y="749"/>
                    <a:pt x="118" y="796"/>
                  </a:cubicBezTo>
                  <a:cubicBezTo>
                    <a:pt x="186" y="882"/>
                    <a:pt x="295" y="927"/>
                    <a:pt x="435" y="927"/>
                  </a:cubicBezTo>
                  <a:cubicBezTo>
                    <a:pt x="501" y="927"/>
                    <a:pt x="566" y="916"/>
                    <a:pt x="615" y="898"/>
                  </a:cubicBezTo>
                  <a:cubicBezTo>
                    <a:pt x="667" y="879"/>
                    <a:pt x="714" y="847"/>
                    <a:pt x="748" y="809"/>
                  </a:cubicBezTo>
                  <a:cubicBezTo>
                    <a:pt x="790" y="763"/>
                    <a:pt x="814" y="705"/>
                    <a:pt x="821" y="635"/>
                  </a:cubicBezTo>
                  <a:cubicBezTo>
                    <a:pt x="825" y="594"/>
                    <a:pt x="827" y="545"/>
                    <a:pt x="827" y="475"/>
                  </a:cubicBezTo>
                  <a:lnTo>
                    <a:pt x="827" y="217"/>
                  </a:lnTo>
                  <a:lnTo>
                    <a:pt x="826" y="165"/>
                  </a:lnTo>
                  <a:lnTo>
                    <a:pt x="826" y="155"/>
                  </a:lnTo>
                  <a:cubicBezTo>
                    <a:pt x="826" y="117"/>
                    <a:pt x="828" y="94"/>
                    <a:pt x="834" y="73"/>
                  </a:cubicBezTo>
                  <a:cubicBezTo>
                    <a:pt x="837" y="61"/>
                    <a:pt x="842" y="48"/>
                    <a:pt x="849" y="37"/>
                  </a:cubicBezTo>
                  <a:cubicBezTo>
                    <a:pt x="859" y="22"/>
                    <a:pt x="866" y="15"/>
                    <a:pt x="885" y="0"/>
                  </a:cubicBezTo>
                  <a:lnTo>
                    <a:pt x="599" y="0"/>
                  </a:lnTo>
                  <a:cubicBezTo>
                    <a:pt x="616" y="13"/>
                    <a:pt x="622" y="20"/>
                    <a:pt x="631"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0" name="Freeform 11">
              <a:extLst>
                <a:ext uri="{FF2B5EF4-FFF2-40B4-BE49-F238E27FC236}">
                  <a16:creationId xmlns:a16="http://schemas.microsoft.com/office/drawing/2014/main" id="{BBE2A4D2-785C-41E1-80BD-11621F799382}"/>
                </a:ext>
              </a:extLst>
            </p:cNvPr>
            <p:cNvSpPr>
              <a:spLocks/>
            </p:cNvSpPr>
            <p:nvPr userDrawn="1"/>
          </p:nvSpPr>
          <p:spPr bwMode="auto">
            <a:xfrm>
              <a:off x="381" y="197"/>
              <a:ext cx="77" cy="80"/>
            </a:xfrm>
            <a:custGeom>
              <a:avLst/>
              <a:gdLst>
                <a:gd name="T0" fmla="*/ 654 w 865"/>
                <a:gd name="T1" fmla="*/ 771 h 897"/>
                <a:gd name="T2" fmla="*/ 654 w 865"/>
                <a:gd name="T3" fmla="*/ 771 h 897"/>
                <a:gd name="T4" fmla="*/ 513 w 865"/>
                <a:gd name="T5" fmla="*/ 783 h 897"/>
                <a:gd name="T6" fmla="*/ 442 w 865"/>
                <a:gd name="T7" fmla="*/ 784 h 897"/>
                <a:gd name="T8" fmla="*/ 304 w 865"/>
                <a:gd name="T9" fmla="*/ 784 h 897"/>
                <a:gd name="T10" fmla="*/ 848 w 865"/>
                <a:gd name="T11" fmla="*/ 0 h 897"/>
                <a:gd name="T12" fmla="*/ 143 w 865"/>
                <a:gd name="T13" fmla="*/ 0 h 897"/>
                <a:gd name="T14" fmla="*/ 56 w 865"/>
                <a:gd name="T15" fmla="*/ 191 h 897"/>
                <a:gd name="T16" fmla="*/ 121 w 865"/>
                <a:gd name="T17" fmla="*/ 160 h 897"/>
                <a:gd name="T18" fmla="*/ 248 w 865"/>
                <a:gd name="T19" fmla="*/ 124 h 897"/>
                <a:gd name="T20" fmla="*/ 375 w 865"/>
                <a:gd name="T21" fmla="*/ 113 h 897"/>
                <a:gd name="T22" fmla="*/ 444 w 865"/>
                <a:gd name="T23" fmla="*/ 112 h 897"/>
                <a:gd name="T24" fmla="*/ 549 w 865"/>
                <a:gd name="T25" fmla="*/ 112 h 897"/>
                <a:gd name="T26" fmla="*/ 0 w 865"/>
                <a:gd name="T27" fmla="*/ 897 h 897"/>
                <a:gd name="T28" fmla="*/ 776 w 865"/>
                <a:gd name="T29" fmla="*/ 897 h 897"/>
                <a:gd name="T30" fmla="*/ 865 w 865"/>
                <a:gd name="T31" fmla="*/ 692 h 897"/>
                <a:gd name="T32" fmla="*/ 800 w 865"/>
                <a:gd name="T33" fmla="*/ 727 h 897"/>
                <a:gd name="T34" fmla="*/ 654 w 865"/>
                <a:gd name="T35" fmla="*/ 771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 h="897">
                  <a:moveTo>
                    <a:pt x="654" y="771"/>
                  </a:moveTo>
                  <a:lnTo>
                    <a:pt x="654" y="771"/>
                  </a:lnTo>
                  <a:cubicBezTo>
                    <a:pt x="614" y="778"/>
                    <a:pt x="569" y="782"/>
                    <a:pt x="513" y="783"/>
                  </a:cubicBezTo>
                  <a:cubicBezTo>
                    <a:pt x="495" y="784"/>
                    <a:pt x="471" y="784"/>
                    <a:pt x="442" y="784"/>
                  </a:cubicBezTo>
                  <a:lnTo>
                    <a:pt x="304" y="784"/>
                  </a:lnTo>
                  <a:lnTo>
                    <a:pt x="848" y="0"/>
                  </a:lnTo>
                  <a:lnTo>
                    <a:pt x="143" y="0"/>
                  </a:lnTo>
                  <a:lnTo>
                    <a:pt x="56" y="191"/>
                  </a:lnTo>
                  <a:cubicBezTo>
                    <a:pt x="85" y="176"/>
                    <a:pt x="96" y="170"/>
                    <a:pt x="121" y="160"/>
                  </a:cubicBezTo>
                  <a:cubicBezTo>
                    <a:pt x="162" y="144"/>
                    <a:pt x="206" y="132"/>
                    <a:pt x="248" y="124"/>
                  </a:cubicBezTo>
                  <a:cubicBezTo>
                    <a:pt x="285" y="118"/>
                    <a:pt x="319" y="115"/>
                    <a:pt x="375" y="113"/>
                  </a:cubicBezTo>
                  <a:cubicBezTo>
                    <a:pt x="400" y="112"/>
                    <a:pt x="423" y="112"/>
                    <a:pt x="444" y="112"/>
                  </a:cubicBezTo>
                  <a:lnTo>
                    <a:pt x="549" y="112"/>
                  </a:lnTo>
                  <a:lnTo>
                    <a:pt x="0" y="897"/>
                  </a:lnTo>
                  <a:lnTo>
                    <a:pt x="776" y="897"/>
                  </a:lnTo>
                  <a:lnTo>
                    <a:pt x="865" y="692"/>
                  </a:lnTo>
                  <a:cubicBezTo>
                    <a:pt x="834" y="710"/>
                    <a:pt x="823" y="716"/>
                    <a:pt x="800" y="727"/>
                  </a:cubicBezTo>
                  <a:cubicBezTo>
                    <a:pt x="754" y="747"/>
                    <a:pt x="705" y="762"/>
                    <a:pt x="654" y="7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1" name="Freeform 12">
              <a:extLst>
                <a:ext uri="{FF2B5EF4-FFF2-40B4-BE49-F238E27FC236}">
                  <a16:creationId xmlns:a16="http://schemas.microsoft.com/office/drawing/2014/main" id="{84875BC3-7911-4AAB-A751-3F6F3DA3F901}"/>
                </a:ext>
              </a:extLst>
            </p:cNvPr>
            <p:cNvSpPr>
              <a:spLocks noEditPoints="1"/>
            </p:cNvSpPr>
            <p:nvPr userDrawn="1"/>
          </p:nvSpPr>
          <p:spPr bwMode="auto">
            <a:xfrm>
              <a:off x="850" y="167"/>
              <a:ext cx="18" cy="18"/>
            </a:xfrm>
            <a:custGeom>
              <a:avLst/>
              <a:gdLst>
                <a:gd name="T0" fmla="*/ 102 w 203"/>
                <a:gd name="T1" fmla="*/ 189 h 203"/>
                <a:gd name="T2" fmla="*/ 102 w 203"/>
                <a:gd name="T3" fmla="*/ 189 h 203"/>
                <a:gd name="T4" fmla="*/ 17 w 203"/>
                <a:gd name="T5" fmla="*/ 102 h 203"/>
                <a:gd name="T6" fmla="*/ 102 w 203"/>
                <a:gd name="T7" fmla="*/ 15 h 203"/>
                <a:gd name="T8" fmla="*/ 187 w 203"/>
                <a:gd name="T9" fmla="*/ 102 h 203"/>
                <a:gd name="T10" fmla="*/ 102 w 203"/>
                <a:gd name="T11" fmla="*/ 189 h 203"/>
                <a:gd name="T12" fmla="*/ 102 w 203"/>
                <a:gd name="T13" fmla="*/ 189 h 203"/>
                <a:gd name="T14" fmla="*/ 102 w 203"/>
                <a:gd name="T15" fmla="*/ 0 h 203"/>
                <a:gd name="T16" fmla="*/ 102 w 203"/>
                <a:gd name="T17" fmla="*/ 0 h 203"/>
                <a:gd name="T18" fmla="*/ 0 w 203"/>
                <a:gd name="T19" fmla="*/ 102 h 203"/>
                <a:gd name="T20" fmla="*/ 102 w 203"/>
                <a:gd name="T21" fmla="*/ 203 h 203"/>
                <a:gd name="T22" fmla="*/ 203 w 203"/>
                <a:gd name="T23" fmla="*/ 102 h 203"/>
                <a:gd name="T24" fmla="*/ 102 w 203"/>
                <a:gd name="T2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203">
                  <a:moveTo>
                    <a:pt x="102" y="189"/>
                  </a:moveTo>
                  <a:lnTo>
                    <a:pt x="102" y="189"/>
                  </a:lnTo>
                  <a:cubicBezTo>
                    <a:pt x="54" y="189"/>
                    <a:pt x="17" y="154"/>
                    <a:pt x="17" y="102"/>
                  </a:cubicBezTo>
                  <a:cubicBezTo>
                    <a:pt x="17" y="50"/>
                    <a:pt x="54" y="15"/>
                    <a:pt x="102" y="15"/>
                  </a:cubicBezTo>
                  <a:cubicBezTo>
                    <a:pt x="150" y="15"/>
                    <a:pt x="187" y="50"/>
                    <a:pt x="187" y="102"/>
                  </a:cubicBezTo>
                  <a:cubicBezTo>
                    <a:pt x="187" y="154"/>
                    <a:pt x="150" y="189"/>
                    <a:pt x="102" y="189"/>
                  </a:cubicBezTo>
                  <a:lnTo>
                    <a:pt x="102" y="189"/>
                  </a:lnTo>
                  <a:close/>
                  <a:moveTo>
                    <a:pt x="102" y="0"/>
                  </a:moveTo>
                  <a:lnTo>
                    <a:pt x="102" y="0"/>
                  </a:lnTo>
                  <a:cubicBezTo>
                    <a:pt x="46" y="0"/>
                    <a:pt x="0" y="42"/>
                    <a:pt x="0" y="102"/>
                  </a:cubicBezTo>
                  <a:cubicBezTo>
                    <a:pt x="0" y="162"/>
                    <a:pt x="46" y="203"/>
                    <a:pt x="102" y="203"/>
                  </a:cubicBezTo>
                  <a:cubicBezTo>
                    <a:pt x="158" y="203"/>
                    <a:pt x="203" y="162"/>
                    <a:pt x="203" y="102"/>
                  </a:cubicBezTo>
                  <a:cubicBezTo>
                    <a:pt x="203" y="42"/>
                    <a:pt x="158" y="0"/>
                    <a:pt x="10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2" name="Freeform 13">
              <a:extLst>
                <a:ext uri="{FF2B5EF4-FFF2-40B4-BE49-F238E27FC236}">
                  <a16:creationId xmlns:a16="http://schemas.microsoft.com/office/drawing/2014/main" id="{93909FC0-F49E-485A-A2A8-CCDB496B6B96}"/>
                </a:ext>
              </a:extLst>
            </p:cNvPr>
            <p:cNvSpPr>
              <a:spLocks noEditPoints="1"/>
            </p:cNvSpPr>
            <p:nvPr userDrawn="1"/>
          </p:nvSpPr>
          <p:spPr bwMode="auto">
            <a:xfrm>
              <a:off x="856" y="171"/>
              <a:ext cx="7" cy="9"/>
            </a:xfrm>
            <a:custGeom>
              <a:avLst/>
              <a:gdLst>
                <a:gd name="T0" fmla="*/ 40 w 87"/>
                <a:gd name="T1" fmla="*/ 50 h 107"/>
                <a:gd name="T2" fmla="*/ 40 w 87"/>
                <a:gd name="T3" fmla="*/ 50 h 107"/>
                <a:gd name="T4" fmla="*/ 15 w 87"/>
                <a:gd name="T5" fmla="*/ 50 h 107"/>
                <a:gd name="T6" fmla="*/ 15 w 87"/>
                <a:gd name="T7" fmla="*/ 16 h 107"/>
                <a:gd name="T8" fmla="*/ 38 w 87"/>
                <a:gd name="T9" fmla="*/ 16 h 107"/>
                <a:gd name="T10" fmla="*/ 66 w 87"/>
                <a:gd name="T11" fmla="*/ 33 h 107"/>
                <a:gd name="T12" fmla="*/ 40 w 87"/>
                <a:gd name="T13" fmla="*/ 50 h 107"/>
                <a:gd name="T14" fmla="*/ 40 w 87"/>
                <a:gd name="T15" fmla="*/ 50 h 107"/>
                <a:gd name="T16" fmla="*/ 83 w 87"/>
                <a:gd name="T17" fmla="*/ 33 h 107"/>
                <a:gd name="T18" fmla="*/ 83 w 87"/>
                <a:gd name="T19" fmla="*/ 33 h 107"/>
                <a:gd name="T20" fmla="*/ 32 w 87"/>
                <a:gd name="T21" fmla="*/ 0 h 107"/>
                <a:gd name="T22" fmla="*/ 0 w 87"/>
                <a:gd name="T23" fmla="*/ 0 h 107"/>
                <a:gd name="T24" fmla="*/ 0 w 87"/>
                <a:gd name="T25" fmla="*/ 107 h 107"/>
                <a:gd name="T26" fmla="*/ 15 w 87"/>
                <a:gd name="T27" fmla="*/ 107 h 107"/>
                <a:gd name="T28" fmla="*/ 15 w 87"/>
                <a:gd name="T29" fmla="*/ 66 h 107"/>
                <a:gd name="T30" fmla="*/ 44 w 87"/>
                <a:gd name="T31" fmla="*/ 66 h 107"/>
                <a:gd name="T32" fmla="*/ 46 w 87"/>
                <a:gd name="T33" fmla="*/ 65 h 107"/>
                <a:gd name="T34" fmla="*/ 69 w 87"/>
                <a:gd name="T35" fmla="*/ 107 h 107"/>
                <a:gd name="T36" fmla="*/ 87 w 87"/>
                <a:gd name="T37" fmla="*/ 107 h 107"/>
                <a:gd name="T38" fmla="*/ 62 w 87"/>
                <a:gd name="T39" fmla="*/ 62 h 107"/>
                <a:gd name="T40" fmla="*/ 83 w 87"/>
                <a:gd name="T41"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107">
                  <a:moveTo>
                    <a:pt x="40" y="50"/>
                  </a:moveTo>
                  <a:lnTo>
                    <a:pt x="40" y="50"/>
                  </a:lnTo>
                  <a:lnTo>
                    <a:pt x="15" y="50"/>
                  </a:lnTo>
                  <a:lnTo>
                    <a:pt x="15" y="16"/>
                  </a:lnTo>
                  <a:lnTo>
                    <a:pt x="38" y="16"/>
                  </a:lnTo>
                  <a:cubicBezTo>
                    <a:pt x="54" y="16"/>
                    <a:pt x="66" y="19"/>
                    <a:pt x="66" y="33"/>
                  </a:cubicBezTo>
                  <a:cubicBezTo>
                    <a:pt x="66" y="45"/>
                    <a:pt x="58" y="50"/>
                    <a:pt x="40" y="50"/>
                  </a:cubicBezTo>
                  <a:lnTo>
                    <a:pt x="40" y="50"/>
                  </a:lnTo>
                  <a:close/>
                  <a:moveTo>
                    <a:pt x="83" y="33"/>
                  </a:moveTo>
                  <a:lnTo>
                    <a:pt x="83" y="33"/>
                  </a:lnTo>
                  <a:cubicBezTo>
                    <a:pt x="83" y="5"/>
                    <a:pt x="64" y="0"/>
                    <a:pt x="32" y="0"/>
                  </a:cubicBezTo>
                  <a:lnTo>
                    <a:pt x="0" y="0"/>
                  </a:lnTo>
                  <a:lnTo>
                    <a:pt x="0" y="107"/>
                  </a:lnTo>
                  <a:lnTo>
                    <a:pt x="15" y="107"/>
                  </a:lnTo>
                  <a:lnTo>
                    <a:pt x="15" y="66"/>
                  </a:lnTo>
                  <a:lnTo>
                    <a:pt x="44" y="66"/>
                  </a:lnTo>
                  <a:cubicBezTo>
                    <a:pt x="45" y="66"/>
                    <a:pt x="46" y="66"/>
                    <a:pt x="46" y="65"/>
                  </a:cubicBezTo>
                  <a:lnTo>
                    <a:pt x="69" y="107"/>
                  </a:lnTo>
                  <a:lnTo>
                    <a:pt x="87" y="107"/>
                  </a:lnTo>
                  <a:lnTo>
                    <a:pt x="62" y="62"/>
                  </a:lnTo>
                  <a:cubicBezTo>
                    <a:pt x="76" y="56"/>
                    <a:pt x="83" y="45"/>
                    <a:pt x="83" y="3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grpSp>
      <p:sp>
        <p:nvSpPr>
          <p:cNvPr id="33" name="Content Placeholder 2">
            <a:extLst>
              <a:ext uri="{FF2B5EF4-FFF2-40B4-BE49-F238E27FC236}">
                <a16:creationId xmlns:a16="http://schemas.microsoft.com/office/drawing/2014/main" id="{22F76E53-ED3E-4712-828A-462700FD54D1}"/>
              </a:ext>
            </a:extLst>
          </p:cNvPr>
          <p:cNvSpPr>
            <a:spLocks noGrp="1"/>
          </p:cNvSpPr>
          <p:nvPr>
            <p:ph idx="1"/>
          </p:nvPr>
        </p:nvSpPr>
        <p:spPr>
          <a:xfrm>
            <a:off x="250824" y="1206178"/>
            <a:ext cx="7621515"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34" name="Slide Number Placeholder 5">
            <a:extLst>
              <a:ext uri="{FF2B5EF4-FFF2-40B4-BE49-F238E27FC236}">
                <a16:creationId xmlns:a16="http://schemas.microsoft.com/office/drawing/2014/main" id="{3E83A98D-348B-40D1-B8DE-954D062DE5ED}"/>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5" name="TextBox 34">
            <a:extLst>
              <a:ext uri="{FF2B5EF4-FFF2-40B4-BE49-F238E27FC236}">
                <a16:creationId xmlns:a16="http://schemas.microsoft.com/office/drawing/2014/main" id="{20454A9A-E833-4775-8C2D-33EB42BCE6B5}"/>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8723725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9979B0B5-DCB0-844D-8724-1DB31C8A8C0B}"/>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nl-NL"/>
              <a:t>Klik om stijl te bewerken</a:t>
            </a:r>
            <a:endParaRPr lang="en-US"/>
          </a:p>
        </p:txBody>
      </p:sp>
      <p:grpSp>
        <p:nvGrpSpPr>
          <p:cNvPr id="17" name="Group 4">
            <a:extLst>
              <a:ext uri="{FF2B5EF4-FFF2-40B4-BE49-F238E27FC236}">
                <a16:creationId xmlns:a16="http://schemas.microsoft.com/office/drawing/2014/main" id="{05FD581A-C4C2-4FC2-BB96-F96F5D58CC05}"/>
              </a:ext>
            </a:extLst>
          </p:cNvPr>
          <p:cNvGrpSpPr>
            <a:grpSpLocks noChangeAspect="1"/>
          </p:cNvGrpSpPr>
          <p:nvPr userDrawn="1"/>
        </p:nvGrpSpPr>
        <p:grpSpPr bwMode="auto">
          <a:xfrm>
            <a:off x="10178596" y="158751"/>
            <a:ext cx="1773767" cy="683683"/>
            <a:chOff x="79" y="75"/>
            <a:chExt cx="838" cy="323"/>
          </a:xfrm>
          <a:solidFill>
            <a:schemeClr val="accent1"/>
          </a:solidFill>
        </p:grpSpPr>
        <p:sp>
          <p:nvSpPr>
            <p:cNvPr id="18" name="AutoShape 3">
              <a:extLst>
                <a:ext uri="{FF2B5EF4-FFF2-40B4-BE49-F238E27FC236}">
                  <a16:creationId xmlns:a16="http://schemas.microsoft.com/office/drawing/2014/main" id="{37210F69-430F-440B-A140-87F4AB11235D}"/>
                </a:ext>
              </a:extLst>
            </p:cNvPr>
            <p:cNvSpPr>
              <a:spLocks noChangeAspect="1" noChangeArrowheads="1" noTextEdit="1"/>
            </p:cNvSpPr>
            <p:nvPr userDrawn="1"/>
          </p:nvSpPr>
          <p:spPr bwMode="auto">
            <a:xfrm>
              <a:off x="79" y="75"/>
              <a:ext cx="838" cy="32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19" name="Freeform 5">
              <a:extLst>
                <a:ext uri="{FF2B5EF4-FFF2-40B4-BE49-F238E27FC236}">
                  <a16:creationId xmlns:a16="http://schemas.microsoft.com/office/drawing/2014/main" id="{0525E2D6-2AD0-42BA-8689-829D2EEF2854}"/>
                </a:ext>
              </a:extLst>
            </p:cNvPr>
            <p:cNvSpPr>
              <a:spLocks/>
            </p:cNvSpPr>
            <p:nvPr userDrawn="1"/>
          </p:nvSpPr>
          <p:spPr bwMode="auto">
            <a:xfrm>
              <a:off x="159" y="155"/>
              <a:ext cx="163" cy="164"/>
            </a:xfrm>
            <a:custGeom>
              <a:avLst/>
              <a:gdLst>
                <a:gd name="T0" fmla="*/ 920 w 1841"/>
                <a:gd name="T1" fmla="*/ 0 h 1842"/>
                <a:gd name="T2" fmla="*/ 920 w 1841"/>
                <a:gd name="T3" fmla="*/ 0 h 1842"/>
                <a:gd name="T4" fmla="*/ 0 w 1841"/>
                <a:gd name="T5" fmla="*/ 921 h 1842"/>
                <a:gd name="T6" fmla="*/ 0 w 1841"/>
                <a:gd name="T7" fmla="*/ 921 h 1842"/>
                <a:gd name="T8" fmla="*/ 188 w 1841"/>
                <a:gd name="T9" fmla="*/ 1479 h 1842"/>
                <a:gd name="T10" fmla="*/ 954 w 1841"/>
                <a:gd name="T11" fmla="*/ 473 h 1842"/>
                <a:gd name="T12" fmla="*/ 871 w 1841"/>
                <a:gd name="T13" fmla="*/ 474 h 1842"/>
                <a:gd name="T14" fmla="*/ 790 w 1841"/>
                <a:gd name="T15" fmla="*/ 473 h 1842"/>
                <a:gd name="T16" fmla="*/ 561 w 1841"/>
                <a:gd name="T17" fmla="*/ 491 h 1842"/>
                <a:gd name="T18" fmla="*/ 467 w 1841"/>
                <a:gd name="T19" fmla="*/ 530 h 1842"/>
                <a:gd name="T20" fmla="*/ 374 w 1841"/>
                <a:gd name="T21" fmla="*/ 641 h 1842"/>
                <a:gd name="T22" fmla="*/ 361 w 1841"/>
                <a:gd name="T23" fmla="*/ 665 h 1842"/>
                <a:gd name="T24" fmla="*/ 316 w 1841"/>
                <a:gd name="T25" fmla="*/ 655 h 1842"/>
                <a:gd name="T26" fmla="*/ 392 w 1841"/>
                <a:gd name="T27" fmla="*/ 366 h 1842"/>
                <a:gd name="T28" fmla="*/ 1350 w 1841"/>
                <a:gd name="T29" fmla="*/ 366 h 1842"/>
                <a:gd name="T30" fmla="*/ 588 w 1841"/>
                <a:gd name="T31" fmla="*/ 1385 h 1842"/>
                <a:gd name="T32" fmla="*/ 698 w 1841"/>
                <a:gd name="T33" fmla="*/ 1379 h 1842"/>
                <a:gd name="T34" fmla="*/ 839 w 1841"/>
                <a:gd name="T35" fmla="*/ 1385 h 1842"/>
                <a:gd name="T36" fmla="*/ 974 w 1841"/>
                <a:gd name="T37" fmla="*/ 1393 h 1842"/>
                <a:gd name="T38" fmla="*/ 1095 w 1841"/>
                <a:gd name="T39" fmla="*/ 1397 h 1842"/>
                <a:gd name="T40" fmla="*/ 1255 w 1841"/>
                <a:gd name="T41" fmla="*/ 1378 h 1842"/>
                <a:gd name="T42" fmla="*/ 1354 w 1841"/>
                <a:gd name="T43" fmla="*/ 1331 h 1842"/>
                <a:gd name="T44" fmla="*/ 1491 w 1841"/>
                <a:gd name="T45" fmla="*/ 1175 h 1842"/>
                <a:gd name="T46" fmla="*/ 1504 w 1841"/>
                <a:gd name="T47" fmla="*/ 1147 h 1842"/>
                <a:gd name="T48" fmla="*/ 1545 w 1841"/>
                <a:gd name="T49" fmla="*/ 1158 h 1842"/>
                <a:gd name="T50" fmla="*/ 1505 w 1841"/>
                <a:gd name="T51" fmla="*/ 1273 h 1842"/>
                <a:gd name="T52" fmla="*/ 1354 w 1841"/>
                <a:gd name="T53" fmla="*/ 1472 h 1842"/>
                <a:gd name="T54" fmla="*/ 1131 w 1841"/>
                <a:gd name="T55" fmla="*/ 1546 h 1842"/>
                <a:gd name="T56" fmla="*/ 1118 w 1841"/>
                <a:gd name="T57" fmla="*/ 1546 h 1842"/>
                <a:gd name="T58" fmla="*/ 854 w 1841"/>
                <a:gd name="T59" fmla="*/ 1518 h 1842"/>
                <a:gd name="T60" fmla="*/ 544 w 1841"/>
                <a:gd name="T61" fmla="*/ 1486 h 1842"/>
                <a:gd name="T62" fmla="*/ 394 w 1841"/>
                <a:gd name="T63" fmla="*/ 1498 h 1842"/>
                <a:gd name="T64" fmla="*/ 242 w 1841"/>
                <a:gd name="T65" fmla="*/ 1543 h 1842"/>
                <a:gd name="T66" fmla="*/ 920 w 1841"/>
                <a:gd name="T67" fmla="*/ 1842 h 1842"/>
                <a:gd name="T68" fmla="*/ 1841 w 1841"/>
                <a:gd name="T69" fmla="*/ 921 h 1842"/>
                <a:gd name="T70" fmla="*/ 920 w 1841"/>
                <a:gd name="T71" fmla="*/ 0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41" h="1842">
                  <a:moveTo>
                    <a:pt x="920" y="0"/>
                  </a:moveTo>
                  <a:lnTo>
                    <a:pt x="920" y="0"/>
                  </a:lnTo>
                  <a:cubicBezTo>
                    <a:pt x="412" y="0"/>
                    <a:pt x="0" y="412"/>
                    <a:pt x="0" y="921"/>
                  </a:cubicBezTo>
                  <a:lnTo>
                    <a:pt x="0" y="921"/>
                  </a:lnTo>
                  <a:cubicBezTo>
                    <a:pt x="0" y="1131"/>
                    <a:pt x="70" y="1325"/>
                    <a:pt x="188" y="1479"/>
                  </a:cubicBezTo>
                  <a:lnTo>
                    <a:pt x="954" y="473"/>
                  </a:lnTo>
                  <a:lnTo>
                    <a:pt x="871" y="474"/>
                  </a:lnTo>
                  <a:lnTo>
                    <a:pt x="790" y="473"/>
                  </a:lnTo>
                  <a:cubicBezTo>
                    <a:pt x="702" y="473"/>
                    <a:pt x="620" y="480"/>
                    <a:pt x="561" y="491"/>
                  </a:cubicBezTo>
                  <a:cubicBezTo>
                    <a:pt x="525" y="498"/>
                    <a:pt x="493" y="511"/>
                    <a:pt x="467" y="530"/>
                  </a:cubicBezTo>
                  <a:cubicBezTo>
                    <a:pt x="437" y="551"/>
                    <a:pt x="399" y="596"/>
                    <a:pt x="374" y="641"/>
                  </a:cubicBezTo>
                  <a:cubicBezTo>
                    <a:pt x="371" y="646"/>
                    <a:pt x="367" y="654"/>
                    <a:pt x="361" y="665"/>
                  </a:cubicBezTo>
                  <a:lnTo>
                    <a:pt x="316" y="655"/>
                  </a:lnTo>
                  <a:lnTo>
                    <a:pt x="392" y="366"/>
                  </a:lnTo>
                  <a:lnTo>
                    <a:pt x="1350" y="366"/>
                  </a:lnTo>
                  <a:lnTo>
                    <a:pt x="588" y="1385"/>
                  </a:lnTo>
                  <a:cubicBezTo>
                    <a:pt x="638" y="1380"/>
                    <a:pt x="658" y="1379"/>
                    <a:pt x="698" y="1379"/>
                  </a:cubicBezTo>
                  <a:cubicBezTo>
                    <a:pt x="729" y="1379"/>
                    <a:pt x="776" y="1381"/>
                    <a:pt x="839" y="1385"/>
                  </a:cubicBezTo>
                  <a:lnTo>
                    <a:pt x="974" y="1393"/>
                  </a:lnTo>
                  <a:cubicBezTo>
                    <a:pt x="1023" y="1396"/>
                    <a:pt x="1064" y="1397"/>
                    <a:pt x="1095" y="1397"/>
                  </a:cubicBezTo>
                  <a:cubicBezTo>
                    <a:pt x="1165" y="1397"/>
                    <a:pt x="1210" y="1392"/>
                    <a:pt x="1255" y="1378"/>
                  </a:cubicBezTo>
                  <a:cubicBezTo>
                    <a:pt x="1290" y="1367"/>
                    <a:pt x="1324" y="1351"/>
                    <a:pt x="1354" y="1331"/>
                  </a:cubicBezTo>
                  <a:cubicBezTo>
                    <a:pt x="1408" y="1293"/>
                    <a:pt x="1460" y="1234"/>
                    <a:pt x="1491" y="1175"/>
                  </a:cubicBezTo>
                  <a:cubicBezTo>
                    <a:pt x="1494" y="1169"/>
                    <a:pt x="1499" y="1160"/>
                    <a:pt x="1504" y="1147"/>
                  </a:cubicBezTo>
                  <a:lnTo>
                    <a:pt x="1545" y="1158"/>
                  </a:lnTo>
                  <a:cubicBezTo>
                    <a:pt x="1532" y="1208"/>
                    <a:pt x="1525" y="1228"/>
                    <a:pt x="1505" y="1273"/>
                  </a:cubicBezTo>
                  <a:cubicBezTo>
                    <a:pt x="1464" y="1364"/>
                    <a:pt x="1417" y="1425"/>
                    <a:pt x="1354" y="1472"/>
                  </a:cubicBezTo>
                  <a:cubicBezTo>
                    <a:pt x="1289" y="1521"/>
                    <a:pt x="1216" y="1544"/>
                    <a:pt x="1131" y="1546"/>
                  </a:cubicBezTo>
                  <a:lnTo>
                    <a:pt x="1118" y="1546"/>
                  </a:lnTo>
                  <a:cubicBezTo>
                    <a:pt x="1055" y="1546"/>
                    <a:pt x="1006" y="1541"/>
                    <a:pt x="854" y="1518"/>
                  </a:cubicBezTo>
                  <a:cubicBezTo>
                    <a:pt x="700" y="1494"/>
                    <a:pt x="621" y="1486"/>
                    <a:pt x="544" y="1486"/>
                  </a:cubicBezTo>
                  <a:cubicBezTo>
                    <a:pt x="492" y="1486"/>
                    <a:pt x="444" y="1490"/>
                    <a:pt x="394" y="1498"/>
                  </a:cubicBezTo>
                  <a:cubicBezTo>
                    <a:pt x="328" y="1508"/>
                    <a:pt x="302" y="1516"/>
                    <a:pt x="242" y="1543"/>
                  </a:cubicBezTo>
                  <a:cubicBezTo>
                    <a:pt x="410" y="1727"/>
                    <a:pt x="652" y="1842"/>
                    <a:pt x="920" y="1842"/>
                  </a:cubicBezTo>
                  <a:cubicBezTo>
                    <a:pt x="1429" y="1842"/>
                    <a:pt x="1841" y="1430"/>
                    <a:pt x="1841" y="921"/>
                  </a:cubicBezTo>
                  <a:cubicBezTo>
                    <a:pt x="1841" y="412"/>
                    <a:pt x="1429" y="0"/>
                    <a:pt x="9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0" name="Freeform 6">
              <a:extLst>
                <a:ext uri="{FF2B5EF4-FFF2-40B4-BE49-F238E27FC236}">
                  <a16:creationId xmlns:a16="http://schemas.microsoft.com/office/drawing/2014/main" id="{66639B02-12FD-4D91-A48C-62500E5E310B}"/>
                </a:ext>
              </a:extLst>
            </p:cNvPr>
            <p:cNvSpPr>
              <a:spLocks/>
            </p:cNvSpPr>
            <p:nvPr userDrawn="1"/>
          </p:nvSpPr>
          <p:spPr bwMode="auto">
            <a:xfrm>
              <a:off x="642" y="197"/>
              <a:ext cx="25" cy="80"/>
            </a:xfrm>
            <a:custGeom>
              <a:avLst/>
              <a:gdLst>
                <a:gd name="T0" fmla="*/ 232 w 288"/>
                <a:gd name="T1" fmla="*/ 166 h 897"/>
                <a:gd name="T2" fmla="*/ 232 w 288"/>
                <a:gd name="T3" fmla="*/ 166 h 897"/>
                <a:gd name="T4" fmla="*/ 241 w 288"/>
                <a:gd name="T5" fmla="*/ 65 h 897"/>
                <a:gd name="T6" fmla="*/ 254 w 288"/>
                <a:gd name="T7" fmla="*/ 37 h 897"/>
                <a:gd name="T8" fmla="*/ 288 w 288"/>
                <a:gd name="T9" fmla="*/ 0 h 897"/>
                <a:gd name="T10" fmla="*/ 0 w 288"/>
                <a:gd name="T11" fmla="*/ 0 h 897"/>
                <a:gd name="T12" fmla="*/ 33 w 288"/>
                <a:gd name="T13" fmla="*/ 35 h 897"/>
                <a:gd name="T14" fmla="*/ 47 w 288"/>
                <a:gd name="T15" fmla="*/ 64 h 897"/>
                <a:gd name="T16" fmla="*/ 56 w 288"/>
                <a:gd name="T17" fmla="*/ 161 h 897"/>
                <a:gd name="T18" fmla="*/ 56 w 288"/>
                <a:gd name="T19" fmla="*/ 215 h 897"/>
                <a:gd name="T20" fmla="*/ 56 w 288"/>
                <a:gd name="T21" fmla="*/ 752 h 897"/>
                <a:gd name="T22" fmla="*/ 42 w 288"/>
                <a:gd name="T23" fmla="*/ 839 h 897"/>
                <a:gd name="T24" fmla="*/ 28 w 288"/>
                <a:gd name="T25" fmla="*/ 865 h 897"/>
                <a:gd name="T26" fmla="*/ 1 w 288"/>
                <a:gd name="T27" fmla="*/ 897 h 897"/>
                <a:gd name="T28" fmla="*/ 285 w 288"/>
                <a:gd name="T29" fmla="*/ 897 h 897"/>
                <a:gd name="T30" fmla="*/ 258 w 288"/>
                <a:gd name="T31" fmla="*/ 865 h 897"/>
                <a:gd name="T32" fmla="*/ 243 w 288"/>
                <a:gd name="T33" fmla="*/ 838 h 897"/>
                <a:gd name="T34" fmla="*/ 231 w 288"/>
                <a:gd name="T35" fmla="*/ 759 h 897"/>
                <a:gd name="T36" fmla="*/ 231 w 288"/>
                <a:gd name="T37" fmla="*/ 218 h 897"/>
                <a:gd name="T38" fmla="*/ 232 w 288"/>
                <a:gd name="T39" fmla="*/ 16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897">
                  <a:moveTo>
                    <a:pt x="232" y="166"/>
                  </a:moveTo>
                  <a:lnTo>
                    <a:pt x="232" y="166"/>
                  </a:lnTo>
                  <a:cubicBezTo>
                    <a:pt x="232" y="106"/>
                    <a:pt x="233" y="89"/>
                    <a:pt x="241" y="65"/>
                  </a:cubicBezTo>
                  <a:cubicBezTo>
                    <a:pt x="244" y="55"/>
                    <a:pt x="248" y="46"/>
                    <a:pt x="254" y="37"/>
                  </a:cubicBezTo>
                  <a:cubicBezTo>
                    <a:pt x="263" y="22"/>
                    <a:pt x="270" y="14"/>
                    <a:pt x="288" y="0"/>
                  </a:cubicBezTo>
                  <a:lnTo>
                    <a:pt x="0" y="0"/>
                  </a:lnTo>
                  <a:cubicBezTo>
                    <a:pt x="18" y="16"/>
                    <a:pt x="24" y="22"/>
                    <a:pt x="33" y="35"/>
                  </a:cubicBezTo>
                  <a:cubicBezTo>
                    <a:pt x="39" y="44"/>
                    <a:pt x="44" y="54"/>
                    <a:pt x="47" y="64"/>
                  </a:cubicBezTo>
                  <a:cubicBezTo>
                    <a:pt x="53" y="86"/>
                    <a:pt x="56" y="108"/>
                    <a:pt x="56" y="161"/>
                  </a:cubicBezTo>
                  <a:cubicBezTo>
                    <a:pt x="56" y="188"/>
                    <a:pt x="56" y="206"/>
                    <a:pt x="56" y="215"/>
                  </a:cubicBezTo>
                  <a:lnTo>
                    <a:pt x="56" y="752"/>
                  </a:lnTo>
                  <a:cubicBezTo>
                    <a:pt x="56" y="784"/>
                    <a:pt x="51" y="817"/>
                    <a:pt x="42" y="839"/>
                  </a:cubicBezTo>
                  <a:cubicBezTo>
                    <a:pt x="39" y="848"/>
                    <a:pt x="34" y="857"/>
                    <a:pt x="28" y="865"/>
                  </a:cubicBezTo>
                  <a:cubicBezTo>
                    <a:pt x="21" y="875"/>
                    <a:pt x="16" y="880"/>
                    <a:pt x="1" y="897"/>
                  </a:cubicBezTo>
                  <a:lnTo>
                    <a:pt x="285" y="897"/>
                  </a:lnTo>
                  <a:cubicBezTo>
                    <a:pt x="271" y="885"/>
                    <a:pt x="266" y="879"/>
                    <a:pt x="258" y="865"/>
                  </a:cubicBezTo>
                  <a:cubicBezTo>
                    <a:pt x="252" y="856"/>
                    <a:pt x="247" y="847"/>
                    <a:pt x="243" y="838"/>
                  </a:cubicBezTo>
                  <a:cubicBezTo>
                    <a:pt x="236" y="817"/>
                    <a:pt x="231" y="787"/>
                    <a:pt x="231" y="759"/>
                  </a:cubicBezTo>
                  <a:lnTo>
                    <a:pt x="231" y="218"/>
                  </a:lnTo>
                  <a:lnTo>
                    <a:pt x="232" y="1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1" name="Freeform 7">
              <a:extLst>
                <a:ext uri="{FF2B5EF4-FFF2-40B4-BE49-F238E27FC236}">
                  <a16:creationId xmlns:a16="http://schemas.microsoft.com/office/drawing/2014/main" id="{4974666D-0662-49E1-AD05-0F75E9CDE5CC}"/>
                </a:ext>
              </a:extLst>
            </p:cNvPr>
            <p:cNvSpPr>
              <a:spLocks/>
            </p:cNvSpPr>
            <p:nvPr userDrawn="1"/>
          </p:nvSpPr>
          <p:spPr bwMode="auto">
            <a:xfrm>
              <a:off x="761" y="197"/>
              <a:ext cx="77" cy="80"/>
            </a:xfrm>
            <a:custGeom>
              <a:avLst/>
              <a:gdLst>
                <a:gd name="T0" fmla="*/ 810 w 869"/>
                <a:gd name="T1" fmla="*/ 165 h 897"/>
                <a:gd name="T2" fmla="*/ 810 w 869"/>
                <a:gd name="T3" fmla="*/ 165 h 897"/>
                <a:gd name="T4" fmla="*/ 819 w 869"/>
                <a:gd name="T5" fmla="*/ 70 h 897"/>
                <a:gd name="T6" fmla="*/ 834 w 869"/>
                <a:gd name="T7" fmla="*/ 37 h 897"/>
                <a:gd name="T8" fmla="*/ 869 w 869"/>
                <a:gd name="T9" fmla="*/ 0 h 897"/>
                <a:gd name="T10" fmla="*/ 576 w 869"/>
                <a:gd name="T11" fmla="*/ 0 h 897"/>
                <a:gd name="T12" fmla="*/ 609 w 869"/>
                <a:gd name="T13" fmla="*/ 36 h 897"/>
                <a:gd name="T14" fmla="*/ 624 w 869"/>
                <a:gd name="T15" fmla="*/ 67 h 897"/>
                <a:gd name="T16" fmla="*/ 634 w 869"/>
                <a:gd name="T17" fmla="*/ 162 h 897"/>
                <a:gd name="T18" fmla="*/ 634 w 869"/>
                <a:gd name="T19" fmla="*/ 379 h 897"/>
                <a:gd name="T20" fmla="*/ 232 w 869"/>
                <a:gd name="T21" fmla="*/ 379 h 897"/>
                <a:gd name="T22" fmla="*/ 232 w 869"/>
                <a:gd name="T23" fmla="*/ 216 h 897"/>
                <a:gd name="T24" fmla="*/ 234 w 869"/>
                <a:gd name="T25" fmla="*/ 109 h 897"/>
                <a:gd name="T26" fmla="*/ 241 w 869"/>
                <a:gd name="T27" fmla="*/ 70 h 897"/>
                <a:gd name="T28" fmla="*/ 278 w 869"/>
                <a:gd name="T29" fmla="*/ 9 h 897"/>
                <a:gd name="T30" fmla="*/ 288 w 869"/>
                <a:gd name="T31" fmla="*/ 0 h 897"/>
                <a:gd name="T32" fmla="*/ 1 w 869"/>
                <a:gd name="T33" fmla="*/ 0 h 897"/>
                <a:gd name="T34" fmla="*/ 30 w 869"/>
                <a:gd name="T35" fmla="*/ 34 h 897"/>
                <a:gd name="T36" fmla="*/ 46 w 869"/>
                <a:gd name="T37" fmla="*/ 64 h 897"/>
                <a:gd name="T38" fmla="*/ 56 w 869"/>
                <a:gd name="T39" fmla="*/ 159 h 897"/>
                <a:gd name="T40" fmla="*/ 57 w 869"/>
                <a:gd name="T41" fmla="*/ 216 h 897"/>
                <a:gd name="T42" fmla="*/ 57 w 869"/>
                <a:gd name="T43" fmla="*/ 707 h 897"/>
                <a:gd name="T44" fmla="*/ 53 w 869"/>
                <a:gd name="T45" fmla="*/ 802 h 897"/>
                <a:gd name="T46" fmla="*/ 44 w 869"/>
                <a:gd name="T47" fmla="*/ 838 h 897"/>
                <a:gd name="T48" fmla="*/ 9 w 869"/>
                <a:gd name="T49" fmla="*/ 888 h 897"/>
                <a:gd name="T50" fmla="*/ 0 w 869"/>
                <a:gd name="T51" fmla="*/ 897 h 897"/>
                <a:gd name="T52" fmla="*/ 284 w 869"/>
                <a:gd name="T53" fmla="*/ 897 h 897"/>
                <a:gd name="T54" fmla="*/ 260 w 869"/>
                <a:gd name="T55" fmla="*/ 867 h 897"/>
                <a:gd name="T56" fmla="*/ 245 w 869"/>
                <a:gd name="T57" fmla="*/ 839 h 897"/>
                <a:gd name="T58" fmla="*/ 232 w 869"/>
                <a:gd name="T59" fmla="*/ 761 h 897"/>
                <a:gd name="T60" fmla="*/ 232 w 869"/>
                <a:gd name="T61" fmla="*/ 707 h 897"/>
                <a:gd name="T62" fmla="*/ 232 w 869"/>
                <a:gd name="T63" fmla="*/ 490 h 897"/>
                <a:gd name="T64" fmla="*/ 634 w 869"/>
                <a:gd name="T65" fmla="*/ 490 h 897"/>
                <a:gd name="T66" fmla="*/ 634 w 869"/>
                <a:gd name="T67" fmla="*/ 709 h 897"/>
                <a:gd name="T68" fmla="*/ 630 w 869"/>
                <a:gd name="T69" fmla="*/ 800 h 897"/>
                <a:gd name="T70" fmla="*/ 620 w 869"/>
                <a:gd name="T71" fmla="*/ 838 h 897"/>
                <a:gd name="T72" fmla="*/ 588 w 869"/>
                <a:gd name="T73" fmla="*/ 885 h 897"/>
                <a:gd name="T74" fmla="*/ 575 w 869"/>
                <a:gd name="T75" fmla="*/ 897 h 897"/>
                <a:gd name="T76" fmla="*/ 862 w 869"/>
                <a:gd name="T77" fmla="*/ 897 h 897"/>
                <a:gd name="T78" fmla="*/ 838 w 869"/>
                <a:gd name="T79" fmla="*/ 869 h 897"/>
                <a:gd name="T80" fmla="*/ 821 w 869"/>
                <a:gd name="T81" fmla="*/ 839 h 897"/>
                <a:gd name="T82" fmla="*/ 810 w 869"/>
                <a:gd name="T83" fmla="*/ 758 h 897"/>
                <a:gd name="T84" fmla="*/ 809 w 869"/>
                <a:gd name="T85" fmla="*/ 712 h 897"/>
                <a:gd name="T86" fmla="*/ 810 w 869"/>
                <a:gd name="T87" fmla="*/ 218 h 897"/>
                <a:gd name="T88" fmla="*/ 810 w 869"/>
                <a:gd name="T89" fmla="*/ 16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9" h="897">
                  <a:moveTo>
                    <a:pt x="810" y="165"/>
                  </a:moveTo>
                  <a:lnTo>
                    <a:pt x="810" y="165"/>
                  </a:lnTo>
                  <a:cubicBezTo>
                    <a:pt x="810" y="125"/>
                    <a:pt x="813" y="95"/>
                    <a:pt x="819" y="70"/>
                  </a:cubicBezTo>
                  <a:cubicBezTo>
                    <a:pt x="823" y="59"/>
                    <a:pt x="828" y="48"/>
                    <a:pt x="834" y="37"/>
                  </a:cubicBezTo>
                  <a:cubicBezTo>
                    <a:pt x="843" y="22"/>
                    <a:pt x="850" y="14"/>
                    <a:pt x="869" y="0"/>
                  </a:cubicBezTo>
                  <a:lnTo>
                    <a:pt x="576" y="0"/>
                  </a:lnTo>
                  <a:cubicBezTo>
                    <a:pt x="593" y="14"/>
                    <a:pt x="599" y="20"/>
                    <a:pt x="609" y="36"/>
                  </a:cubicBezTo>
                  <a:cubicBezTo>
                    <a:pt x="616" y="46"/>
                    <a:pt x="621" y="57"/>
                    <a:pt x="624" y="67"/>
                  </a:cubicBezTo>
                  <a:cubicBezTo>
                    <a:pt x="631" y="88"/>
                    <a:pt x="634" y="115"/>
                    <a:pt x="634" y="162"/>
                  </a:cubicBezTo>
                  <a:lnTo>
                    <a:pt x="634" y="379"/>
                  </a:lnTo>
                  <a:lnTo>
                    <a:pt x="232" y="379"/>
                  </a:lnTo>
                  <a:lnTo>
                    <a:pt x="232" y="216"/>
                  </a:lnTo>
                  <a:cubicBezTo>
                    <a:pt x="232" y="166"/>
                    <a:pt x="232" y="134"/>
                    <a:pt x="234" y="109"/>
                  </a:cubicBezTo>
                  <a:cubicBezTo>
                    <a:pt x="235" y="95"/>
                    <a:pt x="238" y="82"/>
                    <a:pt x="241" y="70"/>
                  </a:cubicBezTo>
                  <a:cubicBezTo>
                    <a:pt x="247" y="51"/>
                    <a:pt x="264" y="24"/>
                    <a:pt x="278" y="9"/>
                  </a:cubicBezTo>
                  <a:cubicBezTo>
                    <a:pt x="280" y="7"/>
                    <a:pt x="284" y="4"/>
                    <a:pt x="288" y="0"/>
                  </a:cubicBezTo>
                  <a:lnTo>
                    <a:pt x="1" y="0"/>
                  </a:lnTo>
                  <a:cubicBezTo>
                    <a:pt x="18" y="17"/>
                    <a:pt x="23" y="23"/>
                    <a:pt x="30" y="34"/>
                  </a:cubicBezTo>
                  <a:cubicBezTo>
                    <a:pt x="37" y="43"/>
                    <a:pt x="42" y="53"/>
                    <a:pt x="46" y="64"/>
                  </a:cubicBezTo>
                  <a:cubicBezTo>
                    <a:pt x="53" y="87"/>
                    <a:pt x="55" y="100"/>
                    <a:pt x="56" y="159"/>
                  </a:cubicBezTo>
                  <a:lnTo>
                    <a:pt x="57" y="216"/>
                  </a:lnTo>
                  <a:lnTo>
                    <a:pt x="57" y="707"/>
                  </a:lnTo>
                  <a:cubicBezTo>
                    <a:pt x="57" y="757"/>
                    <a:pt x="56" y="779"/>
                    <a:pt x="53" y="802"/>
                  </a:cubicBezTo>
                  <a:cubicBezTo>
                    <a:pt x="51" y="814"/>
                    <a:pt x="48" y="825"/>
                    <a:pt x="44" y="838"/>
                  </a:cubicBezTo>
                  <a:cubicBezTo>
                    <a:pt x="37" y="857"/>
                    <a:pt x="26" y="872"/>
                    <a:pt x="9" y="888"/>
                  </a:cubicBezTo>
                  <a:cubicBezTo>
                    <a:pt x="7" y="890"/>
                    <a:pt x="4" y="893"/>
                    <a:pt x="0" y="897"/>
                  </a:cubicBezTo>
                  <a:lnTo>
                    <a:pt x="284" y="897"/>
                  </a:lnTo>
                  <a:cubicBezTo>
                    <a:pt x="271" y="884"/>
                    <a:pt x="267" y="878"/>
                    <a:pt x="260" y="867"/>
                  </a:cubicBezTo>
                  <a:cubicBezTo>
                    <a:pt x="254" y="859"/>
                    <a:pt x="249" y="849"/>
                    <a:pt x="245" y="839"/>
                  </a:cubicBezTo>
                  <a:cubicBezTo>
                    <a:pt x="236" y="815"/>
                    <a:pt x="233" y="799"/>
                    <a:pt x="232" y="761"/>
                  </a:cubicBezTo>
                  <a:cubicBezTo>
                    <a:pt x="232" y="741"/>
                    <a:pt x="232" y="724"/>
                    <a:pt x="232" y="707"/>
                  </a:cubicBezTo>
                  <a:lnTo>
                    <a:pt x="232" y="490"/>
                  </a:lnTo>
                  <a:lnTo>
                    <a:pt x="634" y="490"/>
                  </a:lnTo>
                  <a:lnTo>
                    <a:pt x="634" y="709"/>
                  </a:lnTo>
                  <a:cubicBezTo>
                    <a:pt x="634" y="757"/>
                    <a:pt x="633" y="775"/>
                    <a:pt x="630" y="800"/>
                  </a:cubicBezTo>
                  <a:cubicBezTo>
                    <a:pt x="628" y="813"/>
                    <a:pt x="625" y="826"/>
                    <a:pt x="620" y="838"/>
                  </a:cubicBezTo>
                  <a:cubicBezTo>
                    <a:pt x="613" y="855"/>
                    <a:pt x="603" y="871"/>
                    <a:pt x="588" y="885"/>
                  </a:cubicBezTo>
                  <a:cubicBezTo>
                    <a:pt x="585" y="888"/>
                    <a:pt x="581" y="892"/>
                    <a:pt x="575" y="897"/>
                  </a:cubicBezTo>
                  <a:lnTo>
                    <a:pt x="862" y="897"/>
                  </a:lnTo>
                  <a:cubicBezTo>
                    <a:pt x="850" y="885"/>
                    <a:pt x="846" y="880"/>
                    <a:pt x="838" y="869"/>
                  </a:cubicBezTo>
                  <a:cubicBezTo>
                    <a:pt x="831" y="859"/>
                    <a:pt x="825" y="849"/>
                    <a:pt x="821" y="839"/>
                  </a:cubicBezTo>
                  <a:cubicBezTo>
                    <a:pt x="813" y="818"/>
                    <a:pt x="811" y="803"/>
                    <a:pt x="810" y="758"/>
                  </a:cubicBezTo>
                  <a:cubicBezTo>
                    <a:pt x="809" y="732"/>
                    <a:pt x="809" y="717"/>
                    <a:pt x="809" y="712"/>
                  </a:cubicBezTo>
                  <a:lnTo>
                    <a:pt x="810" y="218"/>
                  </a:lnTo>
                  <a:lnTo>
                    <a:pt x="810" y="16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2" name="Freeform 8">
              <a:extLst>
                <a:ext uri="{FF2B5EF4-FFF2-40B4-BE49-F238E27FC236}">
                  <a16:creationId xmlns:a16="http://schemas.microsoft.com/office/drawing/2014/main" id="{AACF3C74-3E37-49FF-8A5C-499C94775A22}"/>
                </a:ext>
              </a:extLst>
            </p:cNvPr>
            <p:cNvSpPr>
              <a:spLocks noEditPoints="1"/>
            </p:cNvSpPr>
            <p:nvPr userDrawn="1"/>
          </p:nvSpPr>
          <p:spPr bwMode="auto">
            <a:xfrm>
              <a:off x="562" y="197"/>
              <a:ext cx="73" cy="80"/>
            </a:xfrm>
            <a:custGeom>
              <a:avLst/>
              <a:gdLst>
                <a:gd name="T0" fmla="*/ 408 w 822"/>
                <a:gd name="T1" fmla="*/ 395 h 897"/>
                <a:gd name="T2" fmla="*/ 408 w 822"/>
                <a:gd name="T3" fmla="*/ 395 h 897"/>
                <a:gd name="T4" fmla="*/ 295 w 822"/>
                <a:gd name="T5" fmla="*/ 431 h 897"/>
                <a:gd name="T6" fmla="*/ 248 w 822"/>
                <a:gd name="T7" fmla="*/ 435 h 897"/>
                <a:gd name="T8" fmla="*/ 233 w 822"/>
                <a:gd name="T9" fmla="*/ 435 h 897"/>
                <a:gd name="T10" fmla="*/ 233 w 822"/>
                <a:gd name="T11" fmla="*/ 103 h 897"/>
                <a:gd name="T12" fmla="*/ 257 w 822"/>
                <a:gd name="T13" fmla="*/ 102 h 897"/>
                <a:gd name="T14" fmla="*/ 378 w 822"/>
                <a:gd name="T15" fmla="*/ 117 h 897"/>
                <a:gd name="T16" fmla="*/ 439 w 822"/>
                <a:gd name="T17" fmla="*/ 149 h 897"/>
                <a:gd name="T18" fmla="*/ 485 w 822"/>
                <a:gd name="T19" fmla="*/ 260 h 897"/>
                <a:gd name="T20" fmla="*/ 450 w 822"/>
                <a:gd name="T21" fmla="*/ 361 h 897"/>
                <a:gd name="T22" fmla="*/ 408 w 822"/>
                <a:gd name="T23" fmla="*/ 395 h 897"/>
                <a:gd name="T24" fmla="*/ 408 w 822"/>
                <a:gd name="T25" fmla="*/ 395 h 897"/>
                <a:gd name="T26" fmla="*/ 750 w 822"/>
                <a:gd name="T27" fmla="*/ 835 h 897"/>
                <a:gd name="T28" fmla="*/ 750 w 822"/>
                <a:gd name="T29" fmla="*/ 835 h 897"/>
                <a:gd name="T30" fmla="*/ 649 w 822"/>
                <a:gd name="T31" fmla="*/ 730 h 897"/>
                <a:gd name="T32" fmla="*/ 583 w 822"/>
                <a:gd name="T33" fmla="*/ 657 h 897"/>
                <a:gd name="T34" fmla="*/ 444 w 822"/>
                <a:gd name="T35" fmla="*/ 493 h 897"/>
                <a:gd name="T36" fmla="*/ 484 w 822"/>
                <a:gd name="T37" fmla="*/ 480 h 897"/>
                <a:gd name="T38" fmla="*/ 594 w 822"/>
                <a:gd name="T39" fmla="*/ 416 h 897"/>
                <a:gd name="T40" fmla="*/ 665 w 822"/>
                <a:gd name="T41" fmla="*/ 313 h 897"/>
                <a:gd name="T42" fmla="*/ 676 w 822"/>
                <a:gd name="T43" fmla="*/ 244 h 897"/>
                <a:gd name="T44" fmla="*/ 615 w 822"/>
                <a:gd name="T45" fmla="*/ 97 h 897"/>
                <a:gd name="T46" fmla="*/ 470 w 822"/>
                <a:gd name="T47" fmla="*/ 16 h 897"/>
                <a:gd name="T48" fmla="*/ 316 w 822"/>
                <a:gd name="T49" fmla="*/ 1 h 897"/>
                <a:gd name="T50" fmla="*/ 233 w 822"/>
                <a:gd name="T51" fmla="*/ 0 h 897"/>
                <a:gd name="T52" fmla="*/ 2 w 822"/>
                <a:gd name="T53" fmla="*/ 0 h 897"/>
                <a:gd name="T54" fmla="*/ 32 w 822"/>
                <a:gd name="T55" fmla="*/ 33 h 897"/>
                <a:gd name="T56" fmla="*/ 47 w 822"/>
                <a:gd name="T57" fmla="*/ 66 h 897"/>
                <a:gd name="T58" fmla="*/ 56 w 822"/>
                <a:gd name="T59" fmla="*/ 162 h 897"/>
                <a:gd name="T60" fmla="*/ 56 w 822"/>
                <a:gd name="T61" fmla="*/ 750 h 897"/>
                <a:gd name="T62" fmla="*/ 46 w 822"/>
                <a:gd name="T63" fmla="*/ 837 h 897"/>
                <a:gd name="T64" fmla="*/ 31 w 822"/>
                <a:gd name="T65" fmla="*/ 865 h 897"/>
                <a:gd name="T66" fmla="*/ 0 w 822"/>
                <a:gd name="T67" fmla="*/ 897 h 897"/>
                <a:gd name="T68" fmla="*/ 285 w 822"/>
                <a:gd name="T69" fmla="*/ 897 h 897"/>
                <a:gd name="T70" fmla="*/ 261 w 822"/>
                <a:gd name="T71" fmla="*/ 867 h 897"/>
                <a:gd name="T72" fmla="*/ 245 w 822"/>
                <a:gd name="T73" fmla="*/ 840 h 897"/>
                <a:gd name="T74" fmla="*/ 234 w 822"/>
                <a:gd name="T75" fmla="*/ 757 h 897"/>
                <a:gd name="T76" fmla="*/ 233 w 822"/>
                <a:gd name="T77" fmla="*/ 712 h 897"/>
                <a:gd name="T78" fmla="*/ 233 w 822"/>
                <a:gd name="T79" fmla="*/ 510 h 897"/>
                <a:gd name="T80" fmla="*/ 400 w 822"/>
                <a:gd name="T81" fmla="*/ 710 h 897"/>
                <a:gd name="T82" fmla="*/ 437 w 822"/>
                <a:gd name="T83" fmla="*/ 753 h 897"/>
                <a:gd name="T84" fmla="*/ 481 w 822"/>
                <a:gd name="T85" fmla="*/ 801 h 897"/>
                <a:gd name="T86" fmla="*/ 573 w 822"/>
                <a:gd name="T87" fmla="*/ 875 h 897"/>
                <a:gd name="T88" fmla="*/ 662 w 822"/>
                <a:gd name="T89" fmla="*/ 896 h 897"/>
                <a:gd name="T90" fmla="*/ 709 w 822"/>
                <a:gd name="T91" fmla="*/ 897 h 897"/>
                <a:gd name="T92" fmla="*/ 822 w 822"/>
                <a:gd name="T93" fmla="*/ 897 h 897"/>
                <a:gd name="T94" fmla="*/ 789 w 822"/>
                <a:gd name="T95" fmla="*/ 870 h 897"/>
                <a:gd name="T96" fmla="*/ 750 w 822"/>
                <a:gd name="T97" fmla="*/ 83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897">
                  <a:moveTo>
                    <a:pt x="408" y="395"/>
                  </a:moveTo>
                  <a:lnTo>
                    <a:pt x="408" y="395"/>
                  </a:lnTo>
                  <a:cubicBezTo>
                    <a:pt x="376" y="413"/>
                    <a:pt x="343" y="424"/>
                    <a:pt x="295" y="431"/>
                  </a:cubicBezTo>
                  <a:cubicBezTo>
                    <a:pt x="277" y="434"/>
                    <a:pt x="261" y="435"/>
                    <a:pt x="248" y="435"/>
                  </a:cubicBezTo>
                  <a:cubicBezTo>
                    <a:pt x="243" y="435"/>
                    <a:pt x="240" y="435"/>
                    <a:pt x="233" y="435"/>
                  </a:cubicBezTo>
                  <a:lnTo>
                    <a:pt x="233" y="103"/>
                  </a:lnTo>
                  <a:cubicBezTo>
                    <a:pt x="245" y="102"/>
                    <a:pt x="249" y="102"/>
                    <a:pt x="257" y="102"/>
                  </a:cubicBezTo>
                  <a:cubicBezTo>
                    <a:pt x="301" y="102"/>
                    <a:pt x="344" y="107"/>
                    <a:pt x="378" y="117"/>
                  </a:cubicBezTo>
                  <a:cubicBezTo>
                    <a:pt x="400" y="123"/>
                    <a:pt x="421" y="135"/>
                    <a:pt x="439" y="149"/>
                  </a:cubicBezTo>
                  <a:cubicBezTo>
                    <a:pt x="469" y="175"/>
                    <a:pt x="485" y="213"/>
                    <a:pt x="485" y="260"/>
                  </a:cubicBezTo>
                  <a:cubicBezTo>
                    <a:pt x="485" y="300"/>
                    <a:pt x="473" y="335"/>
                    <a:pt x="450" y="361"/>
                  </a:cubicBezTo>
                  <a:cubicBezTo>
                    <a:pt x="439" y="373"/>
                    <a:pt x="425" y="385"/>
                    <a:pt x="408" y="395"/>
                  </a:cubicBezTo>
                  <a:lnTo>
                    <a:pt x="408" y="395"/>
                  </a:lnTo>
                  <a:close/>
                  <a:moveTo>
                    <a:pt x="750" y="835"/>
                  </a:moveTo>
                  <a:lnTo>
                    <a:pt x="750" y="835"/>
                  </a:lnTo>
                  <a:cubicBezTo>
                    <a:pt x="719" y="804"/>
                    <a:pt x="691" y="776"/>
                    <a:pt x="649" y="730"/>
                  </a:cubicBezTo>
                  <a:cubicBezTo>
                    <a:pt x="622" y="702"/>
                    <a:pt x="600" y="677"/>
                    <a:pt x="583" y="657"/>
                  </a:cubicBezTo>
                  <a:lnTo>
                    <a:pt x="444" y="493"/>
                  </a:lnTo>
                  <a:cubicBezTo>
                    <a:pt x="461" y="488"/>
                    <a:pt x="468" y="486"/>
                    <a:pt x="484" y="480"/>
                  </a:cubicBezTo>
                  <a:cubicBezTo>
                    <a:pt x="529" y="462"/>
                    <a:pt x="563" y="442"/>
                    <a:pt x="594" y="416"/>
                  </a:cubicBezTo>
                  <a:cubicBezTo>
                    <a:pt x="630" y="386"/>
                    <a:pt x="652" y="354"/>
                    <a:pt x="665" y="313"/>
                  </a:cubicBezTo>
                  <a:cubicBezTo>
                    <a:pt x="673" y="291"/>
                    <a:pt x="676" y="267"/>
                    <a:pt x="676" y="244"/>
                  </a:cubicBezTo>
                  <a:cubicBezTo>
                    <a:pt x="676" y="189"/>
                    <a:pt x="656" y="139"/>
                    <a:pt x="615" y="97"/>
                  </a:cubicBezTo>
                  <a:cubicBezTo>
                    <a:pt x="579" y="58"/>
                    <a:pt x="527" y="30"/>
                    <a:pt x="470" y="16"/>
                  </a:cubicBezTo>
                  <a:cubicBezTo>
                    <a:pt x="429" y="7"/>
                    <a:pt x="388" y="2"/>
                    <a:pt x="316" y="1"/>
                  </a:cubicBezTo>
                  <a:cubicBezTo>
                    <a:pt x="289" y="0"/>
                    <a:pt x="262" y="0"/>
                    <a:pt x="233" y="0"/>
                  </a:cubicBezTo>
                  <a:lnTo>
                    <a:pt x="2" y="0"/>
                  </a:lnTo>
                  <a:cubicBezTo>
                    <a:pt x="17" y="14"/>
                    <a:pt x="23" y="20"/>
                    <a:pt x="32" y="33"/>
                  </a:cubicBezTo>
                  <a:cubicBezTo>
                    <a:pt x="38" y="44"/>
                    <a:pt x="44" y="55"/>
                    <a:pt x="47" y="66"/>
                  </a:cubicBezTo>
                  <a:cubicBezTo>
                    <a:pt x="53" y="86"/>
                    <a:pt x="56" y="114"/>
                    <a:pt x="56" y="162"/>
                  </a:cubicBezTo>
                  <a:lnTo>
                    <a:pt x="56" y="750"/>
                  </a:lnTo>
                  <a:cubicBezTo>
                    <a:pt x="56" y="793"/>
                    <a:pt x="53" y="817"/>
                    <a:pt x="46" y="837"/>
                  </a:cubicBezTo>
                  <a:cubicBezTo>
                    <a:pt x="42" y="847"/>
                    <a:pt x="37" y="857"/>
                    <a:pt x="31" y="865"/>
                  </a:cubicBezTo>
                  <a:cubicBezTo>
                    <a:pt x="22" y="876"/>
                    <a:pt x="17" y="882"/>
                    <a:pt x="0" y="897"/>
                  </a:cubicBezTo>
                  <a:lnTo>
                    <a:pt x="285" y="897"/>
                  </a:lnTo>
                  <a:cubicBezTo>
                    <a:pt x="273" y="883"/>
                    <a:pt x="269" y="878"/>
                    <a:pt x="261" y="867"/>
                  </a:cubicBezTo>
                  <a:cubicBezTo>
                    <a:pt x="254" y="859"/>
                    <a:pt x="249" y="850"/>
                    <a:pt x="245" y="840"/>
                  </a:cubicBezTo>
                  <a:cubicBezTo>
                    <a:pt x="238" y="820"/>
                    <a:pt x="234" y="799"/>
                    <a:pt x="234" y="757"/>
                  </a:cubicBezTo>
                  <a:cubicBezTo>
                    <a:pt x="234" y="744"/>
                    <a:pt x="233" y="729"/>
                    <a:pt x="233" y="712"/>
                  </a:cubicBezTo>
                  <a:lnTo>
                    <a:pt x="233" y="510"/>
                  </a:lnTo>
                  <a:lnTo>
                    <a:pt x="400" y="710"/>
                  </a:lnTo>
                  <a:cubicBezTo>
                    <a:pt x="407" y="719"/>
                    <a:pt x="420" y="734"/>
                    <a:pt x="437" y="753"/>
                  </a:cubicBezTo>
                  <a:cubicBezTo>
                    <a:pt x="456" y="775"/>
                    <a:pt x="471" y="791"/>
                    <a:pt x="481" y="801"/>
                  </a:cubicBezTo>
                  <a:cubicBezTo>
                    <a:pt x="513" y="835"/>
                    <a:pt x="543" y="859"/>
                    <a:pt x="573" y="875"/>
                  </a:cubicBezTo>
                  <a:cubicBezTo>
                    <a:pt x="599" y="889"/>
                    <a:pt x="624" y="895"/>
                    <a:pt x="662" y="896"/>
                  </a:cubicBezTo>
                  <a:cubicBezTo>
                    <a:pt x="677" y="897"/>
                    <a:pt x="693" y="897"/>
                    <a:pt x="709" y="897"/>
                  </a:cubicBezTo>
                  <a:lnTo>
                    <a:pt x="822" y="897"/>
                  </a:lnTo>
                  <a:cubicBezTo>
                    <a:pt x="807" y="885"/>
                    <a:pt x="800" y="880"/>
                    <a:pt x="789" y="870"/>
                  </a:cubicBezTo>
                  <a:cubicBezTo>
                    <a:pt x="777" y="859"/>
                    <a:pt x="764" y="848"/>
                    <a:pt x="750" y="8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3" name="Freeform 9">
              <a:extLst>
                <a:ext uri="{FF2B5EF4-FFF2-40B4-BE49-F238E27FC236}">
                  <a16:creationId xmlns:a16="http://schemas.microsoft.com/office/drawing/2014/main" id="{8F61EB5B-16E9-4E81-930C-CC3AF4AE8004}"/>
                </a:ext>
              </a:extLst>
            </p:cNvPr>
            <p:cNvSpPr>
              <a:spLocks/>
            </p:cNvSpPr>
            <p:nvPr userDrawn="1"/>
          </p:nvSpPr>
          <p:spPr bwMode="auto">
            <a:xfrm>
              <a:off x="679" y="195"/>
              <a:ext cx="68" cy="84"/>
            </a:xfrm>
            <a:custGeom>
              <a:avLst/>
              <a:gdLst>
                <a:gd name="T0" fmla="*/ 668 w 765"/>
                <a:gd name="T1" fmla="*/ 790 h 944"/>
                <a:gd name="T2" fmla="*/ 668 w 765"/>
                <a:gd name="T3" fmla="*/ 790 h 944"/>
                <a:gd name="T4" fmla="*/ 512 w 765"/>
                <a:gd name="T5" fmla="*/ 823 h 944"/>
                <a:gd name="T6" fmla="*/ 281 w 765"/>
                <a:gd name="T7" fmla="*/ 727 h 944"/>
                <a:gd name="T8" fmla="*/ 191 w 765"/>
                <a:gd name="T9" fmla="*/ 478 h 944"/>
                <a:gd name="T10" fmla="*/ 272 w 765"/>
                <a:gd name="T11" fmla="*/ 236 h 944"/>
                <a:gd name="T12" fmla="*/ 354 w 765"/>
                <a:gd name="T13" fmla="*/ 170 h 944"/>
                <a:gd name="T14" fmla="*/ 527 w 765"/>
                <a:gd name="T15" fmla="*/ 126 h 944"/>
                <a:gd name="T16" fmla="*/ 688 w 765"/>
                <a:gd name="T17" fmla="*/ 159 h 944"/>
                <a:gd name="T18" fmla="*/ 762 w 765"/>
                <a:gd name="T19" fmla="*/ 199 h 944"/>
                <a:gd name="T20" fmla="*/ 762 w 765"/>
                <a:gd name="T21" fmla="*/ 31 h 944"/>
                <a:gd name="T22" fmla="*/ 708 w 765"/>
                <a:gd name="T23" fmla="*/ 16 h 944"/>
                <a:gd name="T24" fmla="*/ 550 w 765"/>
                <a:gd name="T25" fmla="*/ 0 h 944"/>
                <a:gd name="T26" fmla="*/ 294 w 765"/>
                <a:gd name="T27" fmla="*/ 48 h 944"/>
                <a:gd name="T28" fmla="*/ 171 w 765"/>
                <a:gd name="T29" fmla="*/ 121 h 944"/>
                <a:gd name="T30" fmla="*/ 0 w 765"/>
                <a:gd name="T31" fmla="*/ 488 h 944"/>
                <a:gd name="T32" fmla="*/ 164 w 765"/>
                <a:gd name="T33" fmla="*/ 840 h 944"/>
                <a:gd name="T34" fmla="*/ 499 w 765"/>
                <a:gd name="T35" fmla="*/ 944 h 944"/>
                <a:gd name="T36" fmla="*/ 751 w 765"/>
                <a:gd name="T37" fmla="*/ 904 h 944"/>
                <a:gd name="T38" fmla="*/ 765 w 765"/>
                <a:gd name="T39" fmla="*/ 899 h 944"/>
                <a:gd name="T40" fmla="*/ 765 w 765"/>
                <a:gd name="T41" fmla="*/ 736 h 944"/>
                <a:gd name="T42" fmla="*/ 724 w 765"/>
                <a:gd name="T43" fmla="*/ 763 h 944"/>
                <a:gd name="T44" fmla="*/ 668 w 765"/>
                <a:gd name="T45" fmla="*/ 79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5" h="944">
                  <a:moveTo>
                    <a:pt x="668" y="790"/>
                  </a:moveTo>
                  <a:lnTo>
                    <a:pt x="668" y="790"/>
                  </a:lnTo>
                  <a:cubicBezTo>
                    <a:pt x="614" y="813"/>
                    <a:pt x="565" y="823"/>
                    <a:pt x="512" y="823"/>
                  </a:cubicBezTo>
                  <a:cubicBezTo>
                    <a:pt x="419" y="823"/>
                    <a:pt x="340" y="790"/>
                    <a:pt x="281" y="727"/>
                  </a:cubicBezTo>
                  <a:cubicBezTo>
                    <a:pt x="222" y="664"/>
                    <a:pt x="191" y="577"/>
                    <a:pt x="191" y="478"/>
                  </a:cubicBezTo>
                  <a:cubicBezTo>
                    <a:pt x="191" y="384"/>
                    <a:pt x="220" y="297"/>
                    <a:pt x="272" y="236"/>
                  </a:cubicBezTo>
                  <a:cubicBezTo>
                    <a:pt x="295" y="210"/>
                    <a:pt x="322" y="187"/>
                    <a:pt x="354" y="170"/>
                  </a:cubicBezTo>
                  <a:cubicBezTo>
                    <a:pt x="404" y="141"/>
                    <a:pt x="463" y="126"/>
                    <a:pt x="527" y="126"/>
                  </a:cubicBezTo>
                  <a:cubicBezTo>
                    <a:pt x="582" y="126"/>
                    <a:pt x="635" y="137"/>
                    <a:pt x="688" y="159"/>
                  </a:cubicBezTo>
                  <a:cubicBezTo>
                    <a:pt x="722" y="172"/>
                    <a:pt x="734" y="179"/>
                    <a:pt x="762" y="199"/>
                  </a:cubicBezTo>
                  <a:lnTo>
                    <a:pt x="762" y="31"/>
                  </a:lnTo>
                  <a:cubicBezTo>
                    <a:pt x="740" y="24"/>
                    <a:pt x="731" y="21"/>
                    <a:pt x="708" y="16"/>
                  </a:cubicBezTo>
                  <a:cubicBezTo>
                    <a:pt x="656" y="5"/>
                    <a:pt x="606" y="0"/>
                    <a:pt x="550" y="0"/>
                  </a:cubicBezTo>
                  <a:cubicBezTo>
                    <a:pt x="453" y="0"/>
                    <a:pt x="370" y="16"/>
                    <a:pt x="294" y="48"/>
                  </a:cubicBezTo>
                  <a:cubicBezTo>
                    <a:pt x="249" y="67"/>
                    <a:pt x="207" y="91"/>
                    <a:pt x="171" y="121"/>
                  </a:cubicBezTo>
                  <a:cubicBezTo>
                    <a:pt x="60" y="210"/>
                    <a:pt x="0" y="339"/>
                    <a:pt x="0" y="488"/>
                  </a:cubicBezTo>
                  <a:cubicBezTo>
                    <a:pt x="0" y="632"/>
                    <a:pt x="58" y="756"/>
                    <a:pt x="164" y="840"/>
                  </a:cubicBezTo>
                  <a:cubicBezTo>
                    <a:pt x="251" y="909"/>
                    <a:pt x="364" y="944"/>
                    <a:pt x="499" y="944"/>
                  </a:cubicBezTo>
                  <a:cubicBezTo>
                    <a:pt x="583" y="944"/>
                    <a:pt x="662" y="931"/>
                    <a:pt x="751" y="904"/>
                  </a:cubicBezTo>
                  <a:cubicBezTo>
                    <a:pt x="754" y="903"/>
                    <a:pt x="759" y="901"/>
                    <a:pt x="765" y="899"/>
                  </a:cubicBezTo>
                  <a:lnTo>
                    <a:pt x="765" y="736"/>
                  </a:lnTo>
                  <a:cubicBezTo>
                    <a:pt x="744" y="750"/>
                    <a:pt x="736" y="755"/>
                    <a:pt x="724" y="763"/>
                  </a:cubicBezTo>
                  <a:cubicBezTo>
                    <a:pt x="706" y="773"/>
                    <a:pt x="688" y="782"/>
                    <a:pt x="668" y="7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4" name="Freeform 10">
              <a:extLst>
                <a:ext uri="{FF2B5EF4-FFF2-40B4-BE49-F238E27FC236}">
                  <a16:creationId xmlns:a16="http://schemas.microsoft.com/office/drawing/2014/main" id="{3F11AFA1-B24F-4137-ADBD-BC99C549B761}"/>
                </a:ext>
              </a:extLst>
            </p:cNvPr>
            <p:cNvSpPr>
              <a:spLocks/>
            </p:cNvSpPr>
            <p:nvPr userDrawn="1"/>
          </p:nvSpPr>
          <p:spPr bwMode="auto">
            <a:xfrm>
              <a:off x="471" y="197"/>
              <a:ext cx="78" cy="83"/>
            </a:xfrm>
            <a:custGeom>
              <a:avLst/>
              <a:gdLst>
                <a:gd name="T0" fmla="*/ 631 w 885"/>
                <a:gd name="T1" fmla="*/ 34 h 927"/>
                <a:gd name="T2" fmla="*/ 631 w 885"/>
                <a:gd name="T3" fmla="*/ 34 h 927"/>
                <a:gd name="T4" fmla="*/ 644 w 885"/>
                <a:gd name="T5" fmla="*/ 65 h 927"/>
                <a:gd name="T6" fmla="*/ 652 w 885"/>
                <a:gd name="T7" fmla="*/ 159 h 927"/>
                <a:gd name="T8" fmla="*/ 652 w 885"/>
                <a:gd name="T9" fmla="*/ 500 h 927"/>
                <a:gd name="T10" fmla="*/ 645 w 885"/>
                <a:gd name="T11" fmla="*/ 652 h 927"/>
                <a:gd name="T12" fmla="*/ 621 w 885"/>
                <a:gd name="T13" fmla="*/ 718 h 927"/>
                <a:gd name="T14" fmla="*/ 511 w 885"/>
                <a:gd name="T15" fmla="*/ 795 h 927"/>
                <a:gd name="T16" fmla="*/ 448 w 885"/>
                <a:gd name="T17" fmla="*/ 802 h 927"/>
                <a:gd name="T18" fmla="*/ 272 w 885"/>
                <a:gd name="T19" fmla="*/ 726 h 927"/>
                <a:gd name="T20" fmla="*/ 240 w 885"/>
                <a:gd name="T21" fmla="*/ 562 h 927"/>
                <a:gd name="T22" fmla="*/ 239 w 885"/>
                <a:gd name="T23" fmla="*/ 488 h 927"/>
                <a:gd name="T24" fmla="*/ 239 w 885"/>
                <a:gd name="T25" fmla="*/ 218 h 927"/>
                <a:gd name="T26" fmla="*/ 241 w 885"/>
                <a:gd name="T27" fmla="*/ 114 h 927"/>
                <a:gd name="T28" fmla="*/ 248 w 885"/>
                <a:gd name="T29" fmla="*/ 73 h 927"/>
                <a:gd name="T30" fmla="*/ 284 w 885"/>
                <a:gd name="T31" fmla="*/ 8 h 927"/>
                <a:gd name="T32" fmla="*/ 291 w 885"/>
                <a:gd name="T33" fmla="*/ 0 h 927"/>
                <a:gd name="T34" fmla="*/ 0 w 885"/>
                <a:gd name="T35" fmla="*/ 0 h 927"/>
                <a:gd name="T36" fmla="*/ 32 w 885"/>
                <a:gd name="T37" fmla="*/ 36 h 927"/>
                <a:gd name="T38" fmla="*/ 45 w 885"/>
                <a:gd name="T39" fmla="*/ 67 h 927"/>
                <a:gd name="T40" fmla="*/ 51 w 885"/>
                <a:gd name="T41" fmla="*/ 109 h 927"/>
                <a:gd name="T42" fmla="*/ 51 w 885"/>
                <a:gd name="T43" fmla="*/ 164 h 927"/>
                <a:gd name="T44" fmla="*/ 52 w 885"/>
                <a:gd name="T45" fmla="*/ 216 h 927"/>
                <a:gd name="T46" fmla="*/ 52 w 885"/>
                <a:gd name="T47" fmla="*/ 473 h 927"/>
                <a:gd name="T48" fmla="*/ 55 w 885"/>
                <a:gd name="T49" fmla="*/ 631 h 927"/>
                <a:gd name="T50" fmla="*/ 118 w 885"/>
                <a:gd name="T51" fmla="*/ 796 h 927"/>
                <a:gd name="T52" fmla="*/ 435 w 885"/>
                <a:gd name="T53" fmla="*/ 927 h 927"/>
                <a:gd name="T54" fmla="*/ 615 w 885"/>
                <a:gd name="T55" fmla="*/ 898 h 927"/>
                <a:gd name="T56" fmla="*/ 748 w 885"/>
                <a:gd name="T57" fmla="*/ 809 h 927"/>
                <a:gd name="T58" fmla="*/ 821 w 885"/>
                <a:gd name="T59" fmla="*/ 635 h 927"/>
                <a:gd name="T60" fmla="*/ 827 w 885"/>
                <a:gd name="T61" fmla="*/ 475 h 927"/>
                <a:gd name="T62" fmla="*/ 827 w 885"/>
                <a:gd name="T63" fmla="*/ 217 h 927"/>
                <a:gd name="T64" fmla="*/ 826 w 885"/>
                <a:gd name="T65" fmla="*/ 165 h 927"/>
                <a:gd name="T66" fmla="*/ 826 w 885"/>
                <a:gd name="T67" fmla="*/ 155 h 927"/>
                <a:gd name="T68" fmla="*/ 834 w 885"/>
                <a:gd name="T69" fmla="*/ 73 h 927"/>
                <a:gd name="T70" fmla="*/ 849 w 885"/>
                <a:gd name="T71" fmla="*/ 37 h 927"/>
                <a:gd name="T72" fmla="*/ 885 w 885"/>
                <a:gd name="T73" fmla="*/ 0 h 927"/>
                <a:gd name="T74" fmla="*/ 599 w 885"/>
                <a:gd name="T75" fmla="*/ 0 h 927"/>
                <a:gd name="T76" fmla="*/ 631 w 885"/>
                <a:gd name="T77" fmla="*/ 34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5" h="927">
                  <a:moveTo>
                    <a:pt x="631" y="34"/>
                  </a:moveTo>
                  <a:lnTo>
                    <a:pt x="631" y="34"/>
                  </a:lnTo>
                  <a:cubicBezTo>
                    <a:pt x="637" y="44"/>
                    <a:pt x="641" y="54"/>
                    <a:pt x="644" y="65"/>
                  </a:cubicBezTo>
                  <a:cubicBezTo>
                    <a:pt x="650" y="87"/>
                    <a:pt x="652" y="108"/>
                    <a:pt x="652" y="159"/>
                  </a:cubicBezTo>
                  <a:lnTo>
                    <a:pt x="652" y="500"/>
                  </a:lnTo>
                  <a:cubicBezTo>
                    <a:pt x="652" y="573"/>
                    <a:pt x="650" y="617"/>
                    <a:pt x="645" y="652"/>
                  </a:cubicBezTo>
                  <a:cubicBezTo>
                    <a:pt x="641" y="676"/>
                    <a:pt x="633" y="698"/>
                    <a:pt x="621" y="718"/>
                  </a:cubicBezTo>
                  <a:cubicBezTo>
                    <a:pt x="600" y="755"/>
                    <a:pt x="559" y="783"/>
                    <a:pt x="511" y="795"/>
                  </a:cubicBezTo>
                  <a:cubicBezTo>
                    <a:pt x="492" y="800"/>
                    <a:pt x="470" y="802"/>
                    <a:pt x="448" y="802"/>
                  </a:cubicBezTo>
                  <a:cubicBezTo>
                    <a:pt x="371" y="802"/>
                    <a:pt x="304" y="773"/>
                    <a:pt x="272" y="726"/>
                  </a:cubicBezTo>
                  <a:cubicBezTo>
                    <a:pt x="248" y="690"/>
                    <a:pt x="241" y="655"/>
                    <a:pt x="240" y="562"/>
                  </a:cubicBezTo>
                  <a:lnTo>
                    <a:pt x="239" y="488"/>
                  </a:lnTo>
                  <a:lnTo>
                    <a:pt x="239" y="218"/>
                  </a:lnTo>
                  <a:cubicBezTo>
                    <a:pt x="239" y="166"/>
                    <a:pt x="239" y="141"/>
                    <a:pt x="241" y="114"/>
                  </a:cubicBezTo>
                  <a:cubicBezTo>
                    <a:pt x="242" y="98"/>
                    <a:pt x="244" y="84"/>
                    <a:pt x="248" y="73"/>
                  </a:cubicBezTo>
                  <a:cubicBezTo>
                    <a:pt x="254" y="52"/>
                    <a:pt x="269" y="25"/>
                    <a:pt x="284" y="8"/>
                  </a:cubicBezTo>
                  <a:cubicBezTo>
                    <a:pt x="286" y="6"/>
                    <a:pt x="288" y="3"/>
                    <a:pt x="291" y="0"/>
                  </a:cubicBezTo>
                  <a:lnTo>
                    <a:pt x="0" y="0"/>
                  </a:lnTo>
                  <a:cubicBezTo>
                    <a:pt x="18" y="15"/>
                    <a:pt x="23" y="21"/>
                    <a:pt x="32" y="36"/>
                  </a:cubicBezTo>
                  <a:cubicBezTo>
                    <a:pt x="38" y="46"/>
                    <a:pt x="42" y="56"/>
                    <a:pt x="45" y="67"/>
                  </a:cubicBezTo>
                  <a:cubicBezTo>
                    <a:pt x="48" y="81"/>
                    <a:pt x="51" y="95"/>
                    <a:pt x="51" y="109"/>
                  </a:cubicBezTo>
                  <a:cubicBezTo>
                    <a:pt x="51" y="117"/>
                    <a:pt x="51" y="136"/>
                    <a:pt x="51" y="164"/>
                  </a:cubicBezTo>
                  <a:lnTo>
                    <a:pt x="52" y="216"/>
                  </a:lnTo>
                  <a:lnTo>
                    <a:pt x="52" y="473"/>
                  </a:lnTo>
                  <a:cubicBezTo>
                    <a:pt x="52" y="569"/>
                    <a:pt x="52" y="593"/>
                    <a:pt x="55" y="631"/>
                  </a:cubicBezTo>
                  <a:cubicBezTo>
                    <a:pt x="61" y="697"/>
                    <a:pt x="80" y="749"/>
                    <a:pt x="118" y="796"/>
                  </a:cubicBezTo>
                  <a:cubicBezTo>
                    <a:pt x="186" y="882"/>
                    <a:pt x="295" y="927"/>
                    <a:pt x="435" y="927"/>
                  </a:cubicBezTo>
                  <a:cubicBezTo>
                    <a:pt x="501" y="927"/>
                    <a:pt x="566" y="916"/>
                    <a:pt x="615" y="898"/>
                  </a:cubicBezTo>
                  <a:cubicBezTo>
                    <a:pt x="667" y="879"/>
                    <a:pt x="714" y="847"/>
                    <a:pt x="748" y="809"/>
                  </a:cubicBezTo>
                  <a:cubicBezTo>
                    <a:pt x="790" y="763"/>
                    <a:pt x="814" y="705"/>
                    <a:pt x="821" y="635"/>
                  </a:cubicBezTo>
                  <a:cubicBezTo>
                    <a:pt x="825" y="594"/>
                    <a:pt x="827" y="545"/>
                    <a:pt x="827" y="475"/>
                  </a:cubicBezTo>
                  <a:lnTo>
                    <a:pt x="827" y="217"/>
                  </a:lnTo>
                  <a:lnTo>
                    <a:pt x="826" y="165"/>
                  </a:lnTo>
                  <a:lnTo>
                    <a:pt x="826" y="155"/>
                  </a:lnTo>
                  <a:cubicBezTo>
                    <a:pt x="826" y="117"/>
                    <a:pt x="828" y="94"/>
                    <a:pt x="834" y="73"/>
                  </a:cubicBezTo>
                  <a:cubicBezTo>
                    <a:pt x="837" y="61"/>
                    <a:pt x="842" y="48"/>
                    <a:pt x="849" y="37"/>
                  </a:cubicBezTo>
                  <a:cubicBezTo>
                    <a:pt x="859" y="22"/>
                    <a:pt x="866" y="15"/>
                    <a:pt x="885" y="0"/>
                  </a:cubicBezTo>
                  <a:lnTo>
                    <a:pt x="599" y="0"/>
                  </a:lnTo>
                  <a:cubicBezTo>
                    <a:pt x="616" y="13"/>
                    <a:pt x="622" y="20"/>
                    <a:pt x="631"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5" name="Freeform 11">
              <a:extLst>
                <a:ext uri="{FF2B5EF4-FFF2-40B4-BE49-F238E27FC236}">
                  <a16:creationId xmlns:a16="http://schemas.microsoft.com/office/drawing/2014/main" id="{D974EA69-2A4E-481A-8DD8-9C9FD2156EB1}"/>
                </a:ext>
              </a:extLst>
            </p:cNvPr>
            <p:cNvSpPr>
              <a:spLocks/>
            </p:cNvSpPr>
            <p:nvPr userDrawn="1"/>
          </p:nvSpPr>
          <p:spPr bwMode="auto">
            <a:xfrm>
              <a:off x="381" y="197"/>
              <a:ext cx="77" cy="80"/>
            </a:xfrm>
            <a:custGeom>
              <a:avLst/>
              <a:gdLst>
                <a:gd name="T0" fmla="*/ 654 w 865"/>
                <a:gd name="T1" fmla="*/ 771 h 897"/>
                <a:gd name="T2" fmla="*/ 654 w 865"/>
                <a:gd name="T3" fmla="*/ 771 h 897"/>
                <a:gd name="T4" fmla="*/ 513 w 865"/>
                <a:gd name="T5" fmla="*/ 783 h 897"/>
                <a:gd name="T6" fmla="*/ 442 w 865"/>
                <a:gd name="T7" fmla="*/ 784 h 897"/>
                <a:gd name="T8" fmla="*/ 304 w 865"/>
                <a:gd name="T9" fmla="*/ 784 h 897"/>
                <a:gd name="T10" fmla="*/ 848 w 865"/>
                <a:gd name="T11" fmla="*/ 0 h 897"/>
                <a:gd name="T12" fmla="*/ 143 w 865"/>
                <a:gd name="T13" fmla="*/ 0 h 897"/>
                <a:gd name="T14" fmla="*/ 56 w 865"/>
                <a:gd name="T15" fmla="*/ 191 h 897"/>
                <a:gd name="T16" fmla="*/ 121 w 865"/>
                <a:gd name="T17" fmla="*/ 160 h 897"/>
                <a:gd name="T18" fmla="*/ 248 w 865"/>
                <a:gd name="T19" fmla="*/ 124 h 897"/>
                <a:gd name="T20" fmla="*/ 375 w 865"/>
                <a:gd name="T21" fmla="*/ 113 h 897"/>
                <a:gd name="T22" fmla="*/ 444 w 865"/>
                <a:gd name="T23" fmla="*/ 112 h 897"/>
                <a:gd name="T24" fmla="*/ 549 w 865"/>
                <a:gd name="T25" fmla="*/ 112 h 897"/>
                <a:gd name="T26" fmla="*/ 0 w 865"/>
                <a:gd name="T27" fmla="*/ 897 h 897"/>
                <a:gd name="T28" fmla="*/ 776 w 865"/>
                <a:gd name="T29" fmla="*/ 897 h 897"/>
                <a:gd name="T30" fmla="*/ 865 w 865"/>
                <a:gd name="T31" fmla="*/ 692 h 897"/>
                <a:gd name="T32" fmla="*/ 800 w 865"/>
                <a:gd name="T33" fmla="*/ 727 h 897"/>
                <a:gd name="T34" fmla="*/ 654 w 865"/>
                <a:gd name="T35" fmla="*/ 771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 h="897">
                  <a:moveTo>
                    <a:pt x="654" y="771"/>
                  </a:moveTo>
                  <a:lnTo>
                    <a:pt x="654" y="771"/>
                  </a:lnTo>
                  <a:cubicBezTo>
                    <a:pt x="614" y="778"/>
                    <a:pt x="569" y="782"/>
                    <a:pt x="513" y="783"/>
                  </a:cubicBezTo>
                  <a:cubicBezTo>
                    <a:pt x="495" y="784"/>
                    <a:pt x="471" y="784"/>
                    <a:pt x="442" y="784"/>
                  </a:cubicBezTo>
                  <a:lnTo>
                    <a:pt x="304" y="784"/>
                  </a:lnTo>
                  <a:lnTo>
                    <a:pt x="848" y="0"/>
                  </a:lnTo>
                  <a:lnTo>
                    <a:pt x="143" y="0"/>
                  </a:lnTo>
                  <a:lnTo>
                    <a:pt x="56" y="191"/>
                  </a:lnTo>
                  <a:cubicBezTo>
                    <a:pt x="85" y="176"/>
                    <a:pt x="96" y="170"/>
                    <a:pt x="121" y="160"/>
                  </a:cubicBezTo>
                  <a:cubicBezTo>
                    <a:pt x="162" y="144"/>
                    <a:pt x="206" y="132"/>
                    <a:pt x="248" y="124"/>
                  </a:cubicBezTo>
                  <a:cubicBezTo>
                    <a:pt x="285" y="118"/>
                    <a:pt x="319" y="115"/>
                    <a:pt x="375" y="113"/>
                  </a:cubicBezTo>
                  <a:cubicBezTo>
                    <a:pt x="400" y="112"/>
                    <a:pt x="423" y="112"/>
                    <a:pt x="444" y="112"/>
                  </a:cubicBezTo>
                  <a:lnTo>
                    <a:pt x="549" y="112"/>
                  </a:lnTo>
                  <a:lnTo>
                    <a:pt x="0" y="897"/>
                  </a:lnTo>
                  <a:lnTo>
                    <a:pt x="776" y="897"/>
                  </a:lnTo>
                  <a:lnTo>
                    <a:pt x="865" y="692"/>
                  </a:lnTo>
                  <a:cubicBezTo>
                    <a:pt x="834" y="710"/>
                    <a:pt x="823" y="716"/>
                    <a:pt x="800" y="727"/>
                  </a:cubicBezTo>
                  <a:cubicBezTo>
                    <a:pt x="754" y="747"/>
                    <a:pt x="705" y="762"/>
                    <a:pt x="654" y="7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6" name="Freeform 12">
              <a:extLst>
                <a:ext uri="{FF2B5EF4-FFF2-40B4-BE49-F238E27FC236}">
                  <a16:creationId xmlns:a16="http://schemas.microsoft.com/office/drawing/2014/main" id="{28C940DE-D324-4410-80C5-9BC2A365D934}"/>
                </a:ext>
              </a:extLst>
            </p:cNvPr>
            <p:cNvSpPr>
              <a:spLocks noEditPoints="1"/>
            </p:cNvSpPr>
            <p:nvPr userDrawn="1"/>
          </p:nvSpPr>
          <p:spPr bwMode="auto">
            <a:xfrm>
              <a:off x="850" y="167"/>
              <a:ext cx="18" cy="18"/>
            </a:xfrm>
            <a:custGeom>
              <a:avLst/>
              <a:gdLst>
                <a:gd name="T0" fmla="*/ 102 w 203"/>
                <a:gd name="T1" fmla="*/ 189 h 203"/>
                <a:gd name="T2" fmla="*/ 102 w 203"/>
                <a:gd name="T3" fmla="*/ 189 h 203"/>
                <a:gd name="T4" fmla="*/ 17 w 203"/>
                <a:gd name="T5" fmla="*/ 102 h 203"/>
                <a:gd name="T6" fmla="*/ 102 w 203"/>
                <a:gd name="T7" fmla="*/ 15 h 203"/>
                <a:gd name="T8" fmla="*/ 187 w 203"/>
                <a:gd name="T9" fmla="*/ 102 h 203"/>
                <a:gd name="T10" fmla="*/ 102 w 203"/>
                <a:gd name="T11" fmla="*/ 189 h 203"/>
                <a:gd name="T12" fmla="*/ 102 w 203"/>
                <a:gd name="T13" fmla="*/ 189 h 203"/>
                <a:gd name="T14" fmla="*/ 102 w 203"/>
                <a:gd name="T15" fmla="*/ 0 h 203"/>
                <a:gd name="T16" fmla="*/ 102 w 203"/>
                <a:gd name="T17" fmla="*/ 0 h 203"/>
                <a:gd name="T18" fmla="*/ 0 w 203"/>
                <a:gd name="T19" fmla="*/ 102 h 203"/>
                <a:gd name="T20" fmla="*/ 102 w 203"/>
                <a:gd name="T21" fmla="*/ 203 h 203"/>
                <a:gd name="T22" fmla="*/ 203 w 203"/>
                <a:gd name="T23" fmla="*/ 102 h 203"/>
                <a:gd name="T24" fmla="*/ 102 w 203"/>
                <a:gd name="T2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203">
                  <a:moveTo>
                    <a:pt x="102" y="189"/>
                  </a:moveTo>
                  <a:lnTo>
                    <a:pt x="102" y="189"/>
                  </a:lnTo>
                  <a:cubicBezTo>
                    <a:pt x="54" y="189"/>
                    <a:pt x="17" y="154"/>
                    <a:pt x="17" y="102"/>
                  </a:cubicBezTo>
                  <a:cubicBezTo>
                    <a:pt x="17" y="50"/>
                    <a:pt x="54" y="15"/>
                    <a:pt x="102" y="15"/>
                  </a:cubicBezTo>
                  <a:cubicBezTo>
                    <a:pt x="150" y="15"/>
                    <a:pt x="187" y="50"/>
                    <a:pt x="187" y="102"/>
                  </a:cubicBezTo>
                  <a:cubicBezTo>
                    <a:pt x="187" y="154"/>
                    <a:pt x="150" y="189"/>
                    <a:pt x="102" y="189"/>
                  </a:cubicBezTo>
                  <a:lnTo>
                    <a:pt x="102" y="189"/>
                  </a:lnTo>
                  <a:close/>
                  <a:moveTo>
                    <a:pt x="102" y="0"/>
                  </a:moveTo>
                  <a:lnTo>
                    <a:pt x="102" y="0"/>
                  </a:lnTo>
                  <a:cubicBezTo>
                    <a:pt x="46" y="0"/>
                    <a:pt x="0" y="42"/>
                    <a:pt x="0" y="102"/>
                  </a:cubicBezTo>
                  <a:cubicBezTo>
                    <a:pt x="0" y="162"/>
                    <a:pt x="46" y="203"/>
                    <a:pt x="102" y="203"/>
                  </a:cubicBezTo>
                  <a:cubicBezTo>
                    <a:pt x="158" y="203"/>
                    <a:pt x="203" y="162"/>
                    <a:pt x="203" y="102"/>
                  </a:cubicBezTo>
                  <a:cubicBezTo>
                    <a:pt x="203" y="42"/>
                    <a:pt x="158" y="0"/>
                    <a:pt x="10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7" name="Freeform 13">
              <a:extLst>
                <a:ext uri="{FF2B5EF4-FFF2-40B4-BE49-F238E27FC236}">
                  <a16:creationId xmlns:a16="http://schemas.microsoft.com/office/drawing/2014/main" id="{F399AED9-15E5-4439-853F-533F93806D33}"/>
                </a:ext>
              </a:extLst>
            </p:cNvPr>
            <p:cNvSpPr>
              <a:spLocks noEditPoints="1"/>
            </p:cNvSpPr>
            <p:nvPr userDrawn="1"/>
          </p:nvSpPr>
          <p:spPr bwMode="auto">
            <a:xfrm>
              <a:off x="856" y="171"/>
              <a:ext cx="7" cy="9"/>
            </a:xfrm>
            <a:custGeom>
              <a:avLst/>
              <a:gdLst>
                <a:gd name="T0" fmla="*/ 40 w 87"/>
                <a:gd name="T1" fmla="*/ 50 h 107"/>
                <a:gd name="T2" fmla="*/ 40 w 87"/>
                <a:gd name="T3" fmla="*/ 50 h 107"/>
                <a:gd name="T4" fmla="*/ 15 w 87"/>
                <a:gd name="T5" fmla="*/ 50 h 107"/>
                <a:gd name="T6" fmla="*/ 15 w 87"/>
                <a:gd name="T7" fmla="*/ 16 h 107"/>
                <a:gd name="T8" fmla="*/ 38 w 87"/>
                <a:gd name="T9" fmla="*/ 16 h 107"/>
                <a:gd name="T10" fmla="*/ 66 w 87"/>
                <a:gd name="T11" fmla="*/ 33 h 107"/>
                <a:gd name="T12" fmla="*/ 40 w 87"/>
                <a:gd name="T13" fmla="*/ 50 h 107"/>
                <a:gd name="T14" fmla="*/ 40 w 87"/>
                <a:gd name="T15" fmla="*/ 50 h 107"/>
                <a:gd name="T16" fmla="*/ 83 w 87"/>
                <a:gd name="T17" fmla="*/ 33 h 107"/>
                <a:gd name="T18" fmla="*/ 83 w 87"/>
                <a:gd name="T19" fmla="*/ 33 h 107"/>
                <a:gd name="T20" fmla="*/ 32 w 87"/>
                <a:gd name="T21" fmla="*/ 0 h 107"/>
                <a:gd name="T22" fmla="*/ 0 w 87"/>
                <a:gd name="T23" fmla="*/ 0 h 107"/>
                <a:gd name="T24" fmla="*/ 0 w 87"/>
                <a:gd name="T25" fmla="*/ 107 h 107"/>
                <a:gd name="T26" fmla="*/ 15 w 87"/>
                <a:gd name="T27" fmla="*/ 107 h 107"/>
                <a:gd name="T28" fmla="*/ 15 w 87"/>
                <a:gd name="T29" fmla="*/ 66 h 107"/>
                <a:gd name="T30" fmla="*/ 44 w 87"/>
                <a:gd name="T31" fmla="*/ 66 h 107"/>
                <a:gd name="T32" fmla="*/ 46 w 87"/>
                <a:gd name="T33" fmla="*/ 65 h 107"/>
                <a:gd name="T34" fmla="*/ 69 w 87"/>
                <a:gd name="T35" fmla="*/ 107 h 107"/>
                <a:gd name="T36" fmla="*/ 87 w 87"/>
                <a:gd name="T37" fmla="*/ 107 h 107"/>
                <a:gd name="T38" fmla="*/ 62 w 87"/>
                <a:gd name="T39" fmla="*/ 62 h 107"/>
                <a:gd name="T40" fmla="*/ 83 w 87"/>
                <a:gd name="T41"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107">
                  <a:moveTo>
                    <a:pt x="40" y="50"/>
                  </a:moveTo>
                  <a:lnTo>
                    <a:pt x="40" y="50"/>
                  </a:lnTo>
                  <a:lnTo>
                    <a:pt x="15" y="50"/>
                  </a:lnTo>
                  <a:lnTo>
                    <a:pt x="15" y="16"/>
                  </a:lnTo>
                  <a:lnTo>
                    <a:pt x="38" y="16"/>
                  </a:lnTo>
                  <a:cubicBezTo>
                    <a:pt x="54" y="16"/>
                    <a:pt x="66" y="19"/>
                    <a:pt x="66" y="33"/>
                  </a:cubicBezTo>
                  <a:cubicBezTo>
                    <a:pt x="66" y="45"/>
                    <a:pt x="58" y="50"/>
                    <a:pt x="40" y="50"/>
                  </a:cubicBezTo>
                  <a:lnTo>
                    <a:pt x="40" y="50"/>
                  </a:lnTo>
                  <a:close/>
                  <a:moveTo>
                    <a:pt x="83" y="33"/>
                  </a:moveTo>
                  <a:lnTo>
                    <a:pt x="83" y="33"/>
                  </a:lnTo>
                  <a:cubicBezTo>
                    <a:pt x="83" y="5"/>
                    <a:pt x="64" y="0"/>
                    <a:pt x="32" y="0"/>
                  </a:cubicBezTo>
                  <a:lnTo>
                    <a:pt x="0" y="0"/>
                  </a:lnTo>
                  <a:lnTo>
                    <a:pt x="0" y="107"/>
                  </a:lnTo>
                  <a:lnTo>
                    <a:pt x="15" y="107"/>
                  </a:lnTo>
                  <a:lnTo>
                    <a:pt x="15" y="66"/>
                  </a:lnTo>
                  <a:lnTo>
                    <a:pt x="44" y="66"/>
                  </a:lnTo>
                  <a:cubicBezTo>
                    <a:pt x="45" y="66"/>
                    <a:pt x="46" y="66"/>
                    <a:pt x="46" y="65"/>
                  </a:cubicBezTo>
                  <a:lnTo>
                    <a:pt x="69" y="107"/>
                  </a:lnTo>
                  <a:lnTo>
                    <a:pt x="87" y="107"/>
                  </a:lnTo>
                  <a:lnTo>
                    <a:pt x="62" y="62"/>
                  </a:lnTo>
                  <a:cubicBezTo>
                    <a:pt x="76" y="56"/>
                    <a:pt x="83" y="45"/>
                    <a:pt x="83" y="3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grpSp>
      <p:sp>
        <p:nvSpPr>
          <p:cNvPr id="28" name="Slide Number Placeholder 5">
            <a:extLst>
              <a:ext uri="{FF2B5EF4-FFF2-40B4-BE49-F238E27FC236}">
                <a16:creationId xmlns:a16="http://schemas.microsoft.com/office/drawing/2014/main" id="{54613BA4-3F37-477A-9F83-816FFC37569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0" name="Footer Placeholder 3">
            <a:extLst>
              <a:ext uri="{FF2B5EF4-FFF2-40B4-BE49-F238E27FC236}">
                <a16:creationId xmlns:a16="http://schemas.microsoft.com/office/drawing/2014/main" id="{3866945B-F4D3-4972-8A47-C02C9E2AC957}"/>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192491843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no Logo">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9979B0B5-DCB0-844D-8724-1DB31C8A8C0B}"/>
              </a:ext>
            </a:extLst>
          </p:cNvPr>
          <p:cNvSpPr>
            <a:spLocks noGrp="1"/>
          </p:cNvSpPr>
          <p:nvPr>
            <p:ph type="title"/>
          </p:nvPr>
        </p:nvSpPr>
        <p:spPr>
          <a:xfrm>
            <a:off x="252659" y="260268"/>
            <a:ext cx="9586415" cy="332399"/>
          </a:xfrm>
        </p:spPr>
        <p:txBody>
          <a:bodyPr>
            <a:spAutoFit/>
          </a:bodyPr>
          <a:lstStyle>
            <a:lvl1pPr>
              <a:defRPr>
                <a:latin typeface="+mj-lt"/>
              </a:defRPr>
            </a:lvl1pPr>
          </a:lstStyle>
          <a:p>
            <a:r>
              <a:rPr lang="nl-NL"/>
              <a:t>Klik om stijl te bewerken</a:t>
            </a:r>
            <a:endParaRPr lang="en-US"/>
          </a:p>
        </p:txBody>
      </p:sp>
      <p:sp>
        <p:nvSpPr>
          <p:cNvPr id="6" name="Slide Number Placeholder 5">
            <a:extLst>
              <a:ext uri="{FF2B5EF4-FFF2-40B4-BE49-F238E27FC236}">
                <a16:creationId xmlns:a16="http://schemas.microsoft.com/office/drawing/2014/main" id="{6E1B8922-F046-4949-89A1-82828F430E98}"/>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defRPr>
            </a:lvl1pPr>
          </a:lstStyle>
          <a:p>
            <a:fld id="{FA58F0B4-6BC7-4BFB-804F-EE9B892902C7}" type="slidenum">
              <a:rPr lang="en-US" smtClean="0"/>
              <a:pPr/>
              <a:t>‹nr.›</a:t>
            </a:fld>
            <a:endParaRPr lang="en-US"/>
          </a:p>
        </p:txBody>
      </p:sp>
      <p:sp>
        <p:nvSpPr>
          <p:cNvPr id="8" name="Footer Placeholder 3">
            <a:extLst>
              <a:ext uri="{FF2B5EF4-FFF2-40B4-BE49-F238E27FC236}">
                <a16:creationId xmlns:a16="http://schemas.microsoft.com/office/drawing/2014/main" id="{A51A83C0-E586-4207-B521-E42A4141A04B}"/>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defRPr>
            </a:lvl1pPr>
          </a:lstStyle>
          <a:p>
            <a:endParaRPr lang="en-US"/>
          </a:p>
        </p:txBody>
      </p:sp>
    </p:spTree>
    <p:extLst>
      <p:ext uri="{BB962C8B-B14F-4D97-AF65-F5344CB8AC3E}">
        <p14:creationId xmlns:p14="http://schemas.microsoft.com/office/powerpoint/2010/main" val="293351674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Image">
    <p:bg>
      <p:bgPr>
        <a:solidFill>
          <a:schemeClr val="bg1"/>
        </a:solidFill>
        <a:effectLst/>
      </p:bgPr>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E1605E3C-D76A-4678-9277-BF9E20857561}"/>
              </a:ext>
            </a:extLst>
          </p:cNvPr>
          <p:cNvSpPr>
            <a:spLocks noGrp="1" noChangeAspect="1"/>
          </p:cNvSpPr>
          <p:nvPr>
            <p:ph type="pic" sz="quarter" idx="13"/>
          </p:nvPr>
        </p:nvSpPr>
        <p:spPr>
          <a:xfrm>
            <a:off x="7248128" y="1442037"/>
            <a:ext cx="4320000" cy="4320000"/>
          </a:xfrm>
          <a:prstGeom prst="ellipse">
            <a:avLst/>
          </a:prstGeom>
        </p:spPr>
        <p:txBody>
          <a:bodyPr/>
          <a:lstStyle>
            <a:lvl1pPr algn="ctr">
              <a:buNone/>
              <a:defRPr b="0" i="0">
                <a:solidFill>
                  <a:srgbClr val="1C67AF"/>
                </a:solidFill>
                <a:latin typeface="+mn-lt"/>
                <a:cs typeface="Arial" panose="020B0604020202020204" pitchFamily="34" charset="0"/>
              </a:defRPr>
            </a:lvl1pPr>
          </a:lstStyle>
          <a:p>
            <a:r>
              <a:rPr lang="nl-NL" noProof="0"/>
              <a:t>Klik op het pictogram als u een afbeelding wilt toevoegen</a:t>
            </a:r>
            <a:endParaRPr lang="en-US" noProof="0"/>
          </a:p>
        </p:txBody>
      </p:sp>
      <p:grpSp>
        <p:nvGrpSpPr>
          <p:cNvPr id="17" name="Group 4">
            <a:extLst>
              <a:ext uri="{FF2B5EF4-FFF2-40B4-BE49-F238E27FC236}">
                <a16:creationId xmlns:a16="http://schemas.microsoft.com/office/drawing/2014/main" id="{05B1BF2D-95ED-4B5E-A600-448435A538E1}"/>
              </a:ext>
            </a:extLst>
          </p:cNvPr>
          <p:cNvGrpSpPr>
            <a:grpSpLocks noChangeAspect="1"/>
          </p:cNvGrpSpPr>
          <p:nvPr userDrawn="1"/>
        </p:nvGrpSpPr>
        <p:grpSpPr bwMode="auto">
          <a:xfrm>
            <a:off x="91989" y="158751"/>
            <a:ext cx="1773767" cy="683683"/>
            <a:chOff x="79" y="75"/>
            <a:chExt cx="838" cy="323"/>
          </a:xfrm>
          <a:solidFill>
            <a:schemeClr val="accent1"/>
          </a:solidFill>
        </p:grpSpPr>
        <p:sp>
          <p:nvSpPr>
            <p:cNvPr id="18" name="AutoShape 3">
              <a:extLst>
                <a:ext uri="{FF2B5EF4-FFF2-40B4-BE49-F238E27FC236}">
                  <a16:creationId xmlns:a16="http://schemas.microsoft.com/office/drawing/2014/main" id="{61978BD2-C14E-4CFE-993E-343384B567C5}"/>
                </a:ext>
              </a:extLst>
            </p:cNvPr>
            <p:cNvSpPr>
              <a:spLocks noChangeAspect="1" noChangeArrowheads="1" noTextEdit="1"/>
            </p:cNvSpPr>
            <p:nvPr userDrawn="1"/>
          </p:nvSpPr>
          <p:spPr bwMode="auto">
            <a:xfrm>
              <a:off x="79" y="75"/>
              <a:ext cx="838" cy="32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19" name="Freeform 5">
              <a:extLst>
                <a:ext uri="{FF2B5EF4-FFF2-40B4-BE49-F238E27FC236}">
                  <a16:creationId xmlns:a16="http://schemas.microsoft.com/office/drawing/2014/main" id="{99494830-030A-4795-A5CF-E0AD53A1DE10}"/>
                </a:ext>
              </a:extLst>
            </p:cNvPr>
            <p:cNvSpPr>
              <a:spLocks/>
            </p:cNvSpPr>
            <p:nvPr userDrawn="1"/>
          </p:nvSpPr>
          <p:spPr bwMode="auto">
            <a:xfrm>
              <a:off x="159" y="155"/>
              <a:ext cx="163" cy="164"/>
            </a:xfrm>
            <a:custGeom>
              <a:avLst/>
              <a:gdLst>
                <a:gd name="T0" fmla="*/ 920 w 1841"/>
                <a:gd name="T1" fmla="*/ 0 h 1842"/>
                <a:gd name="T2" fmla="*/ 920 w 1841"/>
                <a:gd name="T3" fmla="*/ 0 h 1842"/>
                <a:gd name="T4" fmla="*/ 0 w 1841"/>
                <a:gd name="T5" fmla="*/ 921 h 1842"/>
                <a:gd name="T6" fmla="*/ 0 w 1841"/>
                <a:gd name="T7" fmla="*/ 921 h 1842"/>
                <a:gd name="T8" fmla="*/ 188 w 1841"/>
                <a:gd name="T9" fmla="*/ 1479 h 1842"/>
                <a:gd name="T10" fmla="*/ 954 w 1841"/>
                <a:gd name="T11" fmla="*/ 473 h 1842"/>
                <a:gd name="T12" fmla="*/ 871 w 1841"/>
                <a:gd name="T13" fmla="*/ 474 h 1842"/>
                <a:gd name="T14" fmla="*/ 790 w 1841"/>
                <a:gd name="T15" fmla="*/ 473 h 1842"/>
                <a:gd name="T16" fmla="*/ 561 w 1841"/>
                <a:gd name="T17" fmla="*/ 491 h 1842"/>
                <a:gd name="T18" fmla="*/ 467 w 1841"/>
                <a:gd name="T19" fmla="*/ 530 h 1842"/>
                <a:gd name="T20" fmla="*/ 374 w 1841"/>
                <a:gd name="T21" fmla="*/ 641 h 1842"/>
                <a:gd name="T22" fmla="*/ 361 w 1841"/>
                <a:gd name="T23" fmla="*/ 665 h 1842"/>
                <a:gd name="T24" fmla="*/ 316 w 1841"/>
                <a:gd name="T25" fmla="*/ 655 h 1842"/>
                <a:gd name="T26" fmla="*/ 392 w 1841"/>
                <a:gd name="T27" fmla="*/ 366 h 1842"/>
                <a:gd name="T28" fmla="*/ 1350 w 1841"/>
                <a:gd name="T29" fmla="*/ 366 h 1842"/>
                <a:gd name="T30" fmla="*/ 588 w 1841"/>
                <a:gd name="T31" fmla="*/ 1385 h 1842"/>
                <a:gd name="T32" fmla="*/ 698 w 1841"/>
                <a:gd name="T33" fmla="*/ 1379 h 1842"/>
                <a:gd name="T34" fmla="*/ 839 w 1841"/>
                <a:gd name="T35" fmla="*/ 1385 h 1842"/>
                <a:gd name="T36" fmla="*/ 974 w 1841"/>
                <a:gd name="T37" fmla="*/ 1393 h 1842"/>
                <a:gd name="T38" fmla="*/ 1095 w 1841"/>
                <a:gd name="T39" fmla="*/ 1397 h 1842"/>
                <a:gd name="T40" fmla="*/ 1255 w 1841"/>
                <a:gd name="T41" fmla="*/ 1378 h 1842"/>
                <a:gd name="T42" fmla="*/ 1354 w 1841"/>
                <a:gd name="T43" fmla="*/ 1331 h 1842"/>
                <a:gd name="T44" fmla="*/ 1491 w 1841"/>
                <a:gd name="T45" fmla="*/ 1175 h 1842"/>
                <a:gd name="T46" fmla="*/ 1504 w 1841"/>
                <a:gd name="T47" fmla="*/ 1147 h 1842"/>
                <a:gd name="T48" fmla="*/ 1545 w 1841"/>
                <a:gd name="T49" fmla="*/ 1158 h 1842"/>
                <a:gd name="T50" fmla="*/ 1505 w 1841"/>
                <a:gd name="T51" fmla="*/ 1273 h 1842"/>
                <a:gd name="T52" fmla="*/ 1354 w 1841"/>
                <a:gd name="T53" fmla="*/ 1472 h 1842"/>
                <a:gd name="T54" fmla="*/ 1131 w 1841"/>
                <a:gd name="T55" fmla="*/ 1546 h 1842"/>
                <a:gd name="T56" fmla="*/ 1118 w 1841"/>
                <a:gd name="T57" fmla="*/ 1546 h 1842"/>
                <a:gd name="T58" fmla="*/ 854 w 1841"/>
                <a:gd name="T59" fmla="*/ 1518 h 1842"/>
                <a:gd name="T60" fmla="*/ 544 w 1841"/>
                <a:gd name="T61" fmla="*/ 1486 h 1842"/>
                <a:gd name="T62" fmla="*/ 394 w 1841"/>
                <a:gd name="T63" fmla="*/ 1498 h 1842"/>
                <a:gd name="T64" fmla="*/ 242 w 1841"/>
                <a:gd name="T65" fmla="*/ 1543 h 1842"/>
                <a:gd name="T66" fmla="*/ 920 w 1841"/>
                <a:gd name="T67" fmla="*/ 1842 h 1842"/>
                <a:gd name="T68" fmla="*/ 1841 w 1841"/>
                <a:gd name="T69" fmla="*/ 921 h 1842"/>
                <a:gd name="T70" fmla="*/ 920 w 1841"/>
                <a:gd name="T71" fmla="*/ 0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41" h="1842">
                  <a:moveTo>
                    <a:pt x="920" y="0"/>
                  </a:moveTo>
                  <a:lnTo>
                    <a:pt x="920" y="0"/>
                  </a:lnTo>
                  <a:cubicBezTo>
                    <a:pt x="412" y="0"/>
                    <a:pt x="0" y="412"/>
                    <a:pt x="0" y="921"/>
                  </a:cubicBezTo>
                  <a:lnTo>
                    <a:pt x="0" y="921"/>
                  </a:lnTo>
                  <a:cubicBezTo>
                    <a:pt x="0" y="1131"/>
                    <a:pt x="70" y="1325"/>
                    <a:pt x="188" y="1479"/>
                  </a:cubicBezTo>
                  <a:lnTo>
                    <a:pt x="954" y="473"/>
                  </a:lnTo>
                  <a:lnTo>
                    <a:pt x="871" y="474"/>
                  </a:lnTo>
                  <a:lnTo>
                    <a:pt x="790" y="473"/>
                  </a:lnTo>
                  <a:cubicBezTo>
                    <a:pt x="702" y="473"/>
                    <a:pt x="620" y="480"/>
                    <a:pt x="561" y="491"/>
                  </a:cubicBezTo>
                  <a:cubicBezTo>
                    <a:pt x="525" y="498"/>
                    <a:pt x="493" y="511"/>
                    <a:pt x="467" y="530"/>
                  </a:cubicBezTo>
                  <a:cubicBezTo>
                    <a:pt x="437" y="551"/>
                    <a:pt x="399" y="596"/>
                    <a:pt x="374" y="641"/>
                  </a:cubicBezTo>
                  <a:cubicBezTo>
                    <a:pt x="371" y="646"/>
                    <a:pt x="367" y="654"/>
                    <a:pt x="361" y="665"/>
                  </a:cubicBezTo>
                  <a:lnTo>
                    <a:pt x="316" y="655"/>
                  </a:lnTo>
                  <a:lnTo>
                    <a:pt x="392" y="366"/>
                  </a:lnTo>
                  <a:lnTo>
                    <a:pt x="1350" y="366"/>
                  </a:lnTo>
                  <a:lnTo>
                    <a:pt x="588" y="1385"/>
                  </a:lnTo>
                  <a:cubicBezTo>
                    <a:pt x="638" y="1380"/>
                    <a:pt x="658" y="1379"/>
                    <a:pt x="698" y="1379"/>
                  </a:cubicBezTo>
                  <a:cubicBezTo>
                    <a:pt x="729" y="1379"/>
                    <a:pt x="776" y="1381"/>
                    <a:pt x="839" y="1385"/>
                  </a:cubicBezTo>
                  <a:lnTo>
                    <a:pt x="974" y="1393"/>
                  </a:lnTo>
                  <a:cubicBezTo>
                    <a:pt x="1023" y="1396"/>
                    <a:pt x="1064" y="1397"/>
                    <a:pt x="1095" y="1397"/>
                  </a:cubicBezTo>
                  <a:cubicBezTo>
                    <a:pt x="1165" y="1397"/>
                    <a:pt x="1210" y="1392"/>
                    <a:pt x="1255" y="1378"/>
                  </a:cubicBezTo>
                  <a:cubicBezTo>
                    <a:pt x="1290" y="1367"/>
                    <a:pt x="1324" y="1351"/>
                    <a:pt x="1354" y="1331"/>
                  </a:cubicBezTo>
                  <a:cubicBezTo>
                    <a:pt x="1408" y="1293"/>
                    <a:pt x="1460" y="1234"/>
                    <a:pt x="1491" y="1175"/>
                  </a:cubicBezTo>
                  <a:cubicBezTo>
                    <a:pt x="1494" y="1169"/>
                    <a:pt x="1499" y="1160"/>
                    <a:pt x="1504" y="1147"/>
                  </a:cubicBezTo>
                  <a:lnTo>
                    <a:pt x="1545" y="1158"/>
                  </a:lnTo>
                  <a:cubicBezTo>
                    <a:pt x="1532" y="1208"/>
                    <a:pt x="1525" y="1228"/>
                    <a:pt x="1505" y="1273"/>
                  </a:cubicBezTo>
                  <a:cubicBezTo>
                    <a:pt x="1464" y="1364"/>
                    <a:pt x="1417" y="1425"/>
                    <a:pt x="1354" y="1472"/>
                  </a:cubicBezTo>
                  <a:cubicBezTo>
                    <a:pt x="1289" y="1521"/>
                    <a:pt x="1216" y="1544"/>
                    <a:pt x="1131" y="1546"/>
                  </a:cubicBezTo>
                  <a:lnTo>
                    <a:pt x="1118" y="1546"/>
                  </a:lnTo>
                  <a:cubicBezTo>
                    <a:pt x="1055" y="1546"/>
                    <a:pt x="1006" y="1541"/>
                    <a:pt x="854" y="1518"/>
                  </a:cubicBezTo>
                  <a:cubicBezTo>
                    <a:pt x="700" y="1494"/>
                    <a:pt x="621" y="1486"/>
                    <a:pt x="544" y="1486"/>
                  </a:cubicBezTo>
                  <a:cubicBezTo>
                    <a:pt x="492" y="1486"/>
                    <a:pt x="444" y="1490"/>
                    <a:pt x="394" y="1498"/>
                  </a:cubicBezTo>
                  <a:cubicBezTo>
                    <a:pt x="328" y="1508"/>
                    <a:pt x="302" y="1516"/>
                    <a:pt x="242" y="1543"/>
                  </a:cubicBezTo>
                  <a:cubicBezTo>
                    <a:pt x="410" y="1727"/>
                    <a:pt x="652" y="1842"/>
                    <a:pt x="920" y="1842"/>
                  </a:cubicBezTo>
                  <a:cubicBezTo>
                    <a:pt x="1429" y="1842"/>
                    <a:pt x="1841" y="1430"/>
                    <a:pt x="1841" y="921"/>
                  </a:cubicBezTo>
                  <a:cubicBezTo>
                    <a:pt x="1841" y="412"/>
                    <a:pt x="1429" y="0"/>
                    <a:pt x="9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3" name="Freeform 6">
              <a:extLst>
                <a:ext uri="{FF2B5EF4-FFF2-40B4-BE49-F238E27FC236}">
                  <a16:creationId xmlns:a16="http://schemas.microsoft.com/office/drawing/2014/main" id="{AFD6C351-0AEC-4718-B212-E56D67B8DD74}"/>
                </a:ext>
              </a:extLst>
            </p:cNvPr>
            <p:cNvSpPr>
              <a:spLocks/>
            </p:cNvSpPr>
            <p:nvPr userDrawn="1"/>
          </p:nvSpPr>
          <p:spPr bwMode="auto">
            <a:xfrm>
              <a:off x="642" y="197"/>
              <a:ext cx="25" cy="80"/>
            </a:xfrm>
            <a:custGeom>
              <a:avLst/>
              <a:gdLst>
                <a:gd name="T0" fmla="*/ 232 w 288"/>
                <a:gd name="T1" fmla="*/ 166 h 897"/>
                <a:gd name="T2" fmla="*/ 232 w 288"/>
                <a:gd name="T3" fmla="*/ 166 h 897"/>
                <a:gd name="T4" fmla="*/ 241 w 288"/>
                <a:gd name="T5" fmla="*/ 65 h 897"/>
                <a:gd name="T6" fmla="*/ 254 w 288"/>
                <a:gd name="T7" fmla="*/ 37 h 897"/>
                <a:gd name="T8" fmla="*/ 288 w 288"/>
                <a:gd name="T9" fmla="*/ 0 h 897"/>
                <a:gd name="T10" fmla="*/ 0 w 288"/>
                <a:gd name="T11" fmla="*/ 0 h 897"/>
                <a:gd name="T12" fmla="*/ 33 w 288"/>
                <a:gd name="T13" fmla="*/ 35 h 897"/>
                <a:gd name="T14" fmla="*/ 47 w 288"/>
                <a:gd name="T15" fmla="*/ 64 h 897"/>
                <a:gd name="T16" fmla="*/ 56 w 288"/>
                <a:gd name="T17" fmla="*/ 161 h 897"/>
                <a:gd name="T18" fmla="*/ 56 w 288"/>
                <a:gd name="T19" fmla="*/ 215 h 897"/>
                <a:gd name="T20" fmla="*/ 56 w 288"/>
                <a:gd name="T21" fmla="*/ 752 h 897"/>
                <a:gd name="T22" fmla="*/ 42 w 288"/>
                <a:gd name="T23" fmla="*/ 839 h 897"/>
                <a:gd name="T24" fmla="*/ 28 w 288"/>
                <a:gd name="T25" fmla="*/ 865 h 897"/>
                <a:gd name="T26" fmla="*/ 1 w 288"/>
                <a:gd name="T27" fmla="*/ 897 h 897"/>
                <a:gd name="T28" fmla="*/ 285 w 288"/>
                <a:gd name="T29" fmla="*/ 897 h 897"/>
                <a:gd name="T30" fmla="*/ 258 w 288"/>
                <a:gd name="T31" fmla="*/ 865 h 897"/>
                <a:gd name="T32" fmla="*/ 243 w 288"/>
                <a:gd name="T33" fmla="*/ 838 h 897"/>
                <a:gd name="T34" fmla="*/ 231 w 288"/>
                <a:gd name="T35" fmla="*/ 759 h 897"/>
                <a:gd name="T36" fmla="*/ 231 w 288"/>
                <a:gd name="T37" fmla="*/ 218 h 897"/>
                <a:gd name="T38" fmla="*/ 232 w 288"/>
                <a:gd name="T39" fmla="*/ 16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897">
                  <a:moveTo>
                    <a:pt x="232" y="166"/>
                  </a:moveTo>
                  <a:lnTo>
                    <a:pt x="232" y="166"/>
                  </a:lnTo>
                  <a:cubicBezTo>
                    <a:pt x="232" y="106"/>
                    <a:pt x="233" y="89"/>
                    <a:pt x="241" y="65"/>
                  </a:cubicBezTo>
                  <a:cubicBezTo>
                    <a:pt x="244" y="55"/>
                    <a:pt x="248" y="46"/>
                    <a:pt x="254" y="37"/>
                  </a:cubicBezTo>
                  <a:cubicBezTo>
                    <a:pt x="263" y="22"/>
                    <a:pt x="270" y="14"/>
                    <a:pt x="288" y="0"/>
                  </a:cubicBezTo>
                  <a:lnTo>
                    <a:pt x="0" y="0"/>
                  </a:lnTo>
                  <a:cubicBezTo>
                    <a:pt x="18" y="16"/>
                    <a:pt x="24" y="22"/>
                    <a:pt x="33" y="35"/>
                  </a:cubicBezTo>
                  <a:cubicBezTo>
                    <a:pt x="39" y="44"/>
                    <a:pt x="44" y="54"/>
                    <a:pt x="47" y="64"/>
                  </a:cubicBezTo>
                  <a:cubicBezTo>
                    <a:pt x="53" y="86"/>
                    <a:pt x="56" y="108"/>
                    <a:pt x="56" y="161"/>
                  </a:cubicBezTo>
                  <a:cubicBezTo>
                    <a:pt x="56" y="188"/>
                    <a:pt x="56" y="206"/>
                    <a:pt x="56" y="215"/>
                  </a:cubicBezTo>
                  <a:lnTo>
                    <a:pt x="56" y="752"/>
                  </a:lnTo>
                  <a:cubicBezTo>
                    <a:pt x="56" y="784"/>
                    <a:pt x="51" y="817"/>
                    <a:pt x="42" y="839"/>
                  </a:cubicBezTo>
                  <a:cubicBezTo>
                    <a:pt x="39" y="848"/>
                    <a:pt x="34" y="857"/>
                    <a:pt x="28" y="865"/>
                  </a:cubicBezTo>
                  <a:cubicBezTo>
                    <a:pt x="21" y="875"/>
                    <a:pt x="16" y="880"/>
                    <a:pt x="1" y="897"/>
                  </a:cubicBezTo>
                  <a:lnTo>
                    <a:pt x="285" y="897"/>
                  </a:lnTo>
                  <a:cubicBezTo>
                    <a:pt x="271" y="885"/>
                    <a:pt x="266" y="879"/>
                    <a:pt x="258" y="865"/>
                  </a:cubicBezTo>
                  <a:cubicBezTo>
                    <a:pt x="252" y="856"/>
                    <a:pt x="247" y="847"/>
                    <a:pt x="243" y="838"/>
                  </a:cubicBezTo>
                  <a:cubicBezTo>
                    <a:pt x="236" y="817"/>
                    <a:pt x="231" y="787"/>
                    <a:pt x="231" y="759"/>
                  </a:cubicBezTo>
                  <a:lnTo>
                    <a:pt x="231" y="218"/>
                  </a:lnTo>
                  <a:lnTo>
                    <a:pt x="232" y="1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4" name="Freeform 7">
              <a:extLst>
                <a:ext uri="{FF2B5EF4-FFF2-40B4-BE49-F238E27FC236}">
                  <a16:creationId xmlns:a16="http://schemas.microsoft.com/office/drawing/2014/main" id="{56568706-5A7A-49F9-8069-77AFE558A19D}"/>
                </a:ext>
              </a:extLst>
            </p:cNvPr>
            <p:cNvSpPr>
              <a:spLocks/>
            </p:cNvSpPr>
            <p:nvPr userDrawn="1"/>
          </p:nvSpPr>
          <p:spPr bwMode="auto">
            <a:xfrm>
              <a:off x="761" y="197"/>
              <a:ext cx="77" cy="80"/>
            </a:xfrm>
            <a:custGeom>
              <a:avLst/>
              <a:gdLst>
                <a:gd name="T0" fmla="*/ 810 w 869"/>
                <a:gd name="T1" fmla="*/ 165 h 897"/>
                <a:gd name="T2" fmla="*/ 810 w 869"/>
                <a:gd name="T3" fmla="*/ 165 h 897"/>
                <a:gd name="T4" fmla="*/ 819 w 869"/>
                <a:gd name="T5" fmla="*/ 70 h 897"/>
                <a:gd name="T6" fmla="*/ 834 w 869"/>
                <a:gd name="T7" fmla="*/ 37 h 897"/>
                <a:gd name="T8" fmla="*/ 869 w 869"/>
                <a:gd name="T9" fmla="*/ 0 h 897"/>
                <a:gd name="T10" fmla="*/ 576 w 869"/>
                <a:gd name="T11" fmla="*/ 0 h 897"/>
                <a:gd name="T12" fmla="*/ 609 w 869"/>
                <a:gd name="T13" fmla="*/ 36 h 897"/>
                <a:gd name="T14" fmla="*/ 624 w 869"/>
                <a:gd name="T15" fmla="*/ 67 h 897"/>
                <a:gd name="T16" fmla="*/ 634 w 869"/>
                <a:gd name="T17" fmla="*/ 162 h 897"/>
                <a:gd name="T18" fmla="*/ 634 w 869"/>
                <a:gd name="T19" fmla="*/ 379 h 897"/>
                <a:gd name="T20" fmla="*/ 232 w 869"/>
                <a:gd name="T21" fmla="*/ 379 h 897"/>
                <a:gd name="T22" fmla="*/ 232 w 869"/>
                <a:gd name="T23" fmla="*/ 216 h 897"/>
                <a:gd name="T24" fmla="*/ 234 w 869"/>
                <a:gd name="T25" fmla="*/ 109 h 897"/>
                <a:gd name="T26" fmla="*/ 241 w 869"/>
                <a:gd name="T27" fmla="*/ 70 h 897"/>
                <a:gd name="T28" fmla="*/ 278 w 869"/>
                <a:gd name="T29" fmla="*/ 9 h 897"/>
                <a:gd name="T30" fmla="*/ 288 w 869"/>
                <a:gd name="T31" fmla="*/ 0 h 897"/>
                <a:gd name="T32" fmla="*/ 1 w 869"/>
                <a:gd name="T33" fmla="*/ 0 h 897"/>
                <a:gd name="T34" fmla="*/ 30 w 869"/>
                <a:gd name="T35" fmla="*/ 34 h 897"/>
                <a:gd name="T36" fmla="*/ 46 w 869"/>
                <a:gd name="T37" fmla="*/ 64 h 897"/>
                <a:gd name="T38" fmla="*/ 56 w 869"/>
                <a:gd name="T39" fmla="*/ 159 h 897"/>
                <a:gd name="T40" fmla="*/ 57 w 869"/>
                <a:gd name="T41" fmla="*/ 216 h 897"/>
                <a:gd name="T42" fmla="*/ 57 w 869"/>
                <a:gd name="T43" fmla="*/ 707 h 897"/>
                <a:gd name="T44" fmla="*/ 53 w 869"/>
                <a:gd name="T45" fmla="*/ 802 h 897"/>
                <a:gd name="T46" fmla="*/ 44 w 869"/>
                <a:gd name="T47" fmla="*/ 838 h 897"/>
                <a:gd name="T48" fmla="*/ 9 w 869"/>
                <a:gd name="T49" fmla="*/ 888 h 897"/>
                <a:gd name="T50" fmla="*/ 0 w 869"/>
                <a:gd name="T51" fmla="*/ 897 h 897"/>
                <a:gd name="T52" fmla="*/ 284 w 869"/>
                <a:gd name="T53" fmla="*/ 897 h 897"/>
                <a:gd name="T54" fmla="*/ 260 w 869"/>
                <a:gd name="T55" fmla="*/ 867 h 897"/>
                <a:gd name="T56" fmla="*/ 245 w 869"/>
                <a:gd name="T57" fmla="*/ 839 h 897"/>
                <a:gd name="T58" fmla="*/ 232 w 869"/>
                <a:gd name="T59" fmla="*/ 761 h 897"/>
                <a:gd name="T60" fmla="*/ 232 w 869"/>
                <a:gd name="T61" fmla="*/ 707 h 897"/>
                <a:gd name="T62" fmla="*/ 232 w 869"/>
                <a:gd name="T63" fmla="*/ 490 h 897"/>
                <a:gd name="T64" fmla="*/ 634 w 869"/>
                <a:gd name="T65" fmla="*/ 490 h 897"/>
                <a:gd name="T66" fmla="*/ 634 w 869"/>
                <a:gd name="T67" fmla="*/ 709 h 897"/>
                <a:gd name="T68" fmla="*/ 630 w 869"/>
                <a:gd name="T69" fmla="*/ 800 h 897"/>
                <a:gd name="T70" fmla="*/ 620 w 869"/>
                <a:gd name="T71" fmla="*/ 838 h 897"/>
                <a:gd name="T72" fmla="*/ 588 w 869"/>
                <a:gd name="T73" fmla="*/ 885 h 897"/>
                <a:gd name="T74" fmla="*/ 575 w 869"/>
                <a:gd name="T75" fmla="*/ 897 h 897"/>
                <a:gd name="T76" fmla="*/ 862 w 869"/>
                <a:gd name="T77" fmla="*/ 897 h 897"/>
                <a:gd name="T78" fmla="*/ 838 w 869"/>
                <a:gd name="T79" fmla="*/ 869 h 897"/>
                <a:gd name="T80" fmla="*/ 821 w 869"/>
                <a:gd name="T81" fmla="*/ 839 h 897"/>
                <a:gd name="T82" fmla="*/ 810 w 869"/>
                <a:gd name="T83" fmla="*/ 758 h 897"/>
                <a:gd name="T84" fmla="*/ 809 w 869"/>
                <a:gd name="T85" fmla="*/ 712 h 897"/>
                <a:gd name="T86" fmla="*/ 810 w 869"/>
                <a:gd name="T87" fmla="*/ 218 h 897"/>
                <a:gd name="T88" fmla="*/ 810 w 869"/>
                <a:gd name="T89" fmla="*/ 16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9" h="897">
                  <a:moveTo>
                    <a:pt x="810" y="165"/>
                  </a:moveTo>
                  <a:lnTo>
                    <a:pt x="810" y="165"/>
                  </a:lnTo>
                  <a:cubicBezTo>
                    <a:pt x="810" y="125"/>
                    <a:pt x="813" y="95"/>
                    <a:pt x="819" y="70"/>
                  </a:cubicBezTo>
                  <a:cubicBezTo>
                    <a:pt x="823" y="59"/>
                    <a:pt x="828" y="48"/>
                    <a:pt x="834" y="37"/>
                  </a:cubicBezTo>
                  <a:cubicBezTo>
                    <a:pt x="843" y="22"/>
                    <a:pt x="850" y="14"/>
                    <a:pt x="869" y="0"/>
                  </a:cubicBezTo>
                  <a:lnTo>
                    <a:pt x="576" y="0"/>
                  </a:lnTo>
                  <a:cubicBezTo>
                    <a:pt x="593" y="14"/>
                    <a:pt x="599" y="20"/>
                    <a:pt x="609" y="36"/>
                  </a:cubicBezTo>
                  <a:cubicBezTo>
                    <a:pt x="616" y="46"/>
                    <a:pt x="621" y="57"/>
                    <a:pt x="624" y="67"/>
                  </a:cubicBezTo>
                  <a:cubicBezTo>
                    <a:pt x="631" y="88"/>
                    <a:pt x="634" y="115"/>
                    <a:pt x="634" y="162"/>
                  </a:cubicBezTo>
                  <a:lnTo>
                    <a:pt x="634" y="379"/>
                  </a:lnTo>
                  <a:lnTo>
                    <a:pt x="232" y="379"/>
                  </a:lnTo>
                  <a:lnTo>
                    <a:pt x="232" y="216"/>
                  </a:lnTo>
                  <a:cubicBezTo>
                    <a:pt x="232" y="166"/>
                    <a:pt x="232" y="134"/>
                    <a:pt x="234" y="109"/>
                  </a:cubicBezTo>
                  <a:cubicBezTo>
                    <a:pt x="235" y="95"/>
                    <a:pt x="238" y="82"/>
                    <a:pt x="241" y="70"/>
                  </a:cubicBezTo>
                  <a:cubicBezTo>
                    <a:pt x="247" y="51"/>
                    <a:pt x="264" y="24"/>
                    <a:pt x="278" y="9"/>
                  </a:cubicBezTo>
                  <a:cubicBezTo>
                    <a:pt x="280" y="7"/>
                    <a:pt x="284" y="4"/>
                    <a:pt x="288" y="0"/>
                  </a:cubicBezTo>
                  <a:lnTo>
                    <a:pt x="1" y="0"/>
                  </a:lnTo>
                  <a:cubicBezTo>
                    <a:pt x="18" y="17"/>
                    <a:pt x="23" y="23"/>
                    <a:pt x="30" y="34"/>
                  </a:cubicBezTo>
                  <a:cubicBezTo>
                    <a:pt x="37" y="43"/>
                    <a:pt x="42" y="53"/>
                    <a:pt x="46" y="64"/>
                  </a:cubicBezTo>
                  <a:cubicBezTo>
                    <a:pt x="53" y="87"/>
                    <a:pt x="55" y="100"/>
                    <a:pt x="56" y="159"/>
                  </a:cubicBezTo>
                  <a:lnTo>
                    <a:pt x="57" y="216"/>
                  </a:lnTo>
                  <a:lnTo>
                    <a:pt x="57" y="707"/>
                  </a:lnTo>
                  <a:cubicBezTo>
                    <a:pt x="57" y="757"/>
                    <a:pt x="56" y="779"/>
                    <a:pt x="53" y="802"/>
                  </a:cubicBezTo>
                  <a:cubicBezTo>
                    <a:pt x="51" y="814"/>
                    <a:pt x="48" y="825"/>
                    <a:pt x="44" y="838"/>
                  </a:cubicBezTo>
                  <a:cubicBezTo>
                    <a:pt x="37" y="857"/>
                    <a:pt x="26" y="872"/>
                    <a:pt x="9" y="888"/>
                  </a:cubicBezTo>
                  <a:cubicBezTo>
                    <a:pt x="7" y="890"/>
                    <a:pt x="4" y="893"/>
                    <a:pt x="0" y="897"/>
                  </a:cubicBezTo>
                  <a:lnTo>
                    <a:pt x="284" y="897"/>
                  </a:lnTo>
                  <a:cubicBezTo>
                    <a:pt x="271" y="884"/>
                    <a:pt x="267" y="878"/>
                    <a:pt x="260" y="867"/>
                  </a:cubicBezTo>
                  <a:cubicBezTo>
                    <a:pt x="254" y="859"/>
                    <a:pt x="249" y="849"/>
                    <a:pt x="245" y="839"/>
                  </a:cubicBezTo>
                  <a:cubicBezTo>
                    <a:pt x="236" y="815"/>
                    <a:pt x="233" y="799"/>
                    <a:pt x="232" y="761"/>
                  </a:cubicBezTo>
                  <a:cubicBezTo>
                    <a:pt x="232" y="741"/>
                    <a:pt x="232" y="724"/>
                    <a:pt x="232" y="707"/>
                  </a:cubicBezTo>
                  <a:lnTo>
                    <a:pt x="232" y="490"/>
                  </a:lnTo>
                  <a:lnTo>
                    <a:pt x="634" y="490"/>
                  </a:lnTo>
                  <a:lnTo>
                    <a:pt x="634" y="709"/>
                  </a:lnTo>
                  <a:cubicBezTo>
                    <a:pt x="634" y="757"/>
                    <a:pt x="633" y="775"/>
                    <a:pt x="630" y="800"/>
                  </a:cubicBezTo>
                  <a:cubicBezTo>
                    <a:pt x="628" y="813"/>
                    <a:pt x="625" y="826"/>
                    <a:pt x="620" y="838"/>
                  </a:cubicBezTo>
                  <a:cubicBezTo>
                    <a:pt x="613" y="855"/>
                    <a:pt x="603" y="871"/>
                    <a:pt x="588" y="885"/>
                  </a:cubicBezTo>
                  <a:cubicBezTo>
                    <a:pt x="585" y="888"/>
                    <a:pt x="581" y="892"/>
                    <a:pt x="575" y="897"/>
                  </a:cubicBezTo>
                  <a:lnTo>
                    <a:pt x="862" y="897"/>
                  </a:lnTo>
                  <a:cubicBezTo>
                    <a:pt x="850" y="885"/>
                    <a:pt x="846" y="880"/>
                    <a:pt x="838" y="869"/>
                  </a:cubicBezTo>
                  <a:cubicBezTo>
                    <a:pt x="831" y="859"/>
                    <a:pt x="825" y="849"/>
                    <a:pt x="821" y="839"/>
                  </a:cubicBezTo>
                  <a:cubicBezTo>
                    <a:pt x="813" y="818"/>
                    <a:pt x="811" y="803"/>
                    <a:pt x="810" y="758"/>
                  </a:cubicBezTo>
                  <a:cubicBezTo>
                    <a:pt x="809" y="732"/>
                    <a:pt x="809" y="717"/>
                    <a:pt x="809" y="712"/>
                  </a:cubicBezTo>
                  <a:lnTo>
                    <a:pt x="810" y="218"/>
                  </a:lnTo>
                  <a:lnTo>
                    <a:pt x="810" y="16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5" name="Freeform 8">
              <a:extLst>
                <a:ext uri="{FF2B5EF4-FFF2-40B4-BE49-F238E27FC236}">
                  <a16:creationId xmlns:a16="http://schemas.microsoft.com/office/drawing/2014/main" id="{22BAD130-06B7-4B98-A7FA-9C49C61A4814}"/>
                </a:ext>
              </a:extLst>
            </p:cNvPr>
            <p:cNvSpPr>
              <a:spLocks noEditPoints="1"/>
            </p:cNvSpPr>
            <p:nvPr userDrawn="1"/>
          </p:nvSpPr>
          <p:spPr bwMode="auto">
            <a:xfrm>
              <a:off x="562" y="197"/>
              <a:ext cx="73" cy="80"/>
            </a:xfrm>
            <a:custGeom>
              <a:avLst/>
              <a:gdLst>
                <a:gd name="T0" fmla="*/ 408 w 822"/>
                <a:gd name="T1" fmla="*/ 395 h 897"/>
                <a:gd name="T2" fmla="*/ 408 w 822"/>
                <a:gd name="T3" fmla="*/ 395 h 897"/>
                <a:gd name="T4" fmla="*/ 295 w 822"/>
                <a:gd name="T5" fmla="*/ 431 h 897"/>
                <a:gd name="T6" fmla="*/ 248 w 822"/>
                <a:gd name="T7" fmla="*/ 435 h 897"/>
                <a:gd name="T8" fmla="*/ 233 w 822"/>
                <a:gd name="T9" fmla="*/ 435 h 897"/>
                <a:gd name="T10" fmla="*/ 233 w 822"/>
                <a:gd name="T11" fmla="*/ 103 h 897"/>
                <a:gd name="T12" fmla="*/ 257 w 822"/>
                <a:gd name="T13" fmla="*/ 102 h 897"/>
                <a:gd name="T14" fmla="*/ 378 w 822"/>
                <a:gd name="T15" fmla="*/ 117 h 897"/>
                <a:gd name="T16" fmla="*/ 439 w 822"/>
                <a:gd name="T17" fmla="*/ 149 h 897"/>
                <a:gd name="T18" fmla="*/ 485 w 822"/>
                <a:gd name="T19" fmla="*/ 260 h 897"/>
                <a:gd name="T20" fmla="*/ 450 w 822"/>
                <a:gd name="T21" fmla="*/ 361 h 897"/>
                <a:gd name="T22" fmla="*/ 408 w 822"/>
                <a:gd name="T23" fmla="*/ 395 h 897"/>
                <a:gd name="T24" fmla="*/ 408 w 822"/>
                <a:gd name="T25" fmla="*/ 395 h 897"/>
                <a:gd name="T26" fmla="*/ 750 w 822"/>
                <a:gd name="T27" fmla="*/ 835 h 897"/>
                <a:gd name="T28" fmla="*/ 750 w 822"/>
                <a:gd name="T29" fmla="*/ 835 h 897"/>
                <a:gd name="T30" fmla="*/ 649 w 822"/>
                <a:gd name="T31" fmla="*/ 730 h 897"/>
                <a:gd name="T32" fmla="*/ 583 w 822"/>
                <a:gd name="T33" fmla="*/ 657 h 897"/>
                <a:gd name="T34" fmla="*/ 444 w 822"/>
                <a:gd name="T35" fmla="*/ 493 h 897"/>
                <a:gd name="T36" fmla="*/ 484 w 822"/>
                <a:gd name="T37" fmla="*/ 480 h 897"/>
                <a:gd name="T38" fmla="*/ 594 w 822"/>
                <a:gd name="T39" fmla="*/ 416 h 897"/>
                <a:gd name="T40" fmla="*/ 665 w 822"/>
                <a:gd name="T41" fmla="*/ 313 h 897"/>
                <a:gd name="T42" fmla="*/ 676 w 822"/>
                <a:gd name="T43" fmla="*/ 244 h 897"/>
                <a:gd name="T44" fmla="*/ 615 w 822"/>
                <a:gd name="T45" fmla="*/ 97 h 897"/>
                <a:gd name="T46" fmla="*/ 470 w 822"/>
                <a:gd name="T47" fmla="*/ 16 h 897"/>
                <a:gd name="T48" fmla="*/ 316 w 822"/>
                <a:gd name="T49" fmla="*/ 1 h 897"/>
                <a:gd name="T50" fmla="*/ 233 w 822"/>
                <a:gd name="T51" fmla="*/ 0 h 897"/>
                <a:gd name="T52" fmla="*/ 2 w 822"/>
                <a:gd name="T53" fmla="*/ 0 h 897"/>
                <a:gd name="T54" fmla="*/ 32 w 822"/>
                <a:gd name="T55" fmla="*/ 33 h 897"/>
                <a:gd name="T56" fmla="*/ 47 w 822"/>
                <a:gd name="T57" fmla="*/ 66 h 897"/>
                <a:gd name="T58" fmla="*/ 56 w 822"/>
                <a:gd name="T59" fmla="*/ 162 h 897"/>
                <a:gd name="T60" fmla="*/ 56 w 822"/>
                <a:gd name="T61" fmla="*/ 750 h 897"/>
                <a:gd name="T62" fmla="*/ 46 w 822"/>
                <a:gd name="T63" fmla="*/ 837 h 897"/>
                <a:gd name="T64" fmla="*/ 31 w 822"/>
                <a:gd name="T65" fmla="*/ 865 h 897"/>
                <a:gd name="T66" fmla="*/ 0 w 822"/>
                <a:gd name="T67" fmla="*/ 897 h 897"/>
                <a:gd name="T68" fmla="*/ 285 w 822"/>
                <a:gd name="T69" fmla="*/ 897 h 897"/>
                <a:gd name="T70" fmla="*/ 261 w 822"/>
                <a:gd name="T71" fmla="*/ 867 h 897"/>
                <a:gd name="T72" fmla="*/ 245 w 822"/>
                <a:gd name="T73" fmla="*/ 840 h 897"/>
                <a:gd name="T74" fmla="*/ 234 w 822"/>
                <a:gd name="T75" fmla="*/ 757 h 897"/>
                <a:gd name="T76" fmla="*/ 233 w 822"/>
                <a:gd name="T77" fmla="*/ 712 h 897"/>
                <a:gd name="T78" fmla="*/ 233 w 822"/>
                <a:gd name="T79" fmla="*/ 510 h 897"/>
                <a:gd name="T80" fmla="*/ 400 w 822"/>
                <a:gd name="T81" fmla="*/ 710 h 897"/>
                <a:gd name="T82" fmla="*/ 437 w 822"/>
                <a:gd name="T83" fmla="*/ 753 h 897"/>
                <a:gd name="T84" fmla="*/ 481 w 822"/>
                <a:gd name="T85" fmla="*/ 801 h 897"/>
                <a:gd name="T86" fmla="*/ 573 w 822"/>
                <a:gd name="T87" fmla="*/ 875 h 897"/>
                <a:gd name="T88" fmla="*/ 662 w 822"/>
                <a:gd name="T89" fmla="*/ 896 h 897"/>
                <a:gd name="T90" fmla="*/ 709 w 822"/>
                <a:gd name="T91" fmla="*/ 897 h 897"/>
                <a:gd name="T92" fmla="*/ 822 w 822"/>
                <a:gd name="T93" fmla="*/ 897 h 897"/>
                <a:gd name="T94" fmla="*/ 789 w 822"/>
                <a:gd name="T95" fmla="*/ 870 h 897"/>
                <a:gd name="T96" fmla="*/ 750 w 822"/>
                <a:gd name="T97" fmla="*/ 83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897">
                  <a:moveTo>
                    <a:pt x="408" y="395"/>
                  </a:moveTo>
                  <a:lnTo>
                    <a:pt x="408" y="395"/>
                  </a:lnTo>
                  <a:cubicBezTo>
                    <a:pt x="376" y="413"/>
                    <a:pt x="343" y="424"/>
                    <a:pt x="295" y="431"/>
                  </a:cubicBezTo>
                  <a:cubicBezTo>
                    <a:pt x="277" y="434"/>
                    <a:pt x="261" y="435"/>
                    <a:pt x="248" y="435"/>
                  </a:cubicBezTo>
                  <a:cubicBezTo>
                    <a:pt x="243" y="435"/>
                    <a:pt x="240" y="435"/>
                    <a:pt x="233" y="435"/>
                  </a:cubicBezTo>
                  <a:lnTo>
                    <a:pt x="233" y="103"/>
                  </a:lnTo>
                  <a:cubicBezTo>
                    <a:pt x="245" y="102"/>
                    <a:pt x="249" y="102"/>
                    <a:pt x="257" y="102"/>
                  </a:cubicBezTo>
                  <a:cubicBezTo>
                    <a:pt x="301" y="102"/>
                    <a:pt x="344" y="107"/>
                    <a:pt x="378" y="117"/>
                  </a:cubicBezTo>
                  <a:cubicBezTo>
                    <a:pt x="400" y="123"/>
                    <a:pt x="421" y="135"/>
                    <a:pt x="439" y="149"/>
                  </a:cubicBezTo>
                  <a:cubicBezTo>
                    <a:pt x="469" y="175"/>
                    <a:pt x="485" y="213"/>
                    <a:pt x="485" y="260"/>
                  </a:cubicBezTo>
                  <a:cubicBezTo>
                    <a:pt x="485" y="300"/>
                    <a:pt x="473" y="335"/>
                    <a:pt x="450" y="361"/>
                  </a:cubicBezTo>
                  <a:cubicBezTo>
                    <a:pt x="439" y="373"/>
                    <a:pt x="425" y="385"/>
                    <a:pt x="408" y="395"/>
                  </a:cubicBezTo>
                  <a:lnTo>
                    <a:pt x="408" y="395"/>
                  </a:lnTo>
                  <a:close/>
                  <a:moveTo>
                    <a:pt x="750" y="835"/>
                  </a:moveTo>
                  <a:lnTo>
                    <a:pt x="750" y="835"/>
                  </a:lnTo>
                  <a:cubicBezTo>
                    <a:pt x="719" y="804"/>
                    <a:pt x="691" y="776"/>
                    <a:pt x="649" y="730"/>
                  </a:cubicBezTo>
                  <a:cubicBezTo>
                    <a:pt x="622" y="702"/>
                    <a:pt x="600" y="677"/>
                    <a:pt x="583" y="657"/>
                  </a:cubicBezTo>
                  <a:lnTo>
                    <a:pt x="444" y="493"/>
                  </a:lnTo>
                  <a:cubicBezTo>
                    <a:pt x="461" y="488"/>
                    <a:pt x="468" y="486"/>
                    <a:pt x="484" y="480"/>
                  </a:cubicBezTo>
                  <a:cubicBezTo>
                    <a:pt x="529" y="462"/>
                    <a:pt x="563" y="442"/>
                    <a:pt x="594" y="416"/>
                  </a:cubicBezTo>
                  <a:cubicBezTo>
                    <a:pt x="630" y="386"/>
                    <a:pt x="652" y="354"/>
                    <a:pt x="665" y="313"/>
                  </a:cubicBezTo>
                  <a:cubicBezTo>
                    <a:pt x="673" y="291"/>
                    <a:pt x="676" y="267"/>
                    <a:pt x="676" y="244"/>
                  </a:cubicBezTo>
                  <a:cubicBezTo>
                    <a:pt x="676" y="189"/>
                    <a:pt x="656" y="139"/>
                    <a:pt x="615" y="97"/>
                  </a:cubicBezTo>
                  <a:cubicBezTo>
                    <a:pt x="579" y="58"/>
                    <a:pt x="527" y="30"/>
                    <a:pt x="470" y="16"/>
                  </a:cubicBezTo>
                  <a:cubicBezTo>
                    <a:pt x="429" y="7"/>
                    <a:pt x="388" y="2"/>
                    <a:pt x="316" y="1"/>
                  </a:cubicBezTo>
                  <a:cubicBezTo>
                    <a:pt x="289" y="0"/>
                    <a:pt x="262" y="0"/>
                    <a:pt x="233" y="0"/>
                  </a:cubicBezTo>
                  <a:lnTo>
                    <a:pt x="2" y="0"/>
                  </a:lnTo>
                  <a:cubicBezTo>
                    <a:pt x="17" y="14"/>
                    <a:pt x="23" y="20"/>
                    <a:pt x="32" y="33"/>
                  </a:cubicBezTo>
                  <a:cubicBezTo>
                    <a:pt x="38" y="44"/>
                    <a:pt x="44" y="55"/>
                    <a:pt x="47" y="66"/>
                  </a:cubicBezTo>
                  <a:cubicBezTo>
                    <a:pt x="53" y="86"/>
                    <a:pt x="56" y="114"/>
                    <a:pt x="56" y="162"/>
                  </a:cubicBezTo>
                  <a:lnTo>
                    <a:pt x="56" y="750"/>
                  </a:lnTo>
                  <a:cubicBezTo>
                    <a:pt x="56" y="793"/>
                    <a:pt x="53" y="817"/>
                    <a:pt x="46" y="837"/>
                  </a:cubicBezTo>
                  <a:cubicBezTo>
                    <a:pt x="42" y="847"/>
                    <a:pt x="37" y="857"/>
                    <a:pt x="31" y="865"/>
                  </a:cubicBezTo>
                  <a:cubicBezTo>
                    <a:pt x="22" y="876"/>
                    <a:pt x="17" y="882"/>
                    <a:pt x="0" y="897"/>
                  </a:cubicBezTo>
                  <a:lnTo>
                    <a:pt x="285" y="897"/>
                  </a:lnTo>
                  <a:cubicBezTo>
                    <a:pt x="273" y="883"/>
                    <a:pt x="269" y="878"/>
                    <a:pt x="261" y="867"/>
                  </a:cubicBezTo>
                  <a:cubicBezTo>
                    <a:pt x="254" y="859"/>
                    <a:pt x="249" y="850"/>
                    <a:pt x="245" y="840"/>
                  </a:cubicBezTo>
                  <a:cubicBezTo>
                    <a:pt x="238" y="820"/>
                    <a:pt x="234" y="799"/>
                    <a:pt x="234" y="757"/>
                  </a:cubicBezTo>
                  <a:cubicBezTo>
                    <a:pt x="234" y="744"/>
                    <a:pt x="233" y="729"/>
                    <a:pt x="233" y="712"/>
                  </a:cubicBezTo>
                  <a:lnTo>
                    <a:pt x="233" y="510"/>
                  </a:lnTo>
                  <a:lnTo>
                    <a:pt x="400" y="710"/>
                  </a:lnTo>
                  <a:cubicBezTo>
                    <a:pt x="407" y="719"/>
                    <a:pt x="420" y="734"/>
                    <a:pt x="437" y="753"/>
                  </a:cubicBezTo>
                  <a:cubicBezTo>
                    <a:pt x="456" y="775"/>
                    <a:pt x="471" y="791"/>
                    <a:pt x="481" y="801"/>
                  </a:cubicBezTo>
                  <a:cubicBezTo>
                    <a:pt x="513" y="835"/>
                    <a:pt x="543" y="859"/>
                    <a:pt x="573" y="875"/>
                  </a:cubicBezTo>
                  <a:cubicBezTo>
                    <a:pt x="599" y="889"/>
                    <a:pt x="624" y="895"/>
                    <a:pt x="662" y="896"/>
                  </a:cubicBezTo>
                  <a:cubicBezTo>
                    <a:pt x="677" y="897"/>
                    <a:pt x="693" y="897"/>
                    <a:pt x="709" y="897"/>
                  </a:cubicBezTo>
                  <a:lnTo>
                    <a:pt x="822" y="897"/>
                  </a:lnTo>
                  <a:cubicBezTo>
                    <a:pt x="807" y="885"/>
                    <a:pt x="800" y="880"/>
                    <a:pt x="789" y="870"/>
                  </a:cubicBezTo>
                  <a:cubicBezTo>
                    <a:pt x="777" y="859"/>
                    <a:pt x="764" y="848"/>
                    <a:pt x="750" y="8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6" name="Freeform 9">
              <a:extLst>
                <a:ext uri="{FF2B5EF4-FFF2-40B4-BE49-F238E27FC236}">
                  <a16:creationId xmlns:a16="http://schemas.microsoft.com/office/drawing/2014/main" id="{B2C92086-E8E6-45CA-9506-D04030249072}"/>
                </a:ext>
              </a:extLst>
            </p:cNvPr>
            <p:cNvSpPr>
              <a:spLocks/>
            </p:cNvSpPr>
            <p:nvPr userDrawn="1"/>
          </p:nvSpPr>
          <p:spPr bwMode="auto">
            <a:xfrm>
              <a:off x="679" y="195"/>
              <a:ext cx="68" cy="84"/>
            </a:xfrm>
            <a:custGeom>
              <a:avLst/>
              <a:gdLst>
                <a:gd name="T0" fmla="*/ 668 w 765"/>
                <a:gd name="T1" fmla="*/ 790 h 944"/>
                <a:gd name="T2" fmla="*/ 668 w 765"/>
                <a:gd name="T3" fmla="*/ 790 h 944"/>
                <a:gd name="T4" fmla="*/ 512 w 765"/>
                <a:gd name="T5" fmla="*/ 823 h 944"/>
                <a:gd name="T6" fmla="*/ 281 w 765"/>
                <a:gd name="T7" fmla="*/ 727 h 944"/>
                <a:gd name="T8" fmla="*/ 191 w 765"/>
                <a:gd name="T9" fmla="*/ 478 h 944"/>
                <a:gd name="T10" fmla="*/ 272 w 765"/>
                <a:gd name="T11" fmla="*/ 236 h 944"/>
                <a:gd name="T12" fmla="*/ 354 w 765"/>
                <a:gd name="T13" fmla="*/ 170 h 944"/>
                <a:gd name="T14" fmla="*/ 527 w 765"/>
                <a:gd name="T15" fmla="*/ 126 h 944"/>
                <a:gd name="T16" fmla="*/ 688 w 765"/>
                <a:gd name="T17" fmla="*/ 159 h 944"/>
                <a:gd name="T18" fmla="*/ 762 w 765"/>
                <a:gd name="T19" fmla="*/ 199 h 944"/>
                <a:gd name="T20" fmla="*/ 762 w 765"/>
                <a:gd name="T21" fmla="*/ 31 h 944"/>
                <a:gd name="T22" fmla="*/ 708 w 765"/>
                <a:gd name="T23" fmla="*/ 16 h 944"/>
                <a:gd name="T24" fmla="*/ 550 w 765"/>
                <a:gd name="T25" fmla="*/ 0 h 944"/>
                <a:gd name="T26" fmla="*/ 294 w 765"/>
                <a:gd name="T27" fmla="*/ 48 h 944"/>
                <a:gd name="T28" fmla="*/ 171 w 765"/>
                <a:gd name="T29" fmla="*/ 121 h 944"/>
                <a:gd name="T30" fmla="*/ 0 w 765"/>
                <a:gd name="T31" fmla="*/ 488 h 944"/>
                <a:gd name="T32" fmla="*/ 164 w 765"/>
                <a:gd name="T33" fmla="*/ 840 h 944"/>
                <a:gd name="T34" fmla="*/ 499 w 765"/>
                <a:gd name="T35" fmla="*/ 944 h 944"/>
                <a:gd name="T36" fmla="*/ 751 w 765"/>
                <a:gd name="T37" fmla="*/ 904 h 944"/>
                <a:gd name="T38" fmla="*/ 765 w 765"/>
                <a:gd name="T39" fmla="*/ 899 h 944"/>
                <a:gd name="T40" fmla="*/ 765 w 765"/>
                <a:gd name="T41" fmla="*/ 736 h 944"/>
                <a:gd name="T42" fmla="*/ 724 w 765"/>
                <a:gd name="T43" fmla="*/ 763 h 944"/>
                <a:gd name="T44" fmla="*/ 668 w 765"/>
                <a:gd name="T45" fmla="*/ 79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5" h="944">
                  <a:moveTo>
                    <a:pt x="668" y="790"/>
                  </a:moveTo>
                  <a:lnTo>
                    <a:pt x="668" y="790"/>
                  </a:lnTo>
                  <a:cubicBezTo>
                    <a:pt x="614" y="813"/>
                    <a:pt x="565" y="823"/>
                    <a:pt x="512" y="823"/>
                  </a:cubicBezTo>
                  <a:cubicBezTo>
                    <a:pt x="419" y="823"/>
                    <a:pt x="340" y="790"/>
                    <a:pt x="281" y="727"/>
                  </a:cubicBezTo>
                  <a:cubicBezTo>
                    <a:pt x="222" y="664"/>
                    <a:pt x="191" y="577"/>
                    <a:pt x="191" y="478"/>
                  </a:cubicBezTo>
                  <a:cubicBezTo>
                    <a:pt x="191" y="384"/>
                    <a:pt x="220" y="297"/>
                    <a:pt x="272" y="236"/>
                  </a:cubicBezTo>
                  <a:cubicBezTo>
                    <a:pt x="295" y="210"/>
                    <a:pt x="322" y="187"/>
                    <a:pt x="354" y="170"/>
                  </a:cubicBezTo>
                  <a:cubicBezTo>
                    <a:pt x="404" y="141"/>
                    <a:pt x="463" y="126"/>
                    <a:pt x="527" y="126"/>
                  </a:cubicBezTo>
                  <a:cubicBezTo>
                    <a:pt x="582" y="126"/>
                    <a:pt x="635" y="137"/>
                    <a:pt x="688" y="159"/>
                  </a:cubicBezTo>
                  <a:cubicBezTo>
                    <a:pt x="722" y="172"/>
                    <a:pt x="734" y="179"/>
                    <a:pt x="762" y="199"/>
                  </a:cubicBezTo>
                  <a:lnTo>
                    <a:pt x="762" y="31"/>
                  </a:lnTo>
                  <a:cubicBezTo>
                    <a:pt x="740" y="24"/>
                    <a:pt x="731" y="21"/>
                    <a:pt x="708" y="16"/>
                  </a:cubicBezTo>
                  <a:cubicBezTo>
                    <a:pt x="656" y="5"/>
                    <a:pt x="606" y="0"/>
                    <a:pt x="550" y="0"/>
                  </a:cubicBezTo>
                  <a:cubicBezTo>
                    <a:pt x="453" y="0"/>
                    <a:pt x="370" y="16"/>
                    <a:pt x="294" y="48"/>
                  </a:cubicBezTo>
                  <a:cubicBezTo>
                    <a:pt x="249" y="67"/>
                    <a:pt x="207" y="91"/>
                    <a:pt x="171" y="121"/>
                  </a:cubicBezTo>
                  <a:cubicBezTo>
                    <a:pt x="60" y="210"/>
                    <a:pt x="0" y="339"/>
                    <a:pt x="0" y="488"/>
                  </a:cubicBezTo>
                  <a:cubicBezTo>
                    <a:pt x="0" y="632"/>
                    <a:pt x="58" y="756"/>
                    <a:pt x="164" y="840"/>
                  </a:cubicBezTo>
                  <a:cubicBezTo>
                    <a:pt x="251" y="909"/>
                    <a:pt x="364" y="944"/>
                    <a:pt x="499" y="944"/>
                  </a:cubicBezTo>
                  <a:cubicBezTo>
                    <a:pt x="583" y="944"/>
                    <a:pt x="662" y="931"/>
                    <a:pt x="751" y="904"/>
                  </a:cubicBezTo>
                  <a:cubicBezTo>
                    <a:pt x="754" y="903"/>
                    <a:pt x="759" y="901"/>
                    <a:pt x="765" y="899"/>
                  </a:cubicBezTo>
                  <a:lnTo>
                    <a:pt x="765" y="736"/>
                  </a:lnTo>
                  <a:cubicBezTo>
                    <a:pt x="744" y="750"/>
                    <a:pt x="736" y="755"/>
                    <a:pt x="724" y="763"/>
                  </a:cubicBezTo>
                  <a:cubicBezTo>
                    <a:pt x="706" y="773"/>
                    <a:pt x="688" y="782"/>
                    <a:pt x="668" y="7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7" name="Freeform 10">
              <a:extLst>
                <a:ext uri="{FF2B5EF4-FFF2-40B4-BE49-F238E27FC236}">
                  <a16:creationId xmlns:a16="http://schemas.microsoft.com/office/drawing/2014/main" id="{FE1CCEE6-F726-450D-ABC0-E20EBB9E50B1}"/>
                </a:ext>
              </a:extLst>
            </p:cNvPr>
            <p:cNvSpPr>
              <a:spLocks/>
            </p:cNvSpPr>
            <p:nvPr userDrawn="1"/>
          </p:nvSpPr>
          <p:spPr bwMode="auto">
            <a:xfrm>
              <a:off x="471" y="197"/>
              <a:ext cx="78" cy="83"/>
            </a:xfrm>
            <a:custGeom>
              <a:avLst/>
              <a:gdLst>
                <a:gd name="T0" fmla="*/ 631 w 885"/>
                <a:gd name="T1" fmla="*/ 34 h 927"/>
                <a:gd name="T2" fmla="*/ 631 w 885"/>
                <a:gd name="T3" fmla="*/ 34 h 927"/>
                <a:gd name="T4" fmla="*/ 644 w 885"/>
                <a:gd name="T5" fmla="*/ 65 h 927"/>
                <a:gd name="T6" fmla="*/ 652 w 885"/>
                <a:gd name="T7" fmla="*/ 159 h 927"/>
                <a:gd name="T8" fmla="*/ 652 w 885"/>
                <a:gd name="T9" fmla="*/ 500 h 927"/>
                <a:gd name="T10" fmla="*/ 645 w 885"/>
                <a:gd name="T11" fmla="*/ 652 h 927"/>
                <a:gd name="T12" fmla="*/ 621 w 885"/>
                <a:gd name="T13" fmla="*/ 718 h 927"/>
                <a:gd name="T14" fmla="*/ 511 w 885"/>
                <a:gd name="T15" fmla="*/ 795 h 927"/>
                <a:gd name="T16" fmla="*/ 448 w 885"/>
                <a:gd name="T17" fmla="*/ 802 h 927"/>
                <a:gd name="T18" fmla="*/ 272 w 885"/>
                <a:gd name="T19" fmla="*/ 726 h 927"/>
                <a:gd name="T20" fmla="*/ 240 w 885"/>
                <a:gd name="T21" fmla="*/ 562 h 927"/>
                <a:gd name="T22" fmla="*/ 239 w 885"/>
                <a:gd name="T23" fmla="*/ 488 h 927"/>
                <a:gd name="T24" fmla="*/ 239 w 885"/>
                <a:gd name="T25" fmla="*/ 218 h 927"/>
                <a:gd name="T26" fmla="*/ 241 w 885"/>
                <a:gd name="T27" fmla="*/ 114 h 927"/>
                <a:gd name="T28" fmla="*/ 248 w 885"/>
                <a:gd name="T29" fmla="*/ 73 h 927"/>
                <a:gd name="T30" fmla="*/ 284 w 885"/>
                <a:gd name="T31" fmla="*/ 8 h 927"/>
                <a:gd name="T32" fmla="*/ 291 w 885"/>
                <a:gd name="T33" fmla="*/ 0 h 927"/>
                <a:gd name="T34" fmla="*/ 0 w 885"/>
                <a:gd name="T35" fmla="*/ 0 h 927"/>
                <a:gd name="T36" fmla="*/ 32 w 885"/>
                <a:gd name="T37" fmla="*/ 36 h 927"/>
                <a:gd name="T38" fmla="*/ 45 w 885"/>
                <a:gd name="T39" fmla="*/ 67 h 927"/>
                <a:gd name="T40" fmla="*/ 51 w 885"/>
                <a:gd name="T41" fmla="*/ 109 h 927"/>
                <a:gd name="T42" fmla="*/ 51 w 885"/>
                <a:gd name="T43" fmla="*/ 164 h 927"/>
                <a:gd name="T44" fmla="*/ 52 w 885"/>
                <a:gd name="T45" fmla="*/ 216 h 927"/>
                <a:gd name="T46" fmla="*/ 52 w 885"/>
                <a:gd name="T47" fmla="*/ 473 h 927"/>
                <a:gd name="T48" fmla="*/ 55 w 885"/>
                <a:gd name="T49" fmla="*/ 631 h 927"/>
                <a:gd name="T50" fmla="*/ 118 w 885"/>
                <a:gd name="T51" fmla="*/ 796 h 927"/>
                <a:gd name="T52" fmla="*/ 435 w 885"/>
                <a:gd name="T53" fmla="*/ 927 h 927"/>
                <a:gd name="T54" fmla="*/ 615 w 885"/>
                <a:gd name="T55" fmla="*/ 898 h 927"/>
                <a:gd name="T56" fmla="*/ 748 w 885"/>
                <a:gd name="T57" fmla="*/ 809 h 927"/>
                <a:gd name="T58" fmla="*/ 821 w 885"/>
                <a:gd name="T59" fmla="*/ 635 h 927"/>
                <a:gd name="T60" fmla="*/ 827 w 885"/>
                <a:gd name="T61" fmla="*/ 475 h 927"/>
                <a:gd name="T62" fmla="*/ 827 w 885"/>
                <a:gd name="T63" fmla="*/ 217 h 927"/>
                <a:gd name="T64" fmla="*/ 826 w 885"/>
                <a:gd name="T65" fmla="*/ 165 h 927"/>
                <a:gd name="T66" fmla="*/ 826 w 885"/>
                <a:gd name="T67" fmla="*/ 155 h 927"/>
                <a:gd name="T68" fmla="*/ 834 w 885"/>
                <a:gd name="T69" fmla="*/ 73 h 927"/>
                <a:gd name="T70" fmla="*/ 849 w 885"/>
                <a:gd name="T71" fmla="*/ 37 h 927"/>
                <a:gd name="T72" fmla="*/ 885 w 885"/>
                <a:gd name="T73" fmla="*/ 0 h 927"/>
                <a:gd name="T74" fmla="*/ 599 w 885"/>
                <a:gd name="T75" fmla="*/ 0 h 927"/>
                <a:gd name="T76" fmla="*/ 631 w 885"/>
                <a:gd name="T77" fmla="*/ 34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5" h="927">
                  <a:moveTo>
                    <a:pt x="631" y="34"/>
                  </a:moveTo>
                  <a:lnTo>
                    <a:pt x="631" y="34"/>
                  </a:lnTo>
                  <a:cubicBezTo>
                    <a:pt x="637" y="44"/>
                    <a:pt x="641" y="54"/>
                    <a:pt x="644" y="65"/>
                  </a:cubicBezTo>
                  <a:cubicBezTo>
                    <a:pt x="650" y="87"/>
                    <a:pt x="652" y="108"/>
                    <a:pt x="652" y="159"/>
                  </a:cubicBezTo>
                  <a:lnTo>
                    <a:pt x="652" y="500"/>
                  </a:lnTo>
                  <a:cubicBezTo>
                    <a:pt x="652" y="573"/>
                    <a:pt x="650" y="617"/>
                    <a:pt x="645" y="652"/>
                  </a:cubicBezTo>
                  <a:cubicBezTo>
                    <a:pt x="641" y="676"/>
                    <a:pt x="633" y="698"/>
                    <a:pt x="621" y="718"/>
                  </a:cubicBezTo>
                  <a:cubicBezTo>
                    <a:pt x="600" y="755"/>
                    <a:pt x="559" y="783"/>
                    <a:pt x="511" y="795"/>
                  </a:cubicBezTo>
                  <a:cubicBezTo>
                    <a:pt x="492" y="800"/>
                    <a:pt x="470" y="802"/>
                    <a:pt x="448" y="802"/>
                  </a:cubicBezTo>
                  <a:cubicBezTo>
                    <a:pt x="371" y="802"/>
                    <a:pt x="304" y="773"/>
                    <a:pt x="272" y="726"/>
                  </a:cubicBezTo>
                  <a:cubicBezTo>
                    <a:pt x="248" y="690"/>
                    <a:pt x="241" y="655"/>
                    <a:pt x="240" y="562"/>
                  </a:cubicBezTo>
                  <a:lnTo>
                    <a:pt x="239" y="488"/>
                  </a:lnTo>
                  <a:lnTo>
                    <a:pt x="239" y="218"/>
                  </a:lnTo>
                  <a:cubicBezTo>
                    <a:pt x="239" y="166"/>
                    <a:pt x="239" y="141"/>
                    <a:pt x="241" y="114"/>
                  </a:cubicBezTo>
                  <a:cubicBezTo>
                    <a:pt x="242" y="98"/>
                    <a:pt x="244" y="84"/>
                    <a:pt x="248" y="73"/>
                  </a:cubicBezTo>
                  <a:cubicBezTo>
                    <a:pt x="254" y="52"/>
                    <a:pt x="269" y="25"/>
                    <a:pt x="284" y="8"/>
                  </a:cubicBezTo>
                  <a:cubicBezTo>
                    <a:pt x="286" y="6"/>
                    <a:pt x="288" y="3"/>
                    <a:pt x="291" y="0"/>
                  </a:cubicBezTo>
                  <a:lnTo>
                    <a:pt x="0" y="0"/>
                  </a:lnTo>
                  <a:cubicBezTo>
                    <a:pt x="18" y="15"/>
                    <a:pt x="23" y="21"/>
                    <a:pt x="32" y="36"/>
                  </a:cubicBezTo>
                  <a:cubicBezTo>
                    <a:pt x="38" y="46"/>
                    <a:pt x="42" y="56"/>
                    <a:pt x="45" y="67"/>
                  </a:cubicBezTo>
                  <a:cubicBezTo>
                    <a:pt x="48" y="81"/>
                    <a:pt x="51" y="95"/>
                    <a:pt x="51" y="109"/>
                  </a:cubicBezTo>
                  <a:cubicBezTo>
                    <a:pt x="51" y="117"/>
                    <a:pt x="51" y="136"/>
                    <a:pt x="51" y="164"/>
                  </a:cubicBezTo>
                  <a:lnTo>
                    <a:pt x="52" y="216"/>
                  </a:lnTo>
                  <a:lnTo>
                    <a:pt x="52" y="473"/>
                  </a:lnTo>
                  <a:cubicBezTo>
                    <a:pt x="52" y="569"/>
                    <a:pt x="52" y="593"/>
                    <a:pt x="55" y="631"/>
                  </a:cubicBezTo>
                  <a:cubicBezTo>
                    <a:pt x="61" y="697"/>
                    <a:pt x="80" y="749"/>
                    <a:pt x="118" y="796"/>
                  </a:cubicBezTo>
                  <a:cubicBezTo>
                    <a:pt x="186" y="882"/>
                    <a:pt x="295" y="927"/>
                    <a:pt x="435" y="927"/>
                  </a:cubicBezTo>
                  <a:cubicBezTo>
                    <a:pt x="501" y="927"/>
                    <a:pt x="566" y="916"/>
                    <a:pt x="615" y="898"/>
                  </a:cubicBezTo>
                  <a:cubicBezTo>
                    <a:pt x="667" y="879"/>
                    <a:pt x="714" y="847"/>
                    <a:pt x="748" y="809"/>
                  </a:cubicBezTo>
                  <a:cubicBezTo>
                    <a:pt x="790" y="763"/>
                    <a:pt x="814" y="705"/>
                    <a:pt x="821" y="635"/>
                  </a:cubicBezTo>
                  <a:cubicBezTo>
                    <a:pt x="825" y="594"/>
                    <a:pt x="827" y="545"/>
                    <a:pt x="827" y="475"/>
                  </a:cubicBezTo>
                  <a:lnTo>
                    <a:pt x="827" y="217"/>
                  </a:lnTo>
                  <a:lnTo>
                    <a:pt x="826" y="165"/>
                  </a:lnTo>
                  <a:lnTo>
                    <a:pt x="826" y="155"/>
                  </a:lnTo>
                  <a:cubicBezTo>
                    <a:pt x="826" y="117"/>
                    <a:pt x="828" y="94"/>
                    <a:pt x="834" y="73"/>
                  </a:cubicBezTo>
                  <a:cubicBezTo>
                    <a:pt x="837" y="61"/>
                    <a:pt x="842" y="48"/>
                    <a:pt x="849" y="37"/>
                  </a:cubicBezTo>
                  <a:cubicBezTo>
                    <a:pt x="859" y="22"/>
                    <a:pt x="866" y="15"/>
                    <a:pt x="885" y="0"/>
                  </a:cubicBezTo>
                  <a:lnTo>
                    <a:pt x="599" y="0"/>
                  </a:lnTo>
                  <a:cubicBezTo>
                    <a:pt x="616" y="13"/>
                    <a:pt x="622" y="20"/>
                    <a:pt x="631"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8" name="Freeform 11">
              <a:extLst>
                <a:ext uri="{FF2B5EF4-FFF2-40B4-BE49-F238E27FC236}">
                  <a16:creationId xmlns:a16="http://schemas.microsoft.com/office/drawing/2014/main" id="{8D864EA5-0584-4248-9E81-C942B0F5C06B}"/>
                </a:ext>
              </a:extLst>
            </p:cNvPr>
            <p:cNvSpPr>
              <a:spLocks/>
            </p:cNvSpPr>
            <p:nvPr userDrawn="1"/>
          </p:nvSpPr>
          <p:spPr bwMode="auto">
            <a:xfrm>
              <a:off x="381" y="197"/>
              <a:ext cx="77" cy="80"/>
            </a:xfrm>
            <a:custGeom>
              <a:avLst/>
              <a:gdLst>
                <a:gd name="T0" fmla="*/ 654 w 865"/>
                <a:gd name="T1" fmla="*/ 771 h 897"/>
                <a:gd name="T2" fmla="*/ 654 w 865"/>
                <a:gd name="T3" fmla="*/ 771 h 897"/>
                <a:gd name="T4" fmla="*/ 513 w 865"/>
                <a:gd name="T5" fmla="*/ 783 h 897"/>
                <a:gd name="T6" fmla="*/ 442 w 865"/>
                <a:gd name="T7" fmla="*/ 784 h 897"/>
                <a:gd name="T8" fmla="*/ 304 w 865"/>
                <a:gd name="T9" fmla="*/ 784 h 897"/>
                <a:gd name="T10" fmla="*/ 848 w 865"/>
                <a:gd name="T11" fmla="*/ 0 h 897"/>
                <a:gd name="T12" fmla="*/ 143 w 865"/>
                <a:gd name="T13" fmla="*/ 0 h 897"/>
                <a:gd name="T14" fmla="*/ 56 w 865"/>
                <a:gd name="T15" fmla="*/ 191 h 897"/>
                <a:gd name="T16" fmla="*/ 121 w 865"/>
                <a:gd name="T17" fmla="*/ 160 h 897"/>
                <a:gd name="T18" fmla="*/ 248 w 865"/>
                <a:gd name="T19" fmla="*/ 124 h 897"/>
                <a:gd name="T20" fmla="*/ 375 w 865"/>
                <a:gd name="T21" fmla="*/ 113 h 897"/>
                <a:gd name="T22" fmla="*/ 444 w 865"/>
                <a:gd name="T23" fmla="*/ 112 h 897"/>
                <a:gd name="T24" fmla="*/ 549 w 865"/>
                <a:gd name="T25" fmla="*/ 112 h 897"/>
                <a:gd name="T26" fmla="*/ 0 w 865"/>
                <a:gd name="T27" fmla="*/ 897 h 897"/>
                <a:gd name="T28" fmla="*/ 776 w 865"/>
                <a:gd name="T29" fmla="*/ 897 h 897"/>
                <a:gd name="T30" fmla="*/ 865 w 865"/>
                <a:gd name="T31" fmla="*/ 692 h 897"/>
                <a:gd name="T32" fmla="*/ 800 w 865"/>
                <a:gd name="T33" fmla="*/ 727 h 897"/>
                <a:gd name="T34" fmla="*/ 654 w 865"/>
                <a:gd name="T35" fmla="*/ 771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 h="897">
                  <a:moveTo>
                    <a:pt x="654" y="771"/>
                  </a:moveTo>
                  <a:lnTo>
                    <a:pt x="654" y="771"/>
                  </a:lnTo>
                  <a:cubicBezTo>
                    <a:pt x="614" y="778"/>
                    <a:pt x="569" y="782"/>
                    <a:pt x="513" y="783"/>
                  </a:cubicBezTo>
                  <a:cubicBezTo>
                    <a:pt x="495" y="784"/>
                    <a:pt x="471" y="784"/>
                    <a:pt x="442" y="784"/>
                  </a:cubicBezTo>
                  <a:lnTo>
                    <a:pt x="304" y="784"/>
                  </a:lnTo>
                  <a:lnTo>
                    <a:pt x="848" y="0"/>
                  </a:lnTo>
                  <a:lnTo>
                    <a:pt x="143" y="0"/>
                  </a:lnTo>
                  <a:lnTo>
                    <a:pt x="56" y="191"/>
                  </a:lnTo>
                  <a:cubicBezTo>
                    <a:pt x="85" y="176"/>
                    <a:pt x="96" y="170"/>
                    <a:pt x="121" y="160"/>
                  </a:cubicBezTo>
                  <a:cubicBezTo>
                    <a:pt x="162" y="144"/>
                    <a:pt x="206" y="132"/>
                    <a:pt x="248" y="124"/>
                  </a:cubicBezTo>
                  <a:cubicBezTo>
                    <a:pt x="285" y="118"/>
                    <a:pt x="319" y="115"/>
                    <a:pt x="375" y="113"/>
                  </a:cubicBezTo>
                  <a:cubicBezTo>
                    <a:pt x="400" y="112"/>
                    <a:pt x="423" y="112"/>
                    <a:pt x="444" y="112"/>
                  </a:cubicBezTo>
                  <a:lnTo>
                    <a:pt x="549" y="112"/>
                  </a:lnTo>
                  <a:lnTo>
                    <a:pt x="0" y="897"/>
                  </a:lnTo>
                  <a:lnTo>
                    <a:pt x="776" y="897"/>
                  </a:lnTo>
                  <a:lnTo>
                    <a:pt x="865" y="692"/>
                  </a:lnTo>
                  <a:cubicBezTo>
                    <a:pt x="834" y="710"/>
                    <a:pt x="823" y="716"/>
                    <a:pt x="800" y="727"/>
                  </a:cubicBezTo>
                  <a:cubicBezTo>
                    <a:pt x="754" y="747"/>
                    <a:pt x="705" y="762"/>
                    <a:pt x="654" y="7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9" name="Freeform 12">
              <a:extLst>
                <a:ext uri="{FF2B5EF4-FFF2-40B4-BE49-F238E27FC236}">
                  <a16:creationId xmlns:a16="http://schemas.microsoft.com/office/drawing/2014/main" id="{CE6647F2-C75A-4525-AFA2-ABC0D791EB37}"/>
                </a:ext>
              </a:extLst>
            </p:cNvPr>
            <p:cNvSpPr>
              <a:spLocks noEditPoints="1"/>
            </p:cNvSpPr>
            <p:nvPr userDrawn="1"/>
          </p:nvSpPr>
          <p:spPr bwMode="auto">
            <a:xfrm>
              <a:off x="850" y="167"/>
              <a:ext cx="18" cy="18"/>
            </a:xfrm>
            <a:custGeom>
              <a:avLst/>
              <a:gdLst>
                <a:gd name="T0" fmla="*/ 102 w 203"/>
                <a:gd name="T1" fmla="*/ 189 h 203"/>
                <a:gd name="T2" fmla="*/ 102 w 203"/>
                <a:gd name="T3" fmla="*/ 189 h 203"/>
                <a:gd name="T4" fmla="*/ 17 w 203"/>
                <a:gd name="T5" fmla="*/ 102 h 203"/>
                <a:gd name="T6" fmla="*/ 102 w 203"/>
                <a:gd name="T7" fmla="*/ 15 h 203"/>
                <a:gd name="T8" fmla="*/ 187 w 203"/>
                <a:gd name="T9" fmla="*/ 102 h 203"/>
                <a:gd name="T10" fmla="*/ 102 w 203"/>
                <a:gd name="T11" fmla="*/ 189 h 203"/>
                <a:gd name="T12" fmla="*/ 102 w 203"/>
                <a:gd name="T13" fmla="*/ 189 h 203"/>
                <a:gd name="T14" fmla="*/ 102 w 203"/>
                <a:gd name="T15" fmla="*/ 0 h 203"/>
                <a:gd name="T16" fmla="*/ 102 w 203"/>
                <a:gd name="T17" fmla="*/ 0 h 203"/>
                <a:gd name="T18" fmla="*/ 0 w 203"/>
                <a:gd name="T19" fmla="*/ 102 h 203"/>
                <a:gd name="T20" fmla="*/ 102 w 203"/>
                <a:gd name="T21" fmla="*/ 203 h 203"/>
                <a:gd name="T22" fmla="*/ 203 w 203"/>
                <a:gd name="T23" fmla="*/ 102 h 203"/>
                <a:gd name="T24" fmla="*/ 102 w 203"/>
                <a:gd name="T2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203">
                  <a:moveTo>
                    <a:pt x="102" y="189"/>
                  </a:moveTo>
                  <a:lnTo>
                    <a:pt x="102" y="189"/>
                  </a:lnTo>
                  <a:cubicBezTo>
                    <a:pt x="54" y="189"/>
                    <a:pt x="17" y="154"/>
                    <a:pt x="17" y="102"/>
                  </a:cubicBezTo>
                  <a:cubicBezTo>
                    <a:pt x="17" y="50"/>
                    <a:pt x="54" y="15"/>
                    <a:pt x="102" y="15"/>
                  </a:cubicBezTo>
                  <a:cubicBezTo>
                    <a:pt x="150" y="15"/>
                    <a:pt x="187" y="50"/>
                    <a:pt x="187" y="102"/>
                  </a:cubicBezTo>
                  <a:cubicBezTo>
                    <a:pt x="187" y="154"/>
                    <a:pt x="150" y="189"/>
                    <a:pt x="102" y="189"/>
                  </a:cubicBezTo>
                  <a:lnTo>
                    <a:pt x="102" y="189"/>
                  </a:lnTo>
                  <a:close/>
                  <a:moveTo>
                    <a:pt x="102" y="0"/>
                  </a:moveTo>
                  <a:lnTo>
                    <a:pt x="102" y="0"/>
                  </a:lnTo>
                  <a:cubicBezTo>
                    <a:pt x="46" y="0"/>
                    <a:pt x="0" y="42"/>
                    <a:pt x="0" y="102"/>
                  </a:cubicBezTo>
                  <a:cubicBezTo>
                    <a:pt x="0" y="162"/>
                    <a:pt x="46" y="203"/>
                    <a:pt x="102" y="203"/>
                  </a:cubicBezTo>
                  <a:cubicBezTo>
                    <a:pt x="158" y="203"/>
                    <a:pt x="203" y="162"/>
                    <a:pt x="203" y="102"/>
                  </a:cubicBezTo>
                  <a:cubicBezTo>
                    <a:pt x="203" y="42"/>
                    <a:pt x="158" y="0"/>
                    <a:pt x="10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40" name="Freeform 13">
              <a:extLst>
                <a:ext uri="{FF2B5EF4-FFF2-40B4-BE49-F238E27FC236}">
                  <a16:creationId xmlns:a16="http://schemas.microsoft.com/office/drawing/2014/main" id="{F26DFF8E-E308-4585-9B92-AEE54D629F99}"/>
                </a:ext>
              </a:extLst>
            </p:cNvPr>
            <p:cNvSpPr>
              <a:spLocks noEditPoints="1"/>
            </p:cNvSpPr>
            <p:nvPr userDrawn="1"/>
          </p:nvSpPr>
          <p:spPr bwMode="auto">
            <a:xfrm>
              <a:off x="856" y="171"/>
              <a:ext cx="7" cy="9"/>
            </a:xfrm>
            <a:custGeom>
              <a:avLst/>
              <a:gdLst>
                <a:gd name="T0" fmla="*/ 40 w 87"/>
                <a:gd name="T1" fmla="*/ 50 h 107"/>
                <a:gd name="T2" fmla="*/ 40 w 87"/>
                <a:gd name="T3" fmla="*/ 50 h 107"/>
                <a:gd name="T4" fmla="*/ 15 w 87"/>
                <a:gd name="T5" fmla="*/ 50 h 107"/>
                <a:gd name="T6" fmla="*/ 15 w 87"/>
                <a:gd name="T7" fmla="*/ 16 h 107"/>
                <a:gd name="T8" fmla="*/ 38 w 87"/>
                <a:gd name="T9" fmla="*/ 16 h 107"/>
                <a:gd name="T10" fmla="*/ 66 w 87"/>
                <a:gd name="T11" fmla="*/ 33 h 107"/>
                <a:gd name="T12" fmla="*/ 40 w 87"/>
                <a:gd name="T13" fmla="*/ 50 h 107"/>
                <a:gd name="T14" fmla="*/ 40 w 87"/>
                <a:gd name="T15" fmla="*/ 50 h 107"/>
                <a:gd name="T16" fmla="*/ 83 w 87"/>
                <a:gd name="T17" fmla="*/ 33 h 107"/>
                <a:gd name="T18" fmla="*/ 83 w 87"/>
                <a:gd name="T19" fmla="*/ 33 h 107"/>
                <a:gd name="T20" fmla="*/ 32 w 87"/>
                <a:gd name="T21" fmla="*/ 0 h 107"/>
                <a:gd name="T22" fmla="*/ 0 w 87"/>
                <a:gd name="T23" fmla="*/ 0 h 107"/>
                <a:gd name="T24" fmla="*/ 0 w 87"/>
                <a:gd name="T25" fmla="*/ 107 h 107"/>
                <a:gd name="T26" fmla="*/ 15 w 87"/>
                <a:gd name="T27" fmla="*/ 107 h 107"/>
                <a:gd name="T28" fmla="*/ 15 w 87"/>
                <a:gd name="T29" fmla="*/ 66 h 107"/>
                <a:gd name="T30" fmla="*/ 44 w 87"/>
                <a:gd name="T31" fmla="*/ 66 h 107"/>
                <a:gd name="T32" fmla="*/ 46 w 87"/>
                <a:gd name="T33" fmla="*/ 65 h 107"/>
                <a:gd name="T34" fmla="*/ 69 w 87"/>
                <a:gd name="T35" fmla="*/ 107 h 107"/>
                <a:gd name="T36" fmla="*/ 87 w 87"/>
                <a:gd name="T37" fmla="*/ 107 h 107"/>
                <a:gd name="T38" fmla="*/ 62 w 87"/>
                <a:gd name="T39" fmla="*/ 62 h 107"/>
                <a:gd name="T40" fmla="*/ 83 w 87"/>
                <a:gd name="T41"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107">
                  <a:moveTo>
                    <a:pt x="40" y="50"/>
                  </a:moveTo>
                  <a:lnTo>
                    <a:pt x="40" y="50"/>
                  </a:lnTo>
                  <a:lnTo>
                    <a:pt x="15" y="50"/>
                  </a:lnTo>
                  <a:lnTo>
                    <a:pt x="15" y="16"/>
                  </a:lnTo>
                  <a:lnTo>
                    <a:pt x="38" y="16"/>
                  </a:lnTo>
                  <a:cubicBezTo>
                    <a:pt x="54" y="16"/>
                    <a:pt x="66" y="19"/>
                    <a:pt x="66" y="33"/>
                  </a:cubicBezTo>
                  <a:cubicBezTo>
                    <a:pt x="66" y="45"/>
                    <a:pt x="58" y="50"/>
                    <a:pt x="40" y="50"/>
                  </a:cubicBezTo>
                  <a:lnTo>
                    <a:pt x="40" y="50"/>
                  </a:lnTo>
                  <a:close/>
                  <a:moveTo>
                    <a:pt x="83" y="33"/>
                  </a:moveTo>
                  <a:lnTo>
                    <a:pt x="83" y="33"/>
                  </a:lnTo>
                  <a:cubicBezTo>
                    <a:pt x="83" y="5"/>
                    <a:pt x="64" y="0"/>
                    <a:pt x="32" y="0"/>
                  </a:cubicBezTo>
                  <a:lnTo>
                    <a:pt x="0" y="0"/>
                  </a:lnTo>
                  <a:lnTo>
                    <a:pt x="0" y="107"/>
                  </a:lnTo>
                  <a:lnTo>
                    <a:pt x="15" y="107"/>
                  </a:lnTo>
                  <a:lnTo>
                    <a:pt x="15" y="66"/>
                  </a:lnTo>
                  <a:lnTo>
                    <a:pt x="44" y="66"/>
                  </a:lnTo>
                  <a:cubicBezTo>
                    <a:pt x="45" y="66"/>
                    <a:pt x="46" y="66"/>
                    <a:pt x="46" y="65"/>
                  </a:cubicBezTo>
                  <a:lnTo>
                    <a:pt x="69" y="107"/>
                  </a:lnTo>
                  <a:lnTo>
                    <a:pt x="87" y="107"/>
                  </a:lnTo>
                  <a:lnTo>
                    <a:pt x="62" y="62"/>
                  </a:lnTo>
                  <a:cubicBezTo>
                    <a:pt x="76" y="56"/>
                    <a:pt x="83" y="45"/>
                    <a:pt x="83" y="3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grpSp>
      <p:sp>
        <p:nvSpPr>
          <p:cNvPr id="22" name="Slide Number Placeholder 5">
            <a:extLst>
              <a:ext uri="{FF2B5EF4-FFF2-40B4-BE49-F238E27FC236}">
                <a16:creationId xmlns:a16="http://schemas.microsoft.com/office/drawing/2014/main" id="{A6366AC5-1BE2-4E7D-B883-89CAF96B327D}"/>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23" name="Title 1">
            <a:extLst>
              <a:ext uri="{FF2B5EF4-FFF2-40B4-BE49-F238E27FC236}">
                <a16:creationId xmlns:a16="http://schemas.microsoft.com/office/drawing/2014/main" id="{FC885360-8473-4699-801C-9B04E3D233C8}"/>
              </a:ext>
            </a:extLst>
          </p:cNvPr>
          <p:cNvSpPr>
            <a:spLocks noGrp="1"/>
          </p:cNvSpPr>
          <p:nvPr>
            <p:ph type="ctrTitle"/>
          </p:nvPr>
        </p:nvSpPr>
        <p:spPr>
          <a:xfrm>
            <a:off x="250825" y="2490259"/>
            <a:ext cx="6722148" cy="2242079"/>
          </a:xfrm>
        </p:spPr>
        <p:txBody>
          <a:bodyPr anchor="b">
            <a:noAutofit/>
          </a:bodyPr>
          <a:lstStyle>
            <a:lvl1pPr algn="l">
              <a:defRPr sz="3600">
                <a:solidFill>
                  <a:schemeClr val="accent1"/>
                </a:solidFill>
                <a:latin typeface="+mj-lt"/>
                <a:cs typeface="Arial" panose="020B0604020202020204" pitchFamily="34" charset="0"/>
              </a:defRPr>
            </a:lvl1pPr>
          </a:lstStyle>
          <a:p>
            <a:r>
              <a:rPr lang="nl-NL"/>
              <a:t>Klik om stijl te bewerken</a:t>
            </a:r>
            <a:endParaRPr lang="en-US"/>
          </a:p>
        </p:txBody>
      </p:sp>
      <p:sp>
        <p:nvSpPr>
          <p:cNvPr id="24" name="Subtitle 2">
            <a:extLst>
              <a:ext uri="{FF2B5EF4-FFF2-40B4-BE49-F238E27FC236}">
                <a16:creationId xmlns:a16="http://schemas.microsoft.com/office/drawing/2014/main" id="{A57272B1-D4B7-4B27-9A7A-1EB4697DECEC}"/>
              </a:ext>
            </a:extLst>
          </p:cNvPr>
          <p:cNvSpPr>
            <a:spLocks noGrp="1"/>
          </p:cNvSpPr>
          <p:nvPr>
            <p:ph type="subTitle" idx="14"/>
          </p:nvPr>
        </p:nvSpPr>
        <p:spPr>
          <a:xfrm>
            <a:off x="250825" y="4911725"/>
            <a:ext cx="6719063" cy="1283999"/>
          </a:xfrm>
        </p:spPr>
        <p:txBody>
          <a:bodyPr>
            <a:normAutofit/>
          </a:bodyPr>
          <a:lstStyle>
            <a:lvl1pPr marL="0" indent="0" algn="l">
              <a:buNone/>
              <a:defRPr sz="2000">
                <a:solidFill>
                  <a:schemeClr val="accent1"/>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Tree>
    <p:extLst>
      <p:ext uri="{BB962C8B-B14F-4D97-AF65-F5344CB8AC3E}">
        <p14:creationId xmlns:p14="http://schemas.microsoft.com/office/powerpoint/2010/main" val="55168074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p:bg>
      <p:bgPr>
        <a:solidFill>
          <a:schemeClr val="accent6"/>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ACFF7A-0A26-4F0A-A400-3AF20106862B}"/>
              </a:ext>
            </a:extLst>
          </p:cNvPr>
          <p:cNvSpPr>
            <a:spLocks noGrp="1"/>
          </p:cNvSpPr>
          <p:nvPr>
            <p:ph type="ctrTitle"/>
          </p:nvPr>
        </p:nvSpPr>
        <p:spPr>
          <a:xfrm>
            <a:off x="250825" y="2490259"/>
            <a:ext cx="6722148" cy="2242079"/>
          </a:xfrm>
        </p:spPr>
        <p:txBody>
          <a:bodyPr anchor="b">
            <a:noAutofit/>
          </a:bodyPr>
          <a:lstStyle>
            <a:lvl1pPr algn="l">
              <a:defRPr sz="3600">
                <a:solidFill>
                  <a:schemeClr val="accent1"/>
                </a:solidFill>
                <a:latin typeface="+mj-lt"/>
                <a:cs typeface="Arial" panose="020B0604020202020204" pitchFamily="34" charset="0"/>
              </a:defRPr>
            </a:lvl1pPr>
          </a:lstStyle>
          <a:p>
            <a:r>
              <a:rPr lang="nl-NL"/>
              <a:t>Klik om stijl te bewerken</a:t>
            </a:r>
            <a:endParaRPr lang="en-US"/>
          </a:p>
        </p:txBody>
      </p:sp>
      <p:sp>
        <p:nvSpPr>
          <p:cNvPr id="9" name="Subtitle 2">
            <a:extLst>
              <a:ext uri="{FF2B5EF4-FFF2-40B4-BE49-F238E27FC236}">
                <a16:creationId xmlns:a16="http://schemas.microsoft.com/office/drawing/2014/main" id="{5D52D574-4430-4847-B932-BA1C1DC56322}"/>
              </a:ext>
            </a:extLst>
          </p:cNvPr>
          <p:cNvSpPr>
            <a:spLocks noGrp="1"/>
          </p:cNvSpPr>
          <p:nvPr>
            <p:ph type="subTitle" idx="13"/>
          </p:nvPr>
        </p:nvSpPr>
        <p:spPr>
          <a:xfrm>
            <a:off x="250825" y="4911725"/>
            <a:ext cx="6719063" cy="1283999"/>
          </a:xfrm>
        </p:spPr>
        <p:txBody>
          <a:bodyPr>
            <a:normAutofit/>
          </a:bodyPr>
          <a:lstStyle>
            <a:lvl1pPr marL="0" indent="0" algn="l">
              <a:buNone/>
              <a:defRPr sz="2000">
                <a:solidFill>
                  <a:schemeClr val="accent1"/>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grpSp>
        <p:nvGrpSpPr>
          <p:cNvPr id="17" name="Group 4">
            <a:extLst>
              <a:ext uri="{FF2B5EF4-FFF2-40B4-BE49-F238E27FC236}">
                <a16:creationId xmlns:a16="http://schemas.microsoft.com/office/drawing/2014/main" id="{B13A2A1C-EDF2-4C2D-979F-2FE4587DC1F0}"/>
              </a:ext>
            </a:extLst>
          </p:cNvPr>
          <p:cNvGrpSpPr>
            <a:grpSpLocks noChangeAspect="1"/>
          </p:cNvGrpSpPr>
          <p:nvPr userDrawn="1"/>
        </p:nvGrpSpPr>
        <p:grpSpPr bwMode="auto">
          <a:xfrm>
            <a:off x="91989" y="158751"/>
            <a:ext cx="1773767" cy="683683"/>
            <a:chOff x="79" y="75"/>
            <a:chExt cx="838" cy="323"/>
          </a:xfrm>
          <a:solidFill>
            <a:schemeClr val="accent1"/>
          </a:solidFill>
        </p:grpSpPr>
        <p:sp>
          <p:nvSpPr>
            <p:cNvPr id="29" name="AutoShape 3">
              <a:extLst>
                <a:ext uri="{FF2B5EF4-FFF2-40B4-BE49-F238E27FC236}">
                  <a16:creationId xmlns:a16="http://schemas.microsoft.com/office/drawing/2014/main" id="{20E23B62-3847-4E9B-8B2A-AB11CE571CE0}"/>
                </a:ext>
              </a:extLst>
            </p:cNvPr>
            <p:cNvSpPr>
              <a:spLocks noChangeAspect="1" noChangeArrowheads="1" noTextEdit="1"/>
            </p:cNvSpPr>
            <p:nvPr userDrawn="1"/>
          </p:nvSpPr>
          <p:spPr bwMode="auto">
            <a:xfrm>
              <a:off x="79" y="75"/>
              <a:ext cx="838" cy="32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0" name="Freeform 5">
              <a:extLst>
                <a:ext uri="{FF2B5EF4-FFF2-40B4-BE49-F238E27FC236}">
                  <a16:creationId xmlns:a16="http://schemas.microsoft.com/office/drawing/2014/main" id="{F974AEE8-9C79-4F9B-81AC-C21FB3BF2DEE}"/>
                </a:ext>
              </a:extLst>
            </p:cNvPr>
            <p:cNvSpPr>
              <a:spLocks/>
            </p:cNvSpPr>
            <p:nvPr userDrawn="1"/>
          </p:nvSpPr>
          <p:spPr bwMode="auto">
            <a:xfrm>
              <a:off x="159" y="155"/>
              <a:ext cx="163" cy="164"/>
            </a:xfrm>
            <a:custGeom>
              <a:avLst/>
              <a:gdLst>
                <a:gd name="T0" fmla="*/ 920 w 1841"/>
                <a:gd name="T1" fmla="*/ 0 h 1842"/>
                <a:gd name="T2" fmla="*/ 920 w 1841"/>
                <a:gd name="T3" fmla="*/ 0 h 1842"/>
                <a:gd name="T4" fmla="*/ 0 w 1841"/>
                <a:gd name="T5" fmla="*/ 921 h 1842"/>
                <a:gd name="T6" fmla="*/ 0 w 1841"/>
                <a:gd name="T7" fmla="*/ 921 h 1842"/>
                <a:gd name="T8" fmla="*/ 188 w 1841"/>
                <a:gd name="T9" fmla="*/ 1479 h 1842"/>
                <a:gd name="T10" fmla="*/ 954 w 1841"/>
                <a:gd name="T11" fmla="*/ 473 h 1842"/>
                <a:gd name="T12" fmla="*/ 871 w 1841"/>
                <a:gd name="T13" fmla="*/ 474 h 1842"/>
                <a:gd name="T14" fmla="*/ 790 w 1841"/>
                <a:gd name="T15" fmla="*/ 473 h 1842"/>
                <a:gd name="T16" fmla="*/ 561 w 1841"/>
                <a:gd name="T17" fmla="*/ 491 h 1842"/>
                <a:gd name="T18" fmla="*/ 467 w 1841"/>
                <a:gd name="T19" fmla="*/ 530 h 1842"/>
                <a:gd name="T20" fmla="*/ 374 w 1841"/>
                <a:gd name="T21" fmla="*/ 641 h 1842"/>
                <a:gd name="T22" fmla="*/ 361 w 1841"/>
                <a:gd name="T23" fmla="*/ 665 h 1842"/>
                <a:gd name="T24" fmla="*/ 316 w 1841"/>
                <a:gd name="T25" fmla="*/ 655 h 1842"/>
                <a:gd name="T26" fmla="*/ 392 w 1841"/>
                <a:gd name="T27" fmla="*/ 366 h 1842"/>
                <a:gd name="T28" fmla="*/ 1350 w 1841"/>
                <a:gd name="T29" fmla="*/ 366 h 1842"/>
                <a:gd name="T30" fmla="*/ 588 w 1841"/>
                <a:gd name="T31" fmla="*/ 1385 h 1842"/>
                <a:gd name="T32" fmla="*/ 698 w 1841"/>
                <a:gd name="T33" fmla="*/ 1379 h 1842"/>
                <a:gd name="T34" fmla="*/ 839 w 1841"/>
                <a:gd name="T35" fmla="*/ 1385 h 1842"/>
                <a:gd name="T36" fmla="*/ 974 w 1841"/>
                <a:gd name="T37" fmla="*/ 1393 h 1842"/>
                <a:gd name="T38" fmla="*/ 1095 w 1841"/>
                <a:gd name="T39" fmla="*/ 1397 h 1842"/>
                <a:gd name="T40" fmla="*/ 1255 w 1841"/>
                <a:gd name="T41" fmla="*/ 1378 h 1842"/>
                <a:gd name="T42" fmla="*/ 1354 w 1841"/>
                <a:gd name="T43" fmla="*/ 1331 h 1842"/>
                <a:gd name="T44" fmla="*/ 1491 w 1841"/>
                <a:gd name="T45" fmla="*/ 1175 h 1842"/>
                <a:gd name="T46" fmla="*/ 1504 w 1841"/>
                <a:gd name="T47" fmla="*/ 1147 h 1842"/>
                <a:gd name="T48" fmla="*/ 1545 w 1841"/>
                <a:gd name="T49" fmla="*/ 1158 h 1842"/>
                <a:gd name="T50" fmla="*/ 1505 w 1841"/>
                <a:gd name="T51" fmla="*/ 1273 h 1842"/>
                <a:gd name="T52" fmla="*/ 1354 w 1841"/>
                <a:gd name="T53" fmla="*/ 1472 h 1842"/>
                <a:gd name="T54" fmla="*/ 1131 w 1841"/>
                <a:gd name="T55" fmla="*/ 1546 h 1842"/>
                <a:gd name="T56" fmla="*/ 1118 w 1841"/>
                <a:gd name="T57" fmla="*/ 1546 h 1842"/>
                <a:gd name="T58" fmla="*/ 854 w 1841"/>
                <a:gd name="T59" fmla="*/ 1518 h 1842"/>
                <a:gd name="T60" fmla="*/ 544 w 1841"/>
                <a:gd name="T61" fmla="*/ 1486 h 1842"/>
                <a:gd name="T62" fmla="*/ 394 w 1841"/>
                <a:gd name="T63" fmla="*/ 1498 h 1842"/>
                <a:gd name="T64" fmla="*/ 242 w 1841"/>
                <a:gd name="T65" fmla="*/ 1543 h 1842"/>
                <a:gd name="T66" fmla="*/ 920 w 1841"/>
                <a:gd name="T67" fmla="*/ 1842 h 1842"/>
                <a:gd name="T68" fmla="*/ 1841 w 1841"/>
                <a:gd name="T69" fmla="*/ 921 h 1842"/>
                <a:gd name="T70" fmla="*/ 920 w 1841"/>
                <a:gd name="T71" fmla="*/ 0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41" h="1842">
                  <a:moveTo>
                    <a:pt x="920" y="0"/>
                  </a:moveTo>
                  <a:lnTo>
                    <a:pt x="920" y="0"/>
                  </a:lnTo>
                  <a:cubicBezTo>
                    <a:pt x="412" y="0"/>
                    <a:pt x="0" y="412"/>
                    <a:pt x="0" y="921"/>
                  </a:cubicBezTo>
                  <a:lnTo>
                    <a:pt x="0" y="921"/>
                  </a:lnTo>
                  <a:cubicBezTo>
                    <a:pt x="0" y="1131"/>
                    <a:pt x="70" y="1325"/>
                    <a:pt x="188" y="1479"/>
                  </a:cubicBezTo>
                  <a:lnTo>
                    <a:pt x="954" y="473"/>
                  </a:lnTo>
                  <a:lnTo>
                    <a:pt x="871" y="474"/>
                  </a:lnTo>
                  <a:lnTo>
                    <a:pt x="790" y="473"/>
                  </a:lnTo>
                  <a:cubicBezTo>
                    <a:pt x="702" y="473"/>
                    <a:pt x="620" y="480"/>
                    <a:pt x="561" y="491"/>
                  </a:cubicBezTo>
                  <a:cubicBezTo>
                    <a:pt x="525" y="498"/>
                    <a:pt x="493" y="511"/>
                    <a:pt x="467" y="530"/>
                  </a:cubicBezTo>
                  <a:cubicBezTo>
                    <a:pt x="437" y="551"/>
                    <a:pt x="399" y="596"/>
                    <a:pt x="374" y="641"/>
                  </a:cubicBezTo>
                  <a:cubicBezTo>
                    <a:pt x="371" y="646"/>
                    <a:pt x="367" y="654"/>
                    <a:pt x="361" y="665"/>
                  </a:cubicBezTo>
                  <a:lnTo>
                    <a:pt x="316" y="655"/>
                  </a:lnTo>
                  <a:lnTo>
                    <a:pt x="392" y="366"/>
                  </a:lnTo>
                  <a:lnTo>
                    <a:pt x="1350" y="366"/>
                  </a:lnTo>
                  <a:lnTo>
                    <a:pt x="588" y="1385"/>
                  </a:lnTo>
                  <a:cubicBezTo>
                    <a:pt x="638" y="1380"/>
                    <a:pt x="658" y="1379"/>
                    <a:pt x="698" y="1379"/>
                  </a:cubicBezTo>
                  <a:cubicBezTo>
                    <a:pt x="729" y="1379"/>
                    <a:pt x="776" y="1381"/>
                    <a:pt x="839" y="1385"/>
                  </a:cubicBezTo>
                  <a:lnTo>
                    <a:pt x="974" y="1393"/>
                  </a:lnTo>
                  <a:cubicBezTo>
                    <a:pt x="1023" y="1396"/>
                    <a:pt x="1064" y="1397"/>
                    <a:pt x="1095" y="1397"/>
                  </a:cubicBezTo>
                  <a:cubicBezTo>
                    <a:pt x="1165" y="1397"/>
                    <a:pt x="1210" y="1392"/>
                    <a:pt x="1255" y="1378"/>
                  </a:cubicBezTo>
                  <a:cubicBezTo>
                    <a:pt x="1290" y="1367"/>
                    <a:pt x="1324" y="1351"/>
                    <a:pt x="1354" y="1331"/>
                  </a:cubicBezTo>
                  <a:cubicBezTo>
                    <a:pt x="1408" y="1293"/>
                    <a:pt x="1460" y="1234"/>
                    <a:pt x="1491" y="1175"/>
                  </a:cubicBezTo>
                  <a:cubicBezTo>
                    <a:pt x="1494" y="1169"/>
                    <a:pt x="1499" y="1160"/>
                    <a:pt x="1504" y="1147"/>
                  </a:cubicBezTo>
                  <a:lnTo>
                    <a:pt x="1545" y="1158"/>
                  </a:lnTo>
                  <a:cubicBezTo>
                    <a:pt x="1532" y="1208"/>
                    <a:pt x="1525" y="1228"/>
                    <a:pt x="1505" y="1273"/>
                  </a:cubicBezTo>
                  <a:cubicBezTo>
                    <a:pt x="1464" y="1364"/>
                    <a:pt x="1417" y="1425"/>
                    <a:pt x="1354" y="1472"/>
                  </a:cubicBezTo>
                  <a:cubicBezTo>
                    <a:pt x="1289" y="1521"/>
                    <a:pt x="1216" y="1544"/>
                    <a:pt x="1131" y="1546"/>
                  </a:cubicBezTo>
                  <a:lnTo>
                    <a:pt x="1118" y="1546"/>
                  </a:lnTo>
                  <a:cubicBezTo>
                    <a:pt x="1055" y="1546"/>
                    <a:pt x="1006" y="1541"/>
                    <a:pt x="854" y="1518"/>
                  </a:cubicBezTo>
                  <a:cubicBezTo>
                    <a:pt x="700" y="1494"/>
                    <a:pt x="621" y="1486"/>
                    <a:pt x="544" y="1486"/>
                  </a:cubicBezTo>
                  <a:cubicBezTo>
                    <a:pt x="492" y="1486"/>
                    <a:pt x="444" y="1490"/>
                    <a:pt x="394" y="1498"/>
                  </a:cubicBezTo>
                  <a:cubicBezTo>
                    <a:pt x="328" y="1508"/>
                    <a:pt x="302" y="1516"/>
                    <a:pt x="242" y="1543"/>
                  </a:cubicBezTo>
                  <a:cubicBezTo>
                    <a:pt x="410" y="1727"/>
                    <a:pt x="652" y="1842"/>
                    <a:pt x="920" y="1842"/>
                  </a:cubicBezTo>
                  <a:cubicBezTo>
                    <a:pt x="1429" y="1842"/>
                    <a:pt x="1841" y="1430"/>
                    <a:pt x="1841" y="921"/>
                  </a:cubicBezTo>
                  <a:cubicBezTo>
                    <a:pt x="1841" y="412"/>
                    <a:pt x="1429" y="0"/>
                    <a:pt x="9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1" name="Freeform 6">
              <a:extLst>
                <a:ext uri="{FF2B5EF4-FFF2-40B4-BE49-F238E27FC236}">
                  <a16:creationId xmlns:a16="http://schemas.microsoft.com/office/drawing/2014/main" id="{2EF2E2B8-29EA-4458-8EE1-9B13A9226287}"/>
                </a:ext>
              </a:extLst>
            </p:cNvPr>
            <p:cNvSpPr>
              <a:spLocks/>
            </p:cNvSpPr>
            <p:nvPr userDrawn="1"/>
          </p:nvSpPr>
          <p:spPr bwMode="auto">
            <a:xfrm>
              <a:off x="642" y="197"/>
              <a:ext cx="25" cy="80"/>
            </a:xfrm>
            <a:custGeom>
              <a:avLst/>
              <a:gdLst>
                <a:gd name="T0" fmla="*/ 232 w 288"/>
                <a:gd name="T1" fmla="*/ 166 h 897"/>
                <a:gd name="T2" fmla="*/ 232 w 288"/>
                <a:gd name="T3" fmla="*/ 166 h 897"/>
                <a:gd name="T4" fmla="*/ 241 w 288"/>
                <a:gd name="T5" fmla="*/ 65 h 897"/>
                <a:gd name="T6" fmla="*/ 254 w 288"/>
                <a:gd name="T7" fmla="*/ 37 h 897"/>
                <a:gd name="T8" fmla="*/ 288 w 288"/>
                <a:gd name="T9" fmla="*/ 0 h 897"/>
                <a:gd name="T10" fmla="*/ 0 w 288"/>
                <a:gd name="T11" fmla="*/ 0 h 897"/>
                <a:gd name="T12" fmla="*/ 33 w 288"/>
                <a:gd name="T13" fmla="*/ 35 h 897"/>
                <a:gd name="T14" fmla="*/ 47 w 288"/>
                <a:gd name="T15" fmla="*/ 64 h 897"/>
                <a:gd name="T16" fmla="*/ 56 w 288"/>
                <a:gd name="T17" fmla="*/ 161 h 897"/>
                <a:gd name="T18" fmla="*/ 56 w 288"/>
                <a:gd name="T19" fmla="*/ 215 h 897"/>
                <a:gd name="T20" fmla="*/ 56 w 288"/>
                <a:gd name="T21" fmla="*/ 752 h 897"/>
                <a:gd name="T22" fmla="*/ 42 w 288"/>
                <a:gd name="T23" fmla="*/ 839 h 897"/>
                <a:gd name="T24" fmla="*/ 28 w 288"/>
                <a:gd name="T25" fmla="*/ 865 h 897"/>
                <a:gd name="T26" fmla="*/ 1 w 288"/>
                <a:gd name="T27" fmla="*/ 897 h 897"/>
                <a:gd name="T28" fmla="*/ 285 w 288"/>
                <a:gd name="T29" fmla="*/ 897 h 897"/>
                <a:gd name="T30" fmla="*/ 258 w 288"/>
                <a:gd name="T31" fmla="*/ 865 h 897"/>
                <a:gd name="T32" fmla="*/ 243 w 288"/>
                <a:gd name="T33" fmla="*/ 838 h 897"/>
                <a:gd name="T34" fmla="*/ 231 w 288"/>
                <a:gd name="T35" fmla="*/ 759 h 897"/>
                <a:gd name="T36" fmla="*/ 231 w 288"/>
                <a:gd name="T37" fmla="*/ 218 h 897"/>
                <a:gd name="T38" fmla="*/ 232 w 288"/>
                <a:gd name="T39" fmla="*/ 16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897">
                  <a:moveTo>
                    <a:pt x="232" y="166"/>
                  </a:moveTo>
                  <a:lnTo>
                    <a:pt x="232" y="166"/>
                  </a:lnTo>
                  <a:cubicBezTo>
                    <a:pt x="232" y="106"/>
                    <a:pt x="233" y="89"/>
                    <a:pt x="241" y="65"/>
                  </a:cubicBezTo>
                  <a:cubicBezTo>
                    <a:pt x="244" y="55"/>
                    <a:pt x="248" y="46"/>
                    <a:pt x="254" y="37"/>
                  </a:cubicBezTo>
                  <a:cubicBezTo>
                    <a:pt x="263" y="22"/>
                    <a:pt x="270" y="14"/>
                    <a:pt x="288" y="0"/>
                  </a:cubicBezTo>
                  <a:lnTo>
                    <a:pt x="0" y="0"/>
                  </a:lnTo>
                  <a:cubicBezTo>
                    <a:pt x="18" y="16"/>
                    <a:pt x="24" y="22"/>
                    <a:pt x="33" y="35"/>
                  </a:cubicBezTo>
                  <a:cubicBezTo>
                    <a:pt x="39" y="44"/>
                    <a:pt x="44" y="54"/>
                    <a:pt x="47" y="64"/>
                  </a:cubicBezTo>
                  <a:cubicBezTo>
                    <a:pt x="53" y="86"/>
                    <a:pt x="56" y="108"/>
                    <a:pt x="56" y="161"/>
                  </a:cubicBezTo>
                  <a:cubicBezTo>
                    <a:pt x="56" y="188"/>
                    <a:pt x="56" y="206"/>
                    <a:pt x="56" y="215"/>
                  </a:cubicBezTo>
                  <a:lnTo>
                    <a:pt x="56" y="752"/>
                  </a:lnTo>
                  <a:cubicBezTo>
                    <a:pt x="56" y="784"/>
                    <a:pt x="51" y="817"/>
                    <a:pt x="42" y="839"/>
                  </a:cubicBezTo>
                  <a:cubicBezTo>
                    <a:pt x="39" y="848"/>
                    <a:pt x="34" y="857"/>
                    <a:pt x="28" y="865"/>
                  </a:cubicBezTo>
                  <a:cubicBezTo>
                    <a:pt x="21" y="875"/>
                    <a:pt x="16" y="880"/>
                    <a:pt x="1" y="897"/>
                  </a:cubicBezTo>
                  <a:lnTo>
                    <a:pt x="285" y="897"/>
                  </a:lnTo>
                  <a:cubicBezTo>
                    <a:pt x="271" y="885"/>
                    <a:pt x="266" y="879"/>
                    <a:pt x="258" y="865"/>
                  </a:cubicBezTo>
                  <a:cubicBezTo>
                    <a:pt x="252" y="856"/>
                    <a:pt x="247" y="847"/>
                    <a:pt x="243" y="838"/>
                  </a:cubicBezTo>
                  <a:cubicBezTo>
                    <a:pt x="236" y="817"/>
                    <a:pt x="231" y="787"/>
                    <a:pt x="231" y="759"/>
                  </a:cubicBezTo>
                  <a:lnTo>
                    <a:pt x="231" y="218"/>
                  </a:lnTo>
                  <a:lnTo>
                    <a:pt x="232" y="1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2" name="Freeform 7">
              <a:extLst>
                <a:ext uri="{FF2B5EF4-FFF2-40B4-BE49-F238E27FC236}">
                  <a16:creationId xmlns:a16="http://schemas.microsoft.com/office/drawing/2014/main" id="{FCD5C423-61EC-4EB9-9C91-FA8F7C5310C1}"/>
                </a:ext>
              </a:extLst>
            </p:cNvPr>
            <p:cNvSpPr>
              <a:spLocks/>
            </p:cNvSpPr>
            <p:nvPr userDrawn="1"/>
          </p:nvSpPr>
          <p:spPr bwMode="auto">
            <a:xfrm>
              <a:off x="761" y="197"/>
              <a:ext cx="77" cy="80"/>
            </a:xfrm>
            <a:custGeom>
              <a:avLst/>
              <a:gdLst>
                <a:gd name="T0" fmla="*/ 810 w 869"/>
                <a:gd name="T1" fmla="*/ 165 h 897"/>
                <a:gd name="T2" fmla="*/ 810 w 869"/>
                <a:gd name="T3" fmla="*/ 165 h 897"/>
                <a:gd name="T4" fmla="*/ 819 w 869"/>
                <a:gd name="T5" fmla="*/ 70 h 897"/>
                <a:gd name="T6" fmla="*/ 834 w 869"/>
                <a:gd name="T7" fmla="*/ 37 h 897"/>
                <a:gd name="T8" fmla="*/ 869 w 869"/>
                <a:gd name="T9" fmla="*/ 0 h 897"/>
                <a:gd name="T10" fmla="*/ 576 w 869"/>
                <a:gd name="T11" fmla="*/ 0 h 897"/>
                <a:gd name="T12" fmla="*/ 609 w 869"/>
                <a:gd name="T13" fmla="*/ 36 h 897"/>
                <a:gd name="T14" fmla="*/ 624 w 869"/>
                <a:gd name="T15" fmla="*/ 67 h 897"/>
                <a:gd name="T16" fmla="*/ 634 w 869"/>
                <a:gd name="T17" fmla="*/ 162 h 897"/>
                <a:gd name="T18" fmla="*/ 634 w 869"/>
                <a:gd name="T19" fmla="*/ 379 h 897"/>
                <a:gd name="T20" fmla="*/ 232 w 869"/>
                <a:gd name="T21" fmla="*/ 379 h 897"/>
                <a:gd name="T22" fmla="*/ 232 w 869"/>
                <a:gd name="T23" fmla="*/ 216 h 897"/>
                <a:gd name="T24" fmla="*/ 234 w 869"/>
                <a:gd name="T25" fmla="*/ 109 h 897"/>
                <a:gd name="T26" fmla="*/ 241 w 869"/>
                <a:gd name="T27" fmla="*/ 70 h 897"/>
                <a:gd name="T28" fmla="*/ 278 w 869"/>
                <a:gd name="T29" fmla="*/ 9 h 897"/>
                <a:gd name="T30" fmla="*/ 288 w 869"/>
                <a:gd name="T31" fmla="*/ 0 h 897"/>
                <a:gd name="T32" fmla="*/ 1 w 869"/>
                <a:gd name="T33" fmla="*/ 0 h 897"/>
                <a:gd name="T34" fmla="*/ 30 w 869"/>
                <a:gd name="T35" fmla="*/ 34 h 897"/>
                <a:gd name="T36" fmla="*/ 46 w 869"/>
                <a:gd name="T37" fmla="*/ 64 h 897"/>
                <a:gd name="T38" fmla="*/ 56 w 869"/>
                <a:gd name="T39" fmla="*/ 159 h 897"/>
                <a:gd name="T40" fmla="*/ 57 w 869"/>
                <a:gd name="T41" fmla="*/ 216 h 897"/>
                <a:gd name="T42" fmla="*/ 57 w 869"/>
                <a:gd name="T43" fmla="*/ 707 h 897"/>
                <a:gd name="T44" fmla="*/ 53 w 869"/>
                <a:gd name="T45" fmla="*/ 802 h 897"/>
                <a:gd name="T46" fmla="*/ 44 w 869"/>
                <a:gd name="T47" fmla="*/ 838 h 897"/>
                <a:gd name="T48" fmla="*/ 9 w 869"/>
                <a:gd name="T49" fmla="*/ 888 h 897"/>
                <a:gd name="T50" fmla="*/ 0 w 869"/>
                <a:gd name="T51" fmla="*/ 897 h 897"/>
                <a:gd name="T52" fmla="*/ 284 w 869"/>
                <a:gd name="T53" fmla="*/ 897 h 897"/>
                <a:gd name="T54" fmla="*/ 260 w 869"/>
                <a:gd name="T55" fmla="*/ 867 h 897"/>
                <a:gd name="T56" fmla="*/ 245 w 869"/>
                <a:gd name="T57" fmla="*/ 839 h 897"/>
                <a:gd name="T58" fmla="*/ 232 w 869"/>
                <a:gd name="T59" fmla="*/ 761 h 897"/>
                <a:gd name="T60" fmla="*/ 232 w 869"/>
                <a:gd name="T61" fmla="*/ 707 h 897"/>
                <a:gd name="T62" fmla="*/ 232 w 869"/>
                <a:gd name="T63" fmla="*/ 490 h 897"/>
                <a:gd name="T64" fmla="*/ 634 w 869"/>
                <a:gd name="T65" fmla="*/ 490 h 897"/>
                <a:gd name="T66" fmla="*/ 634 w 869"/>
                <a:gd name="T67" fmla="*/ 709 h 897"/>
                <a:gd name="T68" fmla="*/ 630 w 869"/>
                <a:gd name="T69" fmla="*/ 800 h 897"/>
                <a:gd name="T70" fmla="*/ 620 w 869"/>
                <a:gd name="T71" fmla="*/ 838 h 897"/>
                <a:gd name="T72" fmla="*/ 588 w 869"/>
                <a:gd name="T73" fmla="*/ 885 h 897"/>
                <a:gd name="T74" fmla="*/ 575 w 869"/>
                <a:gd name="T75" fmla="*/ 897 h 897"/>
                <a:gd name="T76" fmla="*/ 862 w 869"/>
                <a:gd name="T77" fmla="*/ 897 h 897"/>
                <a:gd name="T78" fmla="*/ 838 w 869"/>
                <a:gd name="T79" fmla="*/ 869 h 897"/>
                <a:gd name="T80" fmla="*/ 821 w 869"/>
                <a:gd name="T81" fmla="*/ 839 h 897"/>
                <a:gd name="T82" fmla="*/ 810 w 869"/>
                <a:gd name="T83" fmla="*/ 758 h 897"/>
                <a:gd name="T84" fmla="*/ 809 w 869"/>
                <a:gd name="T85" fmla="*/ 712 h 897"/>
                <a:gd name="T86" fmla="*/ 810 w 869"/>
                <a:gd name="T87" fmla="*/ 218 h 897"/>
                <a:gd name="T88" fmla="*/ 810 w 869"/>
                <a:gd name="T89" fmla="*/ 16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9" h="897">
                  <a:moveTo>
                    <a:pt x="810" y="165"/>
                  </a:moveTo>
                  <a:lnTo>
                    <a:pt x="810" y="165"/>
                  </a:lnTo>
                  <a:cubicBezTo>
                    <a:pt x="810" y="125"/>
                    <a:pt x="813" y="95"/>
                    <a:pt x="819" y="70"/>
                  </a:cubicBezTo>
                  <a:cubicBezTo>
                    <a:pt x="823" y="59"/>
                    <a:pt x="828" y="48"/>
                    <a:pt x="834" y="37"/>
                  </a:cubicBezTo>
                  <a:cubicBezTo>
                    <a:pt x="843" y="22"/>
                    <a:pt x="850" y="14"/>
                    <a:pt x="869" y="0"/>
                  </a:cubicBezTo>
                  <a:lnTo>
                    <a:pt x="576" y="0"/>
                  </a:lnTo>
                  <a:cubicBezTo>
                    <a:pt x="593" y="14"/>
                    <a:pt x="599" y="20"/>
                    <a:pt x="609" y="36"/>
                  </a:cubicBezTo>
                  <a:cubicBezTo>
                    <a:pt x="616" y="46"/>
                    <a:pt x="621" y="57"/>
                    <a:pt x="624" y="67"/>
                  </a:cubicBezTo>
                  <a:cubicBezTo>
                    <a:pt x="631" y="88"/>
                    <a:pt x="634" y="115"/>
                    <a:pt x="634" y="162"/>
                  </a:cubicBezTo>
                  <a:lnTo>
                    <a:pt x="634" y="379"/>
                  </a:lnTo>
                  <a:lnTo>
                    <a:pt x="232" y="379"/>
                  </a:lnTo>
                  <a:lnTo>
                    <a:pt x="232" y="216"/>
                  </a:lnTo>
                  <a:cubicBezTo>
                    <a:pt x="232" y="166"/>
                    <a:pt x="232" y="134"/>
                    <a:pt x="234" y="109"/>
                  </a:cubicBezTo>
                  <a:cubicBezTo>
                    <a:pt x="235" y="95"/>
                    <a:pt x="238" y="82"/>
                    <a:pt x="241" y="70"/>
                  </a:cubicBezTo>
                  <a:cubicBezTo>
                    <a:pt x="247" y="51"/>
                    <a:pt x="264" y="24"/>
                    <a:pt x="278" y="9"/>
                  </a:cubicBezTo>
                  <a:cubicBezTo>
                    <a:pt x="280" y="7"/>
                    <a:pt x="284" y="4"/>
                    <a:pt x="288" y="0"/>
                  </a:cubicBezTo>
                  <a:lnTo>
                    <a:pt x="1" y="0"/>
                  </a:lnTo>
                  <a:cubicBezTo>
                    <a:pt x="18" y="17"/>
                    <a:pt x="23" y="23"/>
                    <a:pt x="30" y="34"/>
                  </a:cubicBezTo>
                  <a:cubicBezTo>
                    <a:pt x="37" y="43"/>
                    <a:pt x="42" y="53"/>
                    <a:pt x="46" y="64"/>
                  </a:cubicBezTo>
                  <a:cubicBezTo>
                    <a:pt x="53" y="87"/>
                    <a:pt x="55" y="100"/>
                    <a:pt x="56" y="159"/>
                  </a:cubicBezTo>
                  <a:lnTo>
                    <a:pt x="57" y="216"/>
                  </a:lnTo>
                  <a:lnTo>
                    <a:pt x="57" y="707"/>
                  </a:lnTo>
                  <a:cubicBezTo>
                    <a:pt x="57" y="757"/>
                    <a:pt x="56" y="779"/>
                    <a:pt x="53" y="802"/>
                  </a:cubicBezTo>
                  <a:cubicBezTo>
                    <a:pt x="51" y="814"/>
                    <a:pt x="48" y="825"/>
                    <a:pt x="44" y="838"/>
                  </a:cubicBezTo>
                  <a:cubicBezTo>
                    <a:pt x="37" y="857"/>
                    <a:pt x="26" y="872"/>
                    <a:pt x="9" y="888"/>
                  </a:cubicBezTo>
                  <a:cubicBezTo>
                    <a:pt x="7" y="890"/>
                    <a:pt x="4" y="893"/>
                    <a:pt x="0" y="897"/>
                  </a:cubicBezTo>
                  <a:lnTo>
                    <a:pt x="284" y="897"/>
                  </a:lnTo>
                  <a:cubicBezTo>
                    <a:pt x="271" y="884"/>
                    <a:pt x="267" y="878"/>
                    <a:pt x="260" y="867"/>
                  </a:cubicBezTo>
                  <a:cubicBezTo>
                    <a:pt x="254" y="859"/>
                    <a:pt x="249" y="849"/>
                    <a:pt x="245" y="839"/>
                  </a:cubicBezTo>
                  <a:cubicBezTo>
                    <a:pt x="236" y="815"/>
                    <a:pt x="233" y="799"/>
                    <a:pt x="232" y="761"/>
                  </a:cubicBezTo>
                  <a:cubicBezTo>
                    <a:pt x="232" y="741"/>
                    <a:pt x="232" y="724"/>
                    <a:pt x="232" y="707"/>
                  </a:cubicBezTo>
                  <a:lnTo>
                    <a:pt x="232" y="490"/>
                  </a:lnTo>
                  <a:lnTo>
                    <a:pt x="634" y="490"/>
                  </a:lnTo>
                  <a:lnTo>
                    <a:pt x="634" y="709"/>
                  </a:lnTo>
                  <a:cubicBezTo>
                    <a:pt x="634" y="757"/>
                    <a:pt x="633" y="775"/>
                    <a:pt x="630" y="800"/>
                  </a:cubicBezTo>
                  <a:cubicBezTo>
                    <a:pt x="628" y="813"/>
                    <a:pt x="625" y="826"/>
                    <a:pt x="620" y="838"/>
                  </a:cubicBezTo>
                  <a:cubicBezTo>
                    <a:pt x="613" y="855"/>
                    <a:pt x="603" y="871"/>
                    <a:pt x="588" y="885"/>
                  </a:cubicBezTo>
                  <a:cubicBezTo>
                    <a:pt x="585" y="888"/>
                    <a:pt x="581" y="892"/>
                    <a:pt x="575" y="897"/>
                  </a:cubicBezTo>
                  <a:lnTo>
                    <a:pt x="862" y="897"/>
                  </a:lnTo>
                  <a:cubicBezTo>
                    <a:pt x="850" y="885"/>
                    <a:pt x="846" y="880"/>
                    <a:pt x="838" y="869"/>
                  </a:cubicBezTo>
                  <a:cubicBezTo>
                    <a:pt x="831" y="859"/>
                    <a:pt x="825" y="849"/>
                    <a:pt x="821" y="839"/>
                  </a:cubicBezTo>
                  <a:cubicBezTo>
                    <a:pt x="813" y="818"/>
                    <a:pt x="811" y="803"/>
                    <a:pt x="810" y="758"/>
                  </a:cubicBezTo>
                  <a:cubicBezTo>
                    <a:pt x="809" y="732"/>
                    <a:pt x="809" y="717"/>
                    <a:pt x="809" y="712"/>
                  </a:cubicBezTo>
                  <a:lnTo>
                    <a:pt x="810" y="218"/>
                  </a:lnTo>
                  <a:lnTo>
                    <a:pt x="810" y="16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3" name="Freeform 8">
              <a:extLst>
                <a:ext uri="{FF2B5EF4-FFF2-40B4-BE49-F238E27FC236}">
                  <a16:creationId xmlns:a16="http://schemas.microsoft.com/office/drawing/2014/main" id="{496A2B87-B514-4AB1-A663-49F359EF9F8D}"/>
                </a:ext>
              </a:extLst>
            </p:cNvPr>
            <p:cNvSpPr>
              <a:spLocks noEditPoints="1"/>
            </p:cNvSpPr>
            <p:nvPr userDrawn="1"/>
          </p:nvSpPr>
          <p:spPr bwMode="auto">
            <a:xfrm>
              <a:off x="562" y="197"/>
              <a:ext cx="73" cy="80"/>
            </a:xfrm>
            <a:custGeom>
              <a:avLst/>
              <a:gdLst>
                <a:gd name="T0" fmla="*/ 408 w 822"/>
                <a:gd name="T1" fmla="*/ 395 h 897"/>
                <a:gd name="T2" fmla="*/ 408 w 822"/>
                <a:gd name="T3" fmla="*/ 395 h 897"/>
                <a:gd name="T4" fmla="*/ 295 w 822"/>
                <a:gd name="T5" fmla="*/ 431 h 897"/>
                <a:gd name="T6" fmla="*/ 248 w 822"/>
                <a:gd name="T7" fmla="*/ 435 h 897"/>
                <a:gd name="T8" fmla="*/ 233 w 822"/>
                <a:gd name="T9" fmla="*/ 435 h 897"/>
                <a:gd name="T10" fmla="*/ 233 w 822"/>
                <a:gd name="T11" fmla="*/ 103 h 897"/>
                <a:gd name="T12" fmla="*/ 257 w 822"/>
                <a:gd name="T13" fmla="*/ 102 h 897"/>
                <a:gd name="T14" fmla="*/ 378 w 822"/>
                <a:gd name="T15" fmla="*/ 117 h 897"/>
                <a:gd name="T16" fmla="*/ 439 w 822"/>
                <a:gd name="T17" fmla="*/ 149 h 897"/>
                <a:gd name="T18" fmla="*/ 485 w 822"/>
                <a:gd name="T19" fmla="*/ 260 h 897"/>
                <a:gd name="T20" fmla="*/ 450 w 822"/>
                <a:gd name="T21" fmla="*/ 361 h 897"/>
                <a:gd name="T22" fmla="*/ 408 w 822"/>
                <a:gd name="T23" fmla="*/ 395 h 897"/>
                <a:gd name="T24" fmla="*/ 408 w 822"/>
                <a:gd name="T25" fmla="*/ 395 h 897"/>
                <a:gd name="T26" fmla="*/ 750 w 822"/>
                <a:gd name="T27" fmla="*/ 835 h 897"/>
                <a:gd name="T28" fmla="*/ 750 w 822"/>
                <a:gd name="T29" fmla="*/ 835 h 897"/>
                <a:gd name="T30" fmla="*/ 649 w 822"/>
                <a:gd name="T31" fmla="*/ 730 h 897"/>
                <a:gd name="T32" fmla="*/ 583 w 822"/>
                <a:gd name="T33" fmla="*/ 657 h 897"/>
                <a:gd name="T34" fmla="*/ 444 w 822"/>
                <a:gd name="T35" fmla="*/ 493 h 897"/>
                <a:gd name="T36" fmla="*/ 484 w 822"/>
                <a:gd name="T37" fmla="*/ 480 h 897"/>
                <a:gd name="T38" fmla="*/ 594 w 822"/>
                <a:gd name="T39" fmla="*/ 416 h 897"/>
                <a:gd name="T40" fmla="*/ 665 w 822"/>
                <a:gd name="T41" fmla="*/ 313 h 897"/>
                <a:gd name="T42" fmla="*/ 676 w 822"/>
                <a:gd name="T43" fmla="*/ 244 h 897"/>
                <a:gd name="T44" fmla="*/ 615 w 822"/>
                <a:gd name="T45" fmla="*/ 97 h 897"/>
                <a:gd name="T46" fmla="*/ 470 w 822"/>
                <a:gd name="T47" fmla="*/ 16 h 897"/>
                <a:gd name="T48" fmla="*/ 316 w 822"/>
                <a:gd name="T49" fmla="*/ 1 h 897"/>
                <a:gd name="T50" fmla="*/ 233 w 822"/>
                <a:gd name="T51" fmla="*/ 0 h 897"/>
                <a:gd name="T52" fmla="*/ 2 w 822"/>
                <a:gd name="T53" fmla="*/ 0 h 897"/>
                <a:gd name="T54" fmla="*/ 32 w 822"/>
                <a:gd name="T55" fmla="*/ 33 h 897"/>
                <a:gd name="T56" fmla="*/ 47 w 822"/>
                <a:gd name="T57" fmla="*/ 66 h 897"/>
                <a:gd name="T58" fmla="*/ 56 w 822"/>
                <a:gd name="T59" fmla="*/ 162 h 897"/>
                <a:gd name="T60" fmla="*/ 56 w 822"/>
                <a:gd name="T61" fmla="*/ 750 h 897"/>
                <a:gd name="T62" fmla="*/ 46 w 822"/>
                <a:gd name="T63" fmla="*/ 837 h 897"/>
                <a:gd name="T64" fmla="*/ 31 w 822"/>
                <a:gd name="T65" fmla="*/ 865 h 897"/>
                <a:gd name="T66" fmla="*/ 0 w 822"/>
                <a:gd name="T67" fmla="*/ 897 h 897"/>
                <a:gd name="T68" fmla="*/ 285 w 822"/>
                <a:gd name="T69" fmla="*/ 897 h 897"/>
                <a:gd name="T70" fmla="*/ 261 w 822"/>
                <a:gd name="T71" fmla="*/ 867 h 897"/>
                <a:gd name="T72" fmla="*/ 245 w 822"/>
                <a:gd name="T73" fmla="*/ 840 h 897"/>
                <a:gd name="T74" fmla="*/ 234 w 822"/>
                <a:gd name="T75" fmla="*/ 757 h 897"/>
                <a:gd name="T76" fmla="*/ 233 w 822"/>
                <a:gd name="T77" fmla="*/ 712 h 897"/>
                <a:gd name="T78" fmla="*/ 233 w 822"/>
                <a:gd name="T79" fmla="*/ 510 h 897"/>
                <a:gd name="T80" fmla="*/ 400 w 822"/>
                <a:gd name="T81" fmla="*/ 710 h 897"/>
                <a:gd name="T82" fmla="*/ 437 w 822"/>
                <a:gd name="T83" fmla="*/ 753 h 897"/>
                <a:gd name="T84" fmla="*/ 481 w 822"/>
                <a:gd name="T85" fmla="*/ 801 h 897"/>
                <a:gd name="T86" fmla="*/ 573 w 822"/>
                <a:gd name="T87" fmla="*/ 875 h 897"/>
                <a:gd name="T88" fmla="*/ 662 w 822"/>
                <a:gd name="T89" fmla="*/ 896 h 897"/>
                <a:gd name="T90" fmla="*/ 709 w 822"/>
                <a:gd name="T91" fmla="*/ 897 h 897"/>
                <a:gd name="T92" fmla="*/ 822 w 822"/>
                <a:gd name="T93" fmla="*/ 897 h 897"/>
                <a:gd name="T94" fmla="*/ 789 w 822"/>
                <a:gd name="T95" fmla="*/ 870 h 897"/>
                <a:gd name="T96" fmla="*/ 750 w 822"/>
                <a:gd name="T97" fmla="*/ 83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897">
                  <a:moveTo>
                    <a:pt x="408" y="395"/>
                  </a:moveTo>
                  <a:lnTo>
                    <a:pt x="408" y="395"/>
                  </a:lnTo>
                  <a:cubicBezTo>
                    <a:pt x="376" y="413"/>
                    <a:pt x="343" y="424"/>
                    <a:pt x="295" y="431"/>
                  </a:cubicBezTo>
                  <a:cubicBezTo>
                    <a:pt x="277" y="434"/>
                    <a:pt x="261" y="435"/>
                    <a:pt x="248" y="435"/>
                  </a:cubicBezTo>
                  <a:cubicBezTo>
                    <a:pt x="243" y="435"/>
                    <a:pt x="240" y="435"/>
                    <a:pt x="233" y="435"/>
                  </a:cubicBezTo>
                  <a:lnTo>
                    <a:pt x="233" y="103"/>
                  </a:lnTo>
                  <a:cubicBezTo>
                    <a:pt x="245" y="102"/>
                    <a:pt x="249" y="102"/>
                    <a:pt x="257" y="102"/>
                  </a:cubicBezTo>
                  <a:cubicBezTo>
                    <a:pt x="301" y="102"/>
                    <a:pt x="344" y="107"/>
                    <a:pt x="378" y="117"/>
                  </a:cubicBezTo>
                  <a:cubicBezTo>
                    <a:pt x="400" y="123"/>
                    <a:pt x="421" y="135"/>
                    <a:pt x="439" y="149"/>
                  </a:cubicBezTo>
                  <a:cubicBezTo>
                    <a:pt x="469" y="175"/>
                    <a:pt x="485" y="213"/>
                    <a:pt x="485" y="260"/>
                  </a:cubicBezTo>
                  <a:cubicBezTo>
                    <a:pt x="485" y="300"/>
                    <a:pt x="473" y="335"/>
                    <a:pt x="450" y="361"/>
                  </a:cubicBezTo>
                  <a:cubicBezTo>
                    <a:pt x="439" y="373"/>
                    <a:pt x="425" y="385"/>
                    <a:pt x="408" y="395"/>
                  </a:cubicBezTo>
                  <a:lnTo>
                    <a:pt x="408" y="395"/>
                  </a:lnTo>
                  <a:close/>
                  <a:moveTo>
                    <a:pt x="750" y="835"/>
                  </a:moveTo>
                  <a:lnTo>
                    <a:pt x="750" y="835"/>
                  </a:lnTo>
                  <a:cubicBezTo>
                    <a:pt x="719" y="804"/>
                    <a:pt x="691" y="776"/>
                    <a:pt x="649" y="730"/>
                  </a:cubicBezTo>
                  <a:cubicBezTo>
                    <a:pt x="622" y="702"/>
                    <a:pt x="600" y="677"/>
                    <a:pt x="583" y="657"/>
                  </a:cubicBezTo>
                  <a:lnTo>
                    <a:pt x="444" y="493"/>
                  </a:lnTo>
                  <a:cubicBezTo>
                    <a:pt x="461" y="488"/>
                    <a:pt x="468" y="486"/>
                    <a:pt x="484" y="480"/>
                  </a:cubicBezTo>
                  <a:cubicBezTo>
                    <a:pt x="529" y="462"/>
                    <a:pt x="563" y="442"/>
                    <a:pt x="594" y="416"/>
                  </a:cubicBezTo>
                  <a:cubicBezTo>
                    <a:pt x="630" y="386"/>
                    <a:pt x="652" y="354"/>
                    <a:pt x="665" y="313"/>
                  </a:cubicBezTo>
                  <a:cubicBezTo>
                    <a:pt x="673" y="291"/>
                    <a:pt x="676" y="267"/>
                    <a:pt x="676" y="244"/>
                  </a:cubicBezTo>
                  <a:cubicBezTo>
                    <a:pt x="676" y="189"/>
                    <a:pt x="656" y="139"/>
                    <a:pt x="615" y="97"/>
                  </a:cubicBezTo>
                  <a:cubicBezTo>
                    <a:pt x="579" y="58"/>
                    <a:pt x="527" y="30"/>
                    <a:pt x="470" y="16"/>
                  </a:cubicBezTo>
                  <a:cubicBezTo>
                    <a:pt x="429" y="7"/>
                    <a:pt x="388" y="2"/>
                    <a:pt x="316" y="1"/>
                  </a:cubicBezTo>
                  <a:cubicBezTo>
                    <a:pt x="289" y="0"/>
                    <a:pt x="262" y="0"/>
                    <a:pt x="233" y="0"/>
                  </a:cubicBezTo>
                  <a:lnTo>
                    <a:pt x="2" y="0"/>
                  </a:lnTo>
                  <a:cubicBezTo>
                    <a:pt x="17" y="14"/>
                    <a:pt x="23" y="20"/>
                    <a:pt x="32" y="33"/>
                  </a:cubicBezTo>
                  <a:cubicBezTo>
                    <a:pt x="38" y="44"/>
                    <a:pt x="44" y="55"/>
                    <a:pt x="47" y="66"/>
                  </a:cubicBezTo>
                  <a:cubicBezTo>
                    <a:pt x="53" y="86"/>
                    <a:pt x="56" y="114"/>
                    <a:pt x="56" y="162"/>
                  </a:cubicBezTo>
                  <a:lnTo>
                    <a:pt x="56" y="750"/>
                  </a:lnTo>
                  <a:cubicBezTo>
                    <a:pt x="56" y="793"/>
                    <a:pt x="53" y="817"/>
                    <a:pt x="46" y="837"/>
                  </a:cubicBezTo>
                  <a:cubicBezTo>
                    <a:pt x="42" y="847"/>
                    <a:pt x="37" y="857"/>
                    <a:pt x="31" y="865"/>
                  </a:cubicBezTo>
                  <a:cubicBezTo>
                    <a:pt x="22" y="876"/>
                    <a:pt x="17" y="882"/>
                    <a:pt x="0" y="897"/>
                  </a:cubicBezTo>
                  <a:lnTo>
                    <a:pt x="285" y="897"/>
                  </a:lnTo>
                  <a:cubicBezTo>
                    <a:pt x="273" y="883"/>
                    <a:pt x="269" y="878"/>
                    <a:pt x="261" y="867"/>
                  </a:cubicBezTo>
                  <a:cubicBezTo>
                    <a:pt x="254" y="859"/>
                    <a:pt x="249" y="850"/>
                    <a:pt x="245" y="840"/>
                  </a:cubicBezTo>
                  <a:cubicBezTo>
                    <a:pt x="238" y="820"/>
                    <a:pt x="234" y="799"/>
                    <a:pt x="234" y="757"/>
                  </a:cubicBezTo>
                  <a:cubicBezTo>
                    <a:pt x="234" y="744"/>
                    <a:pt x="233" y="729"/>
                    <a:pt x="233" y="712"/>
                  </a:cubicBezTo>
                  <a:lnTo>
                    <a:pt x="233" y="510"/>
                  </a:lnTo>
                  <a:lnTo>
                    <a:pt x="400" y="710"/>
                  </a:lnTo>
                  <a:cubicBezTo>
                    <a:pt x="407" y="719"/>
                    <a:pt x="420" y="734"/>
                    <a:pt x="437" y="753"/>
                  </a:cubicBezTo>
                  <a:cubicBezTo>
                    <a:pt x="456" y="775"/>
                    <a:pt x="471" y="791"/>
                    <a:pt x="481" y="801"/>
                  </a:cubicBezTo>
                  <a:cubicBezTo>
                    <a:pt x="513" y="835"/>
                    <a:pt x="543" y="859"/>
                    <a:pt x="573" y="875"/>
                  </a:cubicBezTo>
                  <a:cubicBezTo>
                    <a:pt x="599" y="889"/>
                    <a:pt x="624" y="895"/>
                    <a:pt x="662" y="896"/>
                  </a:cubicBezTo>
                  <a:cubicBezTo>
                    <a:pt x="677" y="897"/>
                    <a:pt x="693" y="897"/>
                    <a:pt x="709" y="897"/>
                  </a:cubicBezTo>
                  <a:lnTo>
                    <a:pt x="822" y="897"/>
                  </a:lnTo>
                  <a:cubicBezTo>
                    <a:pt x="807" y="885"/>
                    <a:pt x="800" y="880"/>
                    <a:pt x="789" y="870"/>
                  </a:cubicBezTo>
                  <a:cubicBezTo>
                    <a:pt x="777" y="859"/>
                    <a:pt x="764" y="848"/>
                    <a:pt x="750" y="8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4" name="Freeform 9">
              <a:extLst>
                <a:ext uri="{FF2B5EF4-FFF2-40B4-BE49-F238E27FC236}">
                  <a16:creationId xmlns:a16="http://schemas.microsoft.com/office/drawing/2014/main" id="{5B91E5E6-4550-4277-98FA-AE1B3122BB24}"/>
                </a:ext>
              </a:extLst>
            </p:cNvPr>
            <p:cNvSpPr>
              <a:spLocks/>
            </p:cNvSpPr>
            <p:nvPr userDrawn="1"/>
          </p:nvSpPr>
          <p:spPr bwMode="auto">
            <a:xfrm>
              <a:off x="679" y="195"/>
              <a:ext cx="68" cy="84"/>
            </a:xfrm>
            <a:custGeom>
              <a:avLst/>
              <a:gdLst>
                <a:gd name="T0" fmla="*/ 668 w 765"/>
                <a:gd name="T1" fmla="*/ 790 h 944"/>
                <a:gd name="T2" fmla="*/ 668 w 765"/>
                <a:gd name="T3" fmla="*/ 790 h 944"/>
                <a:gd name="T4" fmla="*/ 512 w 765"/>
                <a:gd name="T5" fmla="*/ 823 h 944"/>
                <a:gd name="T6" fmla="*/ 281 w 765"/>
                <a:gd name="T7" fmla="*/ 727 h 944"/>
                <a:gd name="T8" fmla="*/ 191 w 765"/>
                <a:gd name="T9" fmla="*/ 478 h 944"/>
                <a:gd name="T10" fmla="*/ 272 w 765"/>
                <a:gd name="T11" fmla="*/ 236 h 944"/>
                <a:gd name="T12" fmla="*/ 354 w 765"/>
                <a:gd name="T13" fmla="*/ 170 h 944"/>
                <a:gd name="T14" fmla="*/ 527 w 765"/>
                <a:gd name="T15" fmla="*/ 126 h 944"/>
                <a:gd name="T16" fmla="*/ 688 w 765"/>
                <a:gd name="T17" fmla="*/ 159 h 944"/>
                <a:gd name="T18" fmla="*/ 762 w 765"/>
                <a:gd name="T19" fmla="*/ 199 h 944"/>
                <a:gd name="T20" fmla="*/ 762 w 765"/>
                <a:gd name="T21" fmla="*/ 31 h 944"/>
                <a:gd name="T22" fmla="*/ 708 w 765"/>
                <a:gd name="T23" fmla="*/ 16 h 944"/>
                <a:gd name="T24" fmla="*/ 550 w 765"/>
                <a:gd name="T25" fmla="*/ 0 h 944"/>
                <a:gd name="T26" fmla="*/ 294 w 765"/>
                <a:gd name="T27" fmla="*/ 48 h 944"/>
                <a:gd name="T28" fmla="*/ 171 w 765"/>
                <a:gd name="T29" fmla="*/ 121 h 944"/>
                <a:gd name="T30" fmla="*/ 0 w 765"/>
                <a:gd name="T31" fmla="*/ 488 h 944"/>
                <a:gd name="T32" fmla="*/ 164 w 765"/>
                <a:gd name="T33" fmla="*/ 840 h 944"/>
                <a:gd name="T34" fmla="*/ 499 w 765"/>
                <a:gd name="T35" fmla="*/ 944 h 944"/>
                <a:gd name="T36" fmla="*/ 751 w 765"/>
                <a:gd name="T37" fmla="*/ 904 h 944"/>
                <a:gd name="T38" fmla="*/ 765 w 765"/>
                <a:gd name="T39" fmla="*/ 899 h 944"/>
                <a:gd name="T40" fmla="*/ 765 w 765"/>
                <a:gd name="T41" fmla="*/ 736 h 944"/>
                <a:gd name="T42" fmla="*/ 724 w 765"/>
                <a:gd name="T43" fmla="*/ 763 h 944"/>
                <a:gd name="T44" fmla="*/ 668 w 765"/>
                <a:gd name="T45" fmla="*/ 79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5" h="944">
                  <a:moveTo>
                    <a:pt x="668" y="790"/>
                  </a:moveTo>
                  <a:lnTo>
                    <a:pt x="668" y="790"/>
                  </a:lnTo>
                  <a:cubicBezTo>
                    <a:pt x="614" y="813"/>
                    <a:pt x="565" y="823"/>
                    <a:pt x="512" y="823"/>
                  </a:cubicBezTo>
                  <a:cubicBezTo>
                    <a:pt x="419" y="823"/>
                    <a:pt x="340" y="790"/>
                    <a:pt x="281" y="727"/>
                  </a:cubicBezTo>
                  <a:cubicBezTo>
                    <a:pt x="222" y="664"/>
                    <a:pt x="191" y="577"/>
                    <a:pt x="191" y="478"/>
                  </a:cubicBezTo>
                  <a:cubicBezTo>
                    <a:pt x="191" y="384"/>
                    <a:pt x="220" y="297"/>
                    <a:pt x="272" y="236"/>
                  </a:cubicBezTo>
                  <a:cubicBezTo>
                    <a:pt x="295" y="210"/>
                    <a:pt x="322" y="187"/>
                    <a:pt x="354" y="170"/>
                  </a:cubicBezTo>
                  <a:cubicBezTo>
                    <a:pt x="404" y="141"/>
                    <a:pt x="463" y="126"/>
                    <a:pt x="527" y="126"/>
                  </a:cubicBezTo>
                  <a:cubicBezTo>
                    <a:pt x="582" y="126"/>
                    <a:pt x="635" y="137"/>
                    <a:pt x="688" y="159"/>
                  </a:cubicBezTo>
                  <a:cubicBezTo>
                    <a:pt x="722" y="172"/>
                    <a:pt x="734" y="179"/>
                    <a:pt x="762" y="199"/>
                  </a:cubicBezTo>
                  <a:lnTo>
                    <a:pt x="762" y="31"/>
                  </a:lnTo>
                  <a:cubicBezTo>
                    <a:pt x="740" y="24"/>
                    <a:pt x="731" y="21"/>
                    <a:pt x="708" y="16"/>
                  </a:cubicBezTo>
                  <a:cubicBezTo>
                    <a:pt x="656" y="5"/>
                    <a:pt x="606" y="0"/>
                    <a:pt x="550" y="0"/>
                  </a:cubicBezTo>
                  <a:cubicBezTo>
                    <a:pt x="453" y="0"/>
                    <a:pt x="370" y="16"/>
                    <a:pt x="294" y="48"/>
                  </a:cubicBezTo>
                  <a:cubicBezTo>
                    <a:pt x="249" y="67"/>
                    <a:pt x="207" y="91"/>
                    <a:pt x="171" y="121"/>
                  </a:cubicBezTo>
                  <a:cubicBezTo>
                    <a:pt x="60" y="210"/>
                    <a:pt x="0" y="339"/>
                    <a:pt x="0" y="488"/>
                  </a:cubicBezTo>
                  <a:cubicBezTo>
                    <a:pt x="0" y="632"/>
                    <a:pt x="58" y="756"/>
                    <a:pt x="164" y="840"/>
                  </a:cubicBezTo>
                  <a:cubicBezTo>
                    <a:pt x="251" y="909"/>
                    <a:pt x="364" y="944"/>
                    <a:pt x="499" y="944"/>
                  </a:cubicBezTo>
                  <a:cubicBezTo>
                    <a:pt x="583" y="944"/>
                    <a:pt x="662" y="931"/>
                    <a:pt x="751" y="904"/>
                  </a:cubicBezTo>
                  <a:cubicBezTo>
                    <a:pt x="754" y="903"/>
                    <a:pt x="759" y="901"/>
                    <a:pt x="765" y="899"/>
                  </a:cubicBezTo>
                  <a:lnTo>
                    <a:pt x="765" y="736"/>
                  </a:lnTo>
                  <a:cubicBezTo>
                    <a:pt x="744" y="750"/>
                    <a:pt x="736" y="755"/>
                    <a:pt x="724" y="763"/>
                  </a:cubicBezTo>
                  <a:cubicBezTo>
                    <a:pt x="706" y="773"/>
                    <a:pt x="688" y="782"/>
                    <a:pt x="668" y="7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5" name="Freeform 10">
              <a:extLst>
                <a:ext uri="{FF2B5EF4-FFF2-40B4-BE49-F238E27FC236}">
                  <a16:creationId xmlns:a16="http://schemas.microsoft.com/office/drawing/2014/main" id="{71928B10-98A5-45DC-AFAA-408EC76852B2}"/>
                </a:ext>
              </a:extLst>
            </p:cNvPr>
            <p:cNvSpPr>
              <a:spLocks/>
            </p:cNvSpPr>
            <p:nvPr userDrawn="1"/>
          </p:nvSpPr>
          <p:spPr bwMode="auto">
            <a:xfrm>
              <a:off x="471" y="197"/>
              <a:ext cx="78" cy="83"/>
            </a:xfrm>
            <a:custGeom>
              <a:avLst/>
              <a:gdLst>
                <a:gd name="T0" fmla="*/ 631 w 885"/>
                <a:gd name="T1" fmla="*/ 34 h 927"/>
                <a:gd name="T2" fmla="*/ 631 w 885"/>
                <a:gd name="T3" fmla="*/ 34 h 927"/>
                <a:gd name="T4" fmla="*/ 644 w 885"/>
                <a:gd name="T5" fmla="*/ 65 h 927"/>
                <a:gd name="T6" fmla="*/ 652 w 885"/>
                <a:gd name="T7" fmla="*/ 159 h 927"/>
                <a:gd name="T8" fmla="*/ 652 w 885"/>
                <a:gd name="T9" fmla="*/ 500 h 927"/>
                <a:gd name="T10" fmla="*/ 645 w 885"/>
                <a:gd name="T11" fmla="*/ 652 h 927"/>
                <a:gd name="T12" fmla="*/ 621 w 885"/>
                <a:gd name="T13" fmla="*/ 718 h 927"/>
                <a:gd name="T14" fmla="*/ 511 w 885"/>
                <a:gd name="T15" fmla="*/ 795 h 927"/>
                <a:gd name="T16" fmla="*/ 448 w 885"/>
                <a:gd name="T17" fmla="*/ 802 h 927"/>
                <a:gd name="T18" fmla="*/ 272 w 885"/>
                <a:gd name="T19" fmla="*/ 726 h 927"/>
                <a:gd name="T20" fmla="*/ 240 w 885"/>
                <a:gd name="T21" fmla="*/ 562 h 927"/>
                <a:gd name="T22" fmla="*/ 239 w 885"/>
                <a:gd name="T23" fmla="*/ 488 h 927"/>
                <a:gd name="T24" fmla="*/ 239 w 885"/>
                <a:gd name="T25" fmla="*/ 218 h 927"/>
                <a:gd name="T26" fmla="*/ 241 w 885"/>
                <a:gd name="T27" fmla="*/ 114 h 927"/>
                <a:gd name="T28" fmla="*/ 248 w 885"/>
                <a:gd name="T29" fmla="*/ 73 h 927"/>
                <a:gd name="T30" fmla="*/ 284 w 885"/>
                <a:gd name="T31" fmla="*/ 8 h 927"/>
                <a:gd name="T32" fmla="*/ 291 w 885"/>
                <a:gd name="T33" fmla="*/ 0 h 927"/>
                <a:gd name="T34" fmla="*/ 0 w 885"/>
                <a:gd name="T35" fmla="*/ 0 h 927"/>
                <a:gd name="T36" fmla="*/ 32 w 885"/>
                <a:gd name="T37" fmla="*/ 36 h 927"/>
                <a:gd name="T38" fmla="*/ 45 w 885"/>
                <a:gd name="T39" fmla="*/ 67 h 927"/>
                <a:gd name="T40" fmla="*/ 51 w 885"/>
                <a:gd name="T41" fmla="*/ 109 h 927"/>
                <a:gd name="T42" fmla="*/ 51 w 885"/>
                <a:gd name="T43" fmla="*/ 164 h 927"/>
                <a:gd name="T44" fmla="*/ 52 w 885"/>
                <a:gd name="T45" fmla="*/ 216 h 927"/>
                <a:gd name="T46" fmla="*/ 52 w 885"/>
                <a:gd name="T47" fmla="*/ 473 h 927"/>
                <a:gd name="T48" fmla="*/ 55 w 885"/>
                <a:gd name="T49" fmla="*/ 631 h 927"/>
                <a:gd name="T50" fmla="*/ 118 w 885"/>
                <a:gd name="T51" fmla="*/ 796 h 927"/>
                <a:gd name="T52" fmla="*/ 435 w 885"/>
                <a:gd name="T53" fmla="*/ 927 h 927"/>
                <a:gd name="T54" fmla="*/ 615 w 885"/>
                <a:gd name="T55" fmla="*/ 898 h 927"/>
                <a:gd name="T56" fmla="*/ 748 w 885"/>
                <a:gd name="T57" fmla="*/ 809 h 927"/>
                <a:gd name="T58" fmla="*/ 821 w 885"/>
                <a:gd name="T59" fmla="*/ 635 h 927"/>
                <a:gd name="T60" fmla="*/ 827 w 885"/>
                <a:gd name="T61" fmla="*/ 475 h 927"/>
                <a:gd name="T62" fmla="*/ 827 w 885"/>
                <a:gd name="T63" fmla="*/ 217 h 927"/>
                <a:gd name="T64" fmla="*/ 826 w 885"/>
                <a:gd name="T65" fmla="*/ 165 h 927"/>
                <a:gd name="T66" fmla="*/ 826 w 885"/>
                <a:gd name="T67" fmla="*/ 155 h 927"/>
                <a:gd name="T68" fmla="*/ 834 w 885"/>
                <a:gd name="T69" fmla="*/ 73 h 927"/>
                <a:gd name="T70" fmla="*/ 849 w 885"/>
                <a:gd name="T71" fmla="*/ 37 h 927"/>
                <a:gd name="T72" fmla="*/ 885 w 885"/>
                <a:gd name="T73" fmla="*/ 0 h 927"/>
                <a:gd name="T74" fmla="*/ 599 w 885"/>
                <a:gd name="T75" fmla="*/ 0 h 927"/>
                <a:gd name="T76" fmla="*/ 631 w 885"/>
                <a:gd name="T77" fmla="*/ 34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5" h="927">
                  <a:moveTo>
                    <a:pt x="631" y="34"/>
                  </a:moveTo>
                  <a:lnTo>
                    <a:pt x="631" y="34"/>
                  </a:lnTo>
                  <a:cubicBezTo>
                    <a:pt x="637" y="44"/>
                    <a:pt x="641" y="54"/>
                    <a:pt x="644" y="65"/>
                  </a:cubicBezTo>
                  <a:cubicBezTo>
                    <a:pt x="650" y="87"/>
                    <a:pt x="652" y="108"/>
                    <a:pt x="652" y="159"/>
                  </a:cubicBezTo>
                  <a:lnTo>
                    <a:pt x="652" y="500"/>
                  </a:lnTo>
                  <a:cubicBezTo>
                    <a:pt x="652" y="573"/>
                    <a:pt x="650" y="617"/>
                    <a:pt x="645" y="652"/>
                  </a:cubicBezTo>
                  <a:cubicBezTo>
                    <a:pt x="641" y="676"/>
                    <a:pt x="633" y="698"/>
                    <a:pt x="621" y="718"/>
                  </a:cubicBezTo>
                  <a:cubicBezTo>
                    <a:pt x="600" y="755"/>
                    <a:pt x="559" y="783"/>
                    <a:pt x="511" y="795"/>
                  </a:cubicBezTo>
                  <a:cubicBezTo>
                    <a:pt x="492" y="800"/>
                    <a:pt x="470" y="802"/>
                    <a:pt x="448" y="802"/>
                  </a:cubicBezTo>
                  <a:cubicBezTo>
                    <a:pt x="371" y="802"/>
                    <a:pt x="304" y="773"/>
                    <a:pt x="272" y="726"/>
                  </a:cubicBezTo>
                  <a:cubicBezTo>
                    <a:pt x="248" y="690"/>
                    <a:pt x="241" y="655"/>
                    <a:pt x="240" y="562"/>
                  </a:cubicBezTo>
                  <a:lnTo>
                    <a:pt x="239" y="488"/>
                  </a:lnTo>
                  <a:lnTo>
                    <a:pt x="239" y="218"/>
                  </a:lnTo>
                  <a:cubicBezTo>
                    <a:pt x="239" y="166"/>
                    <a:pt x="239" y="141"/>
                    <a:pt x="241" y="114"/>
                  </a:cubicBezTo>
                  <a:cubicBezTo>
                    <a:pt x="242" y="98"/>
                    <a:pt x="244" y="84"/>
                    <a:pt x="248" y="73"/>
                  </a:cubicBezTo>
                  <a:cubicBezTo>
                    <a:pt x="254" y="52"/>
                    <a:pt x="269" y="25"/>
                    <a:pt x="284" y="8"/>
                  </a:cubicBezTo>
                  <a:cubicBezTo>
                    <a:pt x="286" y="6"/>
                    <a:pt x="288" y="3"/>
                    <a:pt x="291" y="0"/>
                  </a:cubicBezTo>
                  <a:lnTo>
                    <a:pt x="0" y="0"/>
                  </a:lnTo>
                  <a:cubicBezTo>
                    <a:pt x="18" y="15"/>
                    <a:pt x="23" y="21"/>
                    <a:pt x="32" y="36"/>
                  </a:cubicBezTo>
                  <a:cubicBezTo>
                    <a:pt x="38" y="46"/>
                    <a:pt x="42" y="56"/>
                    <a:pt x="45" y="67"/>
                  </a:cubicBezTo>
                  <a:cubicBezTo>
                    <a:pt x="48" y="81"/>
                    <a:pt x="51" y="95"/>
                    <a:pt x="51" y="109"/>
                  </a:cubicBezTo>
                  <a:cubicBezTo>
                    <a:pt x="51" y="117"/>
                    <a:pt x="51" y="136"/>
                    <a:pt x="51" y="164"/>
                  </a:cubicBezTo>
                  <a:lnTo>
                    <a:pt x="52" y="216"/>
                  </a:lnTo>
                  <a:lnTo>
                    <a:pt x="52" y="473"/>
                  </a:lnTo>
                  <a:cubicBezTo>
                    <a:pt x="52" y="569"/>
                    <a:pt x="52" y="593"/>
                    <a:pt x="55" y="631"/>
                  </a:cubicBezTo>
                  <a:cubicBezTo>
                    <a:pt x="61" y="697"/>
                    <a:pt x="80" y="749"/>
                    <a:pt x="118" y="796"/>
                  </a:cubicBezTo>
                  <a:cubicBezTo>
                    <a:pt x="186" y="882"/>
                    <a:pt x="295" y="927"/>
                    <a:pt x="435" y="927"/>
                  </a:cubicBezTo>
                  <a:cubicBezTo>
                    <a:pt x="501" y="927"/>
                    <a:pt x="566" y="916"/>
                    <a:pt x="615" y="898"/>
                  </a:cubicBezTo>
                  <a:cubicBezTo>
                    <a:pt x="667" y="879"/>
                    <a:pt x="714" y="847"/>
                    <a:pt x="748" y="809"/>
                  </a:cubicBezTo>
                  <a:cubicBezTo>
                    <a:pt x="790" y="763"/>
                    <a:pt x="814" y="705"/>
                    <a:pt x="821" y="635"/>
                  </a:cubicBezTo>
                  <a:cubicBezTo>
                    <a:pt x="825" y="594"/>
                    <a:pt x="827" y="545"/>
                    <a:pt x="827" y="475"/>
                  </a:cubicBezTo>
                  <a:lnTo>
                    <a:pt x="827" y="217"/>
                  </a:lnTo>
                  <a:lnTo>
                    <a:pt x="826" y="165"/>
                  </a:lnTo>
                  <a:lnTo>
                    <a:pt x="826" y="155"/>
                  </a:lnTo>
                  <a:cubicBezTo>
                    <a:pt x="826" y="117"/>
                    <a:pt x="828" y="94"/>
                    <a:pt x="834" y="73"/>
                  </a:cubicBezTo>
                  <a:cubicBezTo>
                    <a:pt x="837" y="61"/>
                    <a:pt x="842" y="48"/>
                    <a:pt x="849" y="37"/>
                  </a:cubicBezTo>
                  <a:cubicBezTo>
                    <a:pt x="859" y="22"/>
                    <a:pt x="866" y="15"/>
                    <a:pt x="885" y="0"/>
                  </a:cubicBezTo>
                  <a:lnTo>
                    <a:pt x="599" y="0"/>
                  </a:lnTo>
                  <a:cubicBezTo>
                    <a:pt x="616" y="13"/>
                    <a:pt x="622" y="20"/>
                    <a:pt x="631"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6" name="Freeform 11">
              <a:extLst>
                <a:ext uri="{FF2B5EF4-FFF2-40B4-BE49-F238E27FC236}">
                  <a16:creationId xmlns:a16="http://schemas.microsoft.com/office/drawing/2014/main" id="{BF5BE95A-B1EF-4598-9A4B-E23DD9E08413}"/>
                </a:ext>
              </a:extLst>
            </p:cNvPr>
            <p:cNvSpPr>
              <a:spLocks/>
            </p:cNvSpPr>
            <p:nvPr userDrawn="1"/>
          </p:nvSpPr>
          <p:spPr bwMode="auto">
            <a:xfrm>
              <a:off x="381" y="197"/>
              <a:ext cx="77" cy="80"/>
            </a:xfrm>
            <a:custGeom>
              <a:avLst/>
              <a:gdLst>
                <a:gd name="T0" fmla="*/ 654 w 865"/>
                <a:gd name="T1" fmla="*/ 771 h 897"/>
                <a:gd name="T2" fmla="*/ 654 w 865"/>
                <a:gd name="T3" fmla="*/ 771 h 897"/>
                <a:gd name="T4" fmla="*/ 513 w 865"/>
                <a:gd name="T5" fmla="*/ 783 h 897"/>
                <a:gd name="T6" fmla="*/ 442 w 865"/>
                <a:gd name="T7" fmla="*/ 784 h 897"/>
                <a:gd name="T8" fmla="*/ 304 w 865"/>
                <a:gd name="T9" fmla="*/ 784 h 897"/>
                <a:gd name="T10" fmla="*/ 848 w 865"/>
                <a:gd name="T11" fmla="*/ 0 h 897"/>
                <a:gd name="T12" fmla="*/ 143 w 865"/>
                <a:gd name="T13" fmla="*/ 0 h 897"/>
                <a:gd name="T14" fmla="*/ 56 w 865"/>
                <a:gd name="T15" fmla="*/ 191 h 897"/>
                <a:gd name="T16" fmla="*/ 121 w 865"/>
                <a:gd name="T17" fmla="*/ 160 h 897"/>
                <a:gd name="T18" fmla="*/ 248 w 865"/>
                <a:gd name="T19" fmla="*/ 124 h 897"/>
                <a:gd name="T20" fmla="*/ 375 w 865"/>
                <a:gd name="T21" fmla="*/ 113 h 897"/>
                <a:gd name="T22" fmla="*/ 444 w 865"/>
                <a:gd name="T23" fmla="*/ 112 h 897"/>
                <a:gd name="T24" fmla="*/ 549 w 865"/>
                <a:gd name="T25" fmla="*/ 112 h 897"/>
                <a:gd name="T26" fmla="*/ 0 w 865"/>
                <a:gd name="T27" fmla="*/ 897 h 897"/>
                <a:gd name="T28" fmla="*/ 776 w 865"/>
                <a:gd name="T29" fmla="*/ 897 h 897"/>
                <a:gd name="T30" fmla="*/ 865 w 865"/>
                <a:gd name="T31" fmla="*/ 692 h 897"/>
                <a:gd name="T32" fmla="*/ 800 w 865"/>
                <a:gd name="T33" fmla="*/ 727 h 897"/>
                <a:gd name="T34" fmla="*/ 654 w 865"/>
                <a:gd name="T35" fmla="*/ 771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 h="897">
                  <a:moveTo>
                    <a:pt x="654" y="771"/>
                  </a:moveTo>
                  <a:lnTo>
                    <a:pt x="654" y="771"/>
                  </a:lnTo>
                  <a:cubicBezTo>
                    <a:pt x="614" y="778"/>
                    <a:pt x="569" y="782"/>
                    <a:pt x="513" y="783"/>
                  </a:cubicBezTo>
                  <a:cubicBezTo>
                    <a:pt x="495" y="784"/>
                    <a:pt x="471" y="784"/>
                    <a:pt x="442" y="784"/>
                  </a:cubicBezTo>
                  <a:lnTo>
                    <a:pt x="304" y="784"/>
                  </a:lnTo>
                  <a:lnTo>
                    <a:pt x="848" y="0"/>
                  </a:lnTo>
                  <a:lnTo>
                    <a:pt x="143" y="0"/>
                  </a:lnTo>
                  <a:lnTo>
                    <a:pt x="56" y="191"/>
                  </a:lnTo>
                  <a:cubicBezTo>
                    <a:pt x="85" y="176"/>
                    <a:pt x="96" y="170"/>
                    <a:pt x="121" y="160"/>
                  </a:cubicBezTo>
                  <a:cubicBezTo>
                    <a:pt x="162" y="144"/>
                    <a:pt x="206" y="132"/>
                    <a:pt x="248" y="124"/>
                  </a:cubicBezTo>
                  <a:cubicBezTo>
                    <a:pt x="285" y="118"/>
                    <a:pt x="319" y="115"/>
                    <a:pt x="375" y="113"/>
                  </a:cubicBezTo>
                  <a:cubicBezTo>
                    <a:pt x="400" y="112"/>
                    <a:pt x="423" y="112"/>
                    <a:pt x="444" y="112"/>
                  </a:cubicBezTo>
                  <a:lnTo>
                    <a:pt x="549" y="112"/>
                  </a:lnTo>
                  <a:lnTo>
                    <a:pt x="0" y="897"/>
                  </a:lnTo>
                  <a:lnTo>
                    <a:pt x="776" y="897"/>
                  </a:lnTo>
                  <a:lnTo>
                    <a:pt x="865" y="692"/>
                  </a:lnTo>
                  <a:cubicBezTo>
                    <a:pt x="834" y="710"/>
                    <a:pt x="823" y="716"/>
                    <a:pt x="800" y="727"/>
                  </a:cubicBezTo>
                  <a:cubicBezTo>
                    <a:pt x="754" y="747"/>
                    <a:pt x="705" y="762"/>
                    <a:pt x="654" y="7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7" name="Freeform 12">
              <a:extLst>
                <a:ext uri="{FF2B5EF4-FFF2-40B4-BE49-F238E27FC236}">
                  <a16:creationId xmlns:a16="http://schemas.microsoft.com/office/drawing/2014/main" id="{10DED5B5-305C-4F15-A0F8-1DDDB4BF5EC3}"/>
                </a:ext>
              </a:extLst>
            </p:cNvPr>
            <p:cNvSpPr>
              <a:spLocks noEditPoints="1"/>
            </p:cNvSpPr>
            <p:nvPr userDrawn="1"/>
          </p:nvSpPr>
          <p:spPr bwMode="auto">
            <a:xfrm>
              <a:off x="850" y="167"/>
              <a:ext cx="18" cy="18"/>
            </a:xfrm>
            <a:custGeom>
              <a:avLst/>
              <a:gdLst>
                <a:gd name="T0" fmla="*/ 102 w 203"/>
                <a:gd name="T1" fmla="*/ 189 h 203"/>
                <a:gd name="T2" fmla="*/ 102 w 203"/>
                <a:gd name="T3" fmla="*/ 189 h 203"/>
                <a:gd name="T4" fmla="*/ 17 w 203"/>
                <a:gd name="T5" fmla="*/ 102 h 203"/>
                <a:gd name="T6" fmla="*/ 102 w 203"/>
                <a:gd name="T7" fmla="*/ 15 h 203"/>
                <a:gd name="T8" fmla="*/ 187 w 203"/>
                <a:gd name="T9" fmla="*/ 102 h 203"/>
                <a:gd name="T10" fmla="*/ 102 w 203"/>
                <a:gd name="T11" fmla="*/ 189 h 203"/>
                <a:gd name="T12" fmla="*/ 102 w 203"/>
                <a:gd name="T13" fmla="*/ 189 h 203"/>
                <a:gd name="T14" fmla="*/ 102 w 203"/>
                <a:gd name="T15" fmla="*/ 0 h 203"/>
                <a:gd name="T16" fmla="*/ 102 w 203"/>
                <a:gd name="T17" fmla="*/ 0 h 203"/>
                <a:gd name="T18" fmla="*/ 0 w 203"/>
                <a:gd name="T19" fmla="*/ 102 h 203"/>
                <a:gd name="T20" fmla="*/ 102 w 203"/>
                <a:gd name="T21" fmla="*/ 203 h 203"/>
                <a:gd name="T22" fmla="*/ 203 w 203"/>
                <a:gd name="T23" fmla="*/ 102 h 203"/>
                <a:gd name="T24" fmla="*/ 102 w 203"/>
                <a:gd name="T2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203">
                  <a:moveTo>
                    <a:pt x="102" y="189"/>
                  </a:moveTo>
                  <a:lnTo>
                    <a:pt x="102" y="189"/>
                  </a:lnTo>
                  <a:cubicBezTo>
                    <a:pt x="54" y="189"/>
                    <a:pt x="17" y="154"/>
                    <a:pt x="17" y="102"/>
                  </a:cubicBezTo>
                  <a:cubicBezTo>
                    <a:pt x="17" y="50"/>
                    <a:pt x="54" y="15"/>
                    <a:pt x="102" y="15"/>
                  </a:cubicBezTo>
                  <a:cubicBezTo>
                    <a:pt x="150" y="15"/>
                    <a:pt x="187" y="50"/>
                    <a:pt x="187" y="102"/>
                  </a:cubicBezTo>
                  <a:cubicBezTo>
                    <a:pt x="187" y="154"/>
                    <a:pt x="150" y="189"/>
                    <a:pt x="102" y="189"/>
                  </a:cubicBezTo>
                  <a:lnTo>
                    <a:pt x="102" y="189"/>
                  </a:lnTo>
                  <a:close/>
                  <a:moveTo>
                    <a:pt x="102" y="0"/>
                  </a:moveTo>
                  <a:lnTo>
                    <a:pt x="102" y="0"/>
                  </a:lnTo>
                  <a:cubicBezTo>
                    <a:pt x="46" y="0"/>
                    <a:pt x="0" y="42"/>
                    <a:pt x="0" y="102"/>
                  </a:cubicBezTo>
                  <a:cubicBezTo>
                    <a:pt x="0" y="162"/>
                    <a:pt x="46" y="203"/>
                    <a:pt x="102" y="203"/>
                  </a:cubicBezTo>
                  <a:cubicBezTo>
                    <a:pt x="158" y="203"/>
                    <a:pt x="203" y="162"/>
                    <a:pt x="203" y="102"/>
                  </a:cubicBezTo>
                  <a:cubicBezTo>
                    <a:pt x="203" y="42"/>
                    <a:pt x="158" y="0"/>
                    <a:pt x="10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38" name="Freeform 13">
              <a:extLst>
                <a:ext uri="{FF2B5EF4-FFF2-40B4-BE49-F238E27FC236}">
                  <a16:creationId xmlns:a16="http://schemas.microsoft.com/office/drawing/2014/main" id="{A34C4C63-4FDA-4993-AF6D-C7F841BFF948}"/>
                </a:ext>
              </a:extLst>
            </p:cNvPr>
            <p:cNvSpPr>
              <a:spLocks noEditPoints="1"/>
            </p:cNvSpPr>
            <p:nvPr userDrawn="1"/>
          </p:nvSpPr>
          <p:spPr bwMode="auto">
            <a:xfrm>
              <a:off x="856" y="171"/>
              <a:ext cx="7" cy="9"/>
            </a:xfrm>
            <a:custGeom>
              <a:avLst/>
              <a:gdLst>
                <a:gd name="T0" fmla="*/ 40 w 87"/>
                <a:gd name="T1" fmla="*/ 50 h 107"/>
                <a:gd name="T2" fmla="*/ 40 w 87"/>
                <a:gd name="T3" fmla="*/ 50 h 107"/>
                <a:gd name="T4" fmla="*/ 15 w 87"/>
                <a:gd name="T5" fmla="*/ 50 h 107"/>
                <a:gd name="T6" fmla="*/ 15 w 87"/>
                <a:gd name="T7" fmla="*/ 16 h 107"/>
                <a:gd name="T8" fmla="*/ 38 w 87"/>
                <a:gd name="T9" fmla="*/ 16 h 107"/>
                <a:gd name="T10" fmla="*/ 66 w 87"/>
                <a:gd name="T11" fmla="*/ 33 h 107"/>
                <a:gd name="T12" fmla="*/ 40 w 87"/>
                <a:gd name="T13" fmla="*/ 50 h 107"/>
                <a:gd name="T14" fmla="*/ 40 w 87"/>
                <a:gd name="T15" fmla="*/ 50 h 107"/>
                <a:gd name="T16" fmla="*/ 83 w 87"/>
                <a:gd name="T17" fmla="*/ 33 h 107"/>
                <a:gd name="T18" fmla="*/ 83 w 87"/>
                <a:gd name="T19" fmla="*/ 33 h 107"/>
                <a:gd name="T20" fmla="*/ 32 w 87"/>
                <a:gd name="T21" fmla="*/ 0 h 107"/>
                <a:gd name="T22" fmla="*/ 0 w 87"/>
                <a:gd name="T23" fmla="*/ 0 h 107"/>
                <a:gd name="T24" fmla="*/ 0 w 87"/>
                <a:gd name="T25" fmla="*/ 107 h 107"/>
                <a:gd name="T26" fmla="*/ 15 w 87"/>
                <a:gd name="T27" fmla="*/ 107 h 107"/>
                <a:gd name="T28" fmla="*/ 15 w 87"/>
                <a:gd name="T29" fmla="*/ 66 h 107"/>
                <a:gd name="T30" fmla="*/ 44 w 87"/>
                <a:gd name="T31" fmla="*/ 66 h 107"/>
                <a:gd name="T32" fmla="*/ 46 w 87"/>
                <a:gd name="T33" fmla="*/ 65 h 107"/>
                <a:gd name="T34" fmla="*/ 69 w 87"/>
                <a:gd name="T35" fmla="*/ 107 h 107"/>
                <a:gd name="T36" fmla="*/ 87 w 87"/>
                <a:gd name="T37" fmla="*/ 107 h 107"/>
                <a:gd name="T38" fmla="*/ 62 w 87"/>
                <a:gd name="T39" fmla="*/ 62 h 107"/>
                <a:gd name="T40" fmla="*/ 83 w 87"/>
                <a:gd name="T41"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107">
                  <a:moveTo>
                    <a:pt x="40" y="50"/>
                  </a:moveTo>
                  <a:lnTo>
                    <a:pt x="40" y="50"/>
                  </a:lnTo>
                  <a:lnTo>
                    <a:pt x="15" y="50"/>
                  </a:lnTo>
                  <a:lnTo>
                    <a:pt x="15" y="16"/>
                  </a:lnTo>
                  <a:lnTo>
                    <a:pt x="38" y="16"/>
                  </a:lnTo>
                  <a:cubicBezTo>
                    <a:pt x="54" y="16"/>
                    <a:pt x="66" y="19"/>
                    <a:pt x="66" y="33"/>
                  </a:cubicBezTo>
                  <a:cubicBezTo>
                    <a:pt x="66" y="45"/>
                    <a:pt x="58" y="50"/>
                    <a:pt x="40" y="50"/>
                  </a:cubicBezTo>
                  <a:lnTo>
                    <a:pt x="40" y="50"/>
                  </a:lnTo>
                  <a:close/>
                  <a:moveTo>
                    <a:pt x="83" y="33"/>
                  </a:moveTo>
                  <a:lnTo>
                    <a:pt x="83" y="33"/>
                  </a:lnTo>
                  <a:cubicBezTo>
                    <a:pt x="83" y="5"/>
                    <a:pt x="64" y="0"/>
                    <a:pt x="32" y="0"/>
                  </a:cubicBezTo>
                  <a:lnTo>
                    <a:pt x="0" y="0"/>
                  </a:lnTo>
                  <a:lnTo>
                    <a:pt x="0" y="107"/>
                  </a:lnTo>
                  <a:lnTo>
                    <a:pt x="15" y="107"/>
                  </a:lnTo>
                  <a:lnTo>
                    <a:pt x="15" y="66"/>
                  </a:lnTo>
                  <a:lnTo>
                    <a:pt x="44" y="66"/>
                  </a:lnTo>
                  <a:cubicBezTo>
                    <a:pt x="45" y="66"/>
                    <a:pt x="46" y="66"/>
                    <a:pt x="46" y="65"/>
                  </a:cubicBezTo>
                  <a:lnTo>
                    <a:pt x="69" y="107"/>
                  </a:lnTo>
                  <a:lnTo>
                    <a:pt x="87" y="107"/>
                  </a:lnTo>
                  <a:lnTo>
                    <a:pt x="62" y="62"/>
                  </a:lnTo>
                  <a:cubicBezTo>
                    <a:pt x="76" y="56"/>
                    <a:pt x="83" y="45"/>
                    <a:pt x="83" y="3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grpSp>
      <p:sp>
        <p:nvSpPr>
          <p:cNvPr id="18" name="Slide Number Placeholder 5">
            <a:extLst>
              <a:ext uri="{FF2B5EF4-FFF2-40B4-BE49-F238E27FC236}">
                <a16:creationId xmlns:a16="http://schemas.microsoft.com/office/drawing/2014/main" id="{6C2690B3-34BA-4DEA-AD15-F9112DF4223E}"/>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Tree>
    <p:extLst>
      <p:ext uri="{BB962C8B-B14F-4D97-AF65-F5344CB8AC3E}">
        <p14:creationId xmlns:p14="http://schemas.microsoft.com/office/powerpoint/2010/main" val="203842501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ACFF7A-0A26-4F0A-A400-3AF20106862B}"/>
              </a:ext>
            </a:extLst>
          </p:cNvPr>
          <p:cNvSpPr>
            <a:spLocks noGrp="1"/>
          </p:cNvSpPr>
          <p:nvPr>
            <p:ph type="ctrTitle"/>
          </p:nvPr>
        </p:nvSpPr>
        <p:spPr>
          <a:xfrm>
            <a:off x="250825" y="2490259"/>
            <a:ext cx="6722148" cy="2242079"/>
          </a:xfrm>
        </p:spPr>
        <p:txBody>
          <a:bodyPr anchor="b">
            <a:noAutofit/>
          </a:bodyPr>
          <a:lstStyle>
            <a:lvl1pPr algn="l">
              <a:defRPr sz="3600">
                <a:solidFill>
                  <a:schemeClr val="accent6"/>
                </a:solidFill>
                <a:latin typeface="+mj-lt"/>
                <a:cs typeface="Arial" panose="020B0604020202020204" pitchFamily="34" charset="0"/>
              </a:defRPr>
            </a:lvl1pPr>
          </a:lstStyle>
          <a:p>
            <a:r>
              <a:rPr lang="nl-NL"/>
              <a:t>Klik om stijl te bewerken</a:t>
            </a:r>
            <a:endParaRPr lang="en-US"/>
          </a:p>
        </p:txBody>
      </p:sp>
      <p:sp>
        <p:nvSpPr>
          <p:cNvPr id="9" name="Subtitle 2">
            <a:extLst>
              <a:ext uri="{FF2B5EF4-FFF2-40B4-BE49-F238E27FC236}">
                <a16:creationId xmlns:a16="http://schemas.microsoft.com/office/drawing/2014/main" id="{5D52D574-4430-4847-B932-BA1C1DC56322}"/>
              </a:ext>
            </a:extLst>
          </p:cNvPr>
          <p:cNvSpPr>
            <a:spLocks noGrp="1"/>
          </p:cNvSpPr>
          <p:nvPr>
            <p:ph type="subTitle" idx="13"/>
          </p:nvPr>
        </p:nvSpPr>
        <p:spPr>
          <a:xfrm>
            <a:off x="250825" y="4911725"/>
            <a:ext cx="6719063" cy="1283999"/>
          </a:xfrm>
        </p:spPr>
        <p:txBody>
          <a:bodyPr>
            <a:normAutofit/>
          </a:bodyPr>
          <a:lstStyle>
            <a:lvl1pPr marL="0" indent="0" algn="l">
              <a:buNone/>
              <a:defRPr sz="2000">
                <a:solidFill>
                  <a:schemeClr val="accent6"/>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15" name="Picture Placeholder 2">
            <a:extLst>
              <a:ext uri="{FF2B5EF4-FFF2-40B4-BE49-F238E27FC236}">
                <a16:creationId xmlns:a16="http://schemas.microsoft.com/office/drawing/2014/main" id="{207E0EDD-CE7D-485D-90AA-EB92659F4C2E}"/>
              </a:ext>
            </a:extLst>
          </p:cNvPr>
          <p:cNvSpPr>
            <a:spLocks noGrp="1" noChangeAspect="1"/>
          </p:cNvSpPr>
          <p:nvPr>
            <p:ph type="pic" sz="quarter" idx="14"/>
          </p:nvPr>
        </p:nvSpPr>
        <p:spPr>
          <a:xfrm>
            <a:off x="9061251" y="1902437"/>
            <a:ext cx="3120000" cy="3120000"/>
          </a:xfrm>
          <a:prstGeom prst="ellipse">
            <a:avLst/>
          </a:prstGeom>
        </p:spPr>
        <p:txBody>
          <a:bodyPr/>
          <a:lstStyle>
            <a:lvl1pPr algn="ctr">
              <a:buNone/>
              <a:defRPr b="0" i="0">
                <a:solidFill>
                  <a:schemeClr val="accent6"/>
                </a:solidFill>
                <a:latin typeface="+mn-lt"/>
                <a:cs typeface="Arial" panose="020B0604020202020204" pitchFamily="34" charset="0"/>
              </a:defRPr>
            </a:lvl1pPr>
          </a:lstStyle>
          <a:p>
            <a:r>
              <a:rPr lang="nl-NL"/>
              <a:t>Klik op het pictogram als u een afbeelding wilt toevoegen</a:t>
            </a:r>
            <a:endParaRPr lang="en-GB"/>
          </a:p>
        </p:txBody>
      </p:sp>
      <p:sp>
        <p:nvSpPr>
          <p:cNvPr id="16" name="Freeform 12">
            <a:extLst>
              <a:ext uri="{FF2B5EF4-FFF2-40B4-BE49-F238E27FC236}">
                <a16:creationId xmlns:a16="http://schemas.microsoft.com/office/drawing/2014/main" id="{CDD94F9F-17AF-4158-8273-144D6BB8BFBA}"/>
              </a:ext>
            </a:extLst>
          </p:cNvPr>
          <p:cNvSpPr/>
          <p:nvPr userDrawn="1"/>
        </p:nvSpPr>
        <p:spPr bwMode="auto">
          <a:xfrm rot="735038">
            <a:off x="9719774" y="4974386"/>
            <a:ext cx="933047" cy="469973"/>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7" name="Freeform 17">
            <a:extLst>
              <a:ext uri="{FF2B5EF4-FFF2-40B4-BE49-F238E27FC236}">
                <a16:creationId xmlns:a16="http://schemas.microsoft.com/office/drawing/2014/main" id="{03EA52F0-9F47-4C1A-A653-1F060850BB16}"/>
              </a:ext>
            </a:extLst>
          </p:cNvPr>
          <p:cNvSpPr/>
          <p:nvPr userDrawn="1"/>
        </p:nvSpPr>
        <p:spPr bwMode="auto">
          <a:xfrm rot="8315714" flipH="1">
            <a:off x="9180227" y="5547933"/>
            <a:ext cx="1677271" cy="86330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8" name="Oval 17">
            <a:extLst>
              <a:ext uri="{FF2B5EF4-FFF2-40B4-BE49-F238E27FC236}">
                <a16:creationId xmlns:a16="http://schemas.microsoft.com/office/drawing/2014/main" id="{6AED791D-1518-403F-BA5A-79F94E7CDCCB}"/>
              </a:ext>
            </a:extLst>
          </p:cNvPr>
          <p:cNvSpPr>
            <a:spLocks noChangeAspect="1"/>
          </p:cNvSpPr>
          <p:nvPr userDrawn="1"/>
        </p:nvSpPr>
        <p:spPr bwMode="auto">
          <a:xfrm rot="5400000">
            <a:off x="10403602" y="5983124"/>
            <a:ext cx="875301" cy="874456"/>
          </a:xfrm>
          <a:prstGeom prst="ellips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26" name="TextBox 25">
            <a:extLst>
              <a:ext uri="{FF2B5EF4-FFF2-40B4-BE49-F238E27FC236}">
                <a16:creationId xmlns:a16="http://schemas.microsoft.com/office/drawing/2014/main" id="{964649C4-0FE0-4E4D-B386-F39D40C28AE9}"/>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mn-lt"/>
                <a:cs typeface="Arial" panose="020B0604020202020204" pitchFamily="34" charset="0"/>
              </a:rPr>
              <a:t>© Zurich</a:t>
            </a:r>
          </a:p>
        </p:txBody>
      </p:sp>
      <p:pic>
        <p:nvPicPr>
          <p:cNvPr id="10" name="Picture 9" descr="Logo&#10;&#10;Description automatically generated">
            <a:extLst>
              <a:ext uri="{FF2B5EF4-FFF2-40B4-BE49-F238E27FC236}">
                <a16:creationId xmlns:a16="http://schemas.microsoft.com/office/drawing/2014/main" id="{E109CABE-B073-42F6-BFFF-0779C438F2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607" y="157397"/>
            <a:ext cx="1779965" cy="684000"/>
          </a:xfrm>
          <a:prstGeom prst="rect">
            <a:avLst/>
          </a:prstGeom>
        </p:spPr>
      </p:pic>
    </p:spTree>
    <p:extLst>
      <p:ext uri="{BB962C8B-B14F-4D97-AF65-F5344CB8AC3E}">
        <p14:creationId xmlns:p14="http://schemas.microsoft.com/office/powerpoint/2010/main" val="98997092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9979B0B5-DCB0-844D-8724-1DB31C8A8C0B}"/>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en-US"/>
              <a:t>Click to edit Master title style</a:t>
            </a:r>
          </a:p>
        </p:txBody>
      </p:sp>
      <p:grpSp>
        <p:nvGrpSpPr>
          <p:cNvPr id="17" name="Group 4">
            <a:extLst>
              <a:ext uri="{FF2B5EF4-FFF2-40B4-BE49-F238E27FC236}">
                <a16:creationId xmlns:a16="http://schemas.microsoft.com/office/drawing/2014/main" id="{05FD581A-C4C2-4FC2-BB96-F96F5D58CC05}"/>
              </a:ext>
            </a:extLst>
          </p:cNvPr>
          <p:cNvGrpSpPr>
            <a:grpSpLocks noChangeAspect="1"/>
          </p:cNvGrpSpPr>
          <p:nvPr userDrawn="1"/>
        </p:nvGrpSpPr>
        <p:grpSpPr bwMode="auto">
          <a:xfrm>
            <a:off x="10178596" y="158751"/>
            <a:ext cx="1773767" cy="683683"/>
            <a:chOff x="79" y="75"/>
            <a:chExt cx="838" cy="323"/>
          </a:xfrm>
          <a:solidFill>
            <a:schemeClr val="accent1"/>
          </a:solidFill>
        </p:grpSpPr>
        <p:sp>
          <p:nvSpPr>
            <p:cNvPr id="18" name="AutoShape 3">
              <a:extLst>
                <a:ext uri="{FF2B5EF4-FFF2-40B4-BE49-F238E27FC236}">
                  <a16:creationId xmlns:a16="http://schemas.microsoft.com/office/drawing/2014/main" id="{37210F69-430F-440B-A140-87F4AB11235D}"/>
                </a:ext>
              </a:extLst>
            </p:cNvPr>
            <p:cNvSpPr>
              <a:spLocks noChangeAspect="1" noChangeArrowheads="1" noTextEdit="1"/>
            </p:cNvSpPr>
            <p:nvPr userDrawn="1"/>
          </p:nvSpPr>
          <p:spPr bwMode="auto">
            <a:xfrm>
              <a:off x="79" y="75"/>
              <a:ext cx="838" cy="32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19" name="Freeform 5">
              <a:extLst>
                <a:ext uri="{FF2B5EF4-FFF2-40B4-BE49-F238E27FC236}">
                  <a16:creationId xmlns:a16="http://schemas.microsoft.com/office/drawing/2014/main" id="{0525E2D6-2AD0-42BA-8689-829D2EEF2854}"/>
                </a:ext>
              </a:extLst>
            </p:cNvPr>
            <p:cNvSpPr>
              <a:spLocks/>
            </p:cNvSpPr>
            <p:nvPr userDrawn="1"/>
          </p:nvSpPr>
          <p:spPr bwMode="auto">
            <a:xfrm>
              <a:off x="159" y="155"/>
              <a:ext cx="163" cy="164"/>
            </a:xfrm>
            <a:custGeom>
              <a:avLst/>
              <a:gdLst>
                <a:gd name="T0" fmla="*/ 920 w 1841"/>
                <a:gd name="T1" fmla="*/ 0 h 1842"/>
                <a:gd name="T2" fmla="*/ 920 w 1841"/>
                <a:gd name="T3" fmla="*/ 0 h 1842"/>
                <a:gd name="T4" fmla="*/ 0 w 1841"/>
                <a:gd name="T5" fmla="*/ 921 h 1842"/>
                <a:gd name="T6" fmla="*/ 0 w 1841"/>
                <a:gd name="T7" fmla="*/ 921 h 1842"/>
                <a:gd name="T8" fmla="*/ 188 w 1841"/>
                <a:gd name="T9" fmla="*/ 1479 h 1842"/>
                <a:gd name="T10" fmla="*/ 954 w 1841"/>
                <a:gd name="T11" fmla="*/ 473 h 1842"/>
                <a:gd name="T12" fmla="*/ 871 w 1841"/>
                <a:gd name="T13" fmla="*/ 474 h 1842"/>
                <a:gd name="T14" fmla="*/ 790 w 1841"/>
                <a:gd name="T15" fmla="*/ 473 h 1842"/>
                <a:gd name="T16" fmla="*/ 561 w 1841"/>
                <a:gd name="T17" fmla="*/ 491 h 1842"/>
                <a:gd name="T18" fmla="*/ 467 w 1841"/>
                <a:gd name="T19" fmla="*/ 530 h 1842"/>
                <a:gd name="T20" fmla="*/ 374 w 1841"/>
                <a:gd name="T21" fmla="*/ 641 h 1842"/>
                <a:gd name="T22" fmla="*/ 361 w 1841"/>
                <a:gd name="T23" fmla="*/ 665 h 1842"/>
                <a:gd name="T24" fmla="*/ 316 w 1841"/>
                <a:gd name="T25" fmla="*/ 655 h 1842"/>
                <a:gd name="T26" fmla="*/ 392 w 1841"/>
                <a:gd name="T27" fmla="*/ 366 h 1842"/>
                <a:gd name="T28" fmla="*/ 1350 w 1841"/>
                <a:gd name="T29" fmla="*/ 366 h 1842"/>
                <a:gd name="T30" fmla="*/ 588 w 1841"/>
                <a:gd name="T31" fmla="*/ 1385 h 1842"/>
                <a:gd name="T32" fmla="*/ 698 w 1841"/>
                <a:gd name="T33" fmla="*/ 1379 h 1842"/>
                <a:gd name="T34" fmla="*/ 839 w 1841"/>
                <a:gd name="T35" fmla="*/ 1385 h 1842"/>
                <a:gd name="T36" fmla="*/ 974 w 1841"/>
                <a:gd name="T37" fmla="*/ 1393 h 1842"/>
                <a:gd name="T38" fmla="*/ 1095 w 1841"/>
                <a:gd name="T39" fmla="*/ 1397 h 1842"/>
                <a:gd name="T40" fmla="*/ 1255 w 1841"/>
                <a:gd name="T41" fmla="*/ 1378 h 1842"/>
                <a:gd name="T42" fmla="*/ 1354 w 1841"/>
                <a:gd name="T43" fmla="*/ 1331 h 1842"/>
                <a:gd name="T44" fmla="*/ 1491 w 1841"/>
                <a:gd name="T45" fmla="*/ 1175 h 1842"/>
                <a:gd name="T46" fmla="*/ 1504 w 1841"/>
                <a:gd name="T47" fmla="*/ 1147 h 1842"/>
                <a:gd name="T48" fmla="*/ 1545 w 1841"/>
                <a:gd name="T49" fmla="*/ 1158 h 1842"/>
                <a:gd name="T50" fmla="*/ 1505 w 1841"/>
                <a:gd name="T51" fmla="*/ 1273 h 1842"/>
                <a:gd name="T52" fmla="*/ 1354 w 1841"/>
                <a:gd name="T53" fmla="*/ 1472 h 1842"/>
                <a:gd name="T54" fmla="*/ 1131 w 1841"/>
                <a:gd name="T55" fmla="*/ 1546 h 1842"/>
                <a:gd name="T56" fmla="*/ 1118 w 1841"/>
                <a:gd name="T57" fmla="*/ 1546 h 1842"/>
                <a:gd name="T58" fmla="*/ 854 w 1841"/>
                <a:gd name="T59" fmla="*/ 1518 h 1842"/>
                <a:gd name="T60" fmla="*/ 544 w 1841"/>
                <a:gd name="T61" fmla="*/ 1486 h 1842"/>
                <a:gd name="T62" fmla="*/ 394 w 1841"/>
                <a:gd name="T63" fmla="*/ 1498 h 1842"/>
                <a:gd name="T64" fmla="*/ 242 w 1841"/>
                <a:gd name="T65" fmla="*/ 1543 h 1842"/>
                <a:gd name="T66" fmla="*/ 920 w 1841"/>
                <a:gd name="T67" fmla="*/ 1842 h 1842"/>
                <a:gd name="T68" fmla="*/ 1841 w 1841"/>
                <a:gd name="T69" fmla="*/ 921 h 1842"/>
                <a:gd name="T70" fmla="*/ 920 w 1841"/>
                <a:gd name="T71" fmla="*/ 0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41" h="1842">
                  <a:moveTo>
                    <a:pt x="920" y="0"/>
                  </a:moveTo>
                  <a:lnTo>
                    <a:pt x="920" y="0"/>
                  </a:lnTo>
                  <a:cubicBezTo>
                    <a:pt x="412" y="0"/>
                    <a:pt x="0" y="412"/>
                    <a:pt x="0" y="921"/>
                  </a:cubicBezTo>
                  <a:lnTo>
                    <a:pt x="0" y="921"/>
                  </a:lnTo>
                  <a:cubicBezTo>
                    <a:pt x="0" y="1131"/>
                    <a:pt x="70" y="1325"/>
                    <a:pt x="188" y="1479"/>
                  </a:cubicBezTo>
                  <a:lnTo>
                    <a:pt x="954" y="473"/>
                  </a:lnTo>
                  <a:lnTo>
                    <a:pt x="871" y="474"/>
                  </a:lnTo>
                  <a:lnTo>
                    <a:pt x="790" y="473"/>
                  </a:lnTo>
                  <a:cubicBezTo>
                    <a:pt x="702" y="473"/>
                    <a:pt x="620" y="480"/>
                    <a:pt x="561" y="491"/>
                  </a:cubicBezTo>
                  <a:cubicBezTo>
                    <a:pt x="525" y="498"/>
                    <a:pt x="493" y="511"/>
                    <a:pt x="467" y="530"/>
                  </a:cubicBezTo>
                  <a:cubicBezTo>
                    <a:pt x="437" y="551"/>
                    <a:pt x="399" y="596"/>
                    <a:pt x="374" y="641"/>
                  </a:cubicBezTo>
                  <a:cubicBezTo>
                    <a:pt x="371" y="646"/>
                    <a:pt x="367" y="654"/>
                    <a:pt x="361" y="665"/>
                  </a:cubicBezTo>
                  <a:lnTo>
                    <a:pt x="316" y="655"/>
                  </a:lnTo>
                  <a:lnTo>
                    <a:pt x="392" y="366"/>
                  </a:lnTo>
                  <a:lnTo>
                    <a:pt x="1350" y="366"/>
                  </a:lnTo>
                  <a:lnTo>
                    <a:pt x="588" y="1385"/>
                  </a:lnTo>
                  <a:cubicBezTo>
                    <a:pt x="638" y="1380"/>
                    <a:pt x="658" y="1379"/>
                    <a:pt x="698" y="1379"/>
                  </a:cubicBezTo>
                  <a:cubicBezTo>
                    <a:pt x="729" y="1379"/>
                    <a:pt x="776" y="1381"/>
                    <a:pt x="839" y="1385"/>
                  </a:cubicBezTo>
                  <a:lnTo>
                    <a:pt x="974" y="1393"/>
                  </a:lnTo>
                  <a:cubicBezTo>
                    <a:pt x="1023" y="1396"/>
                    <a:pt x="1064" y="1397"/>
                    <a:pt x="1095" y="1397"/>
                  </a:cubicBezTo>
                  <a:cubicBezTo>
                    <a:pt x="1165" y="1397"/>
                    <a:pt x="1210" y="1392"/>
                    <a:pt x="1255" y="1378"/>
                  </a:cubicBezTo>
                  <a:cubicBezTo>
                    <a:pt x="1290" y="1367"/>
                    <a:pt x="1324" y="1351"/>
                    <a:pt x="1354" y="1331"/>
                  </a:cubicBezTo>
                  <a:cubicBezTo>
                    <a:pt x="1408" y="1293"/>
                    <a:pt x="1460" y="1234"/>
                    <a:pt x="1491" y="1175"/>
                  </a:cubicBezTo>
                  <a:cubicBezTo>
                    <a:pt x="1494" y="1169"/>
                    <a:pt x="1499" y="1160"/>
                    <a:pt x="1504" y="1147"/>
                  </a:cubicBezTo>
                  <a:lnTo>
                    <a:pt x="1545" y="1158"/>
                  </a:lnTo>
                  <a:cubicBezTo>
                    <a:pt x="1532" y="1208"/>
                    <a:pt x="1525" y="1228"/>
                    <a:pt x="1505" y="1273"/>
                  </a:cubicBezTo>
                  <a:cubicBezTo>
                    <a:pt x="1464" y="1364"/>
                    <a:pt x="1417" y="1425"/>
                    <a:pt x="1354" y="1472"/>
                  </a:cubicBezTo>
                  <a:cubicBezTo>
                    <a:pt x="1289" y="1521"/>
                    <a:pt x="1216" y="1544"/>
                    <a:pt x="1131" y="1546"/>
                  </a:cubicBezTo>
                  <a:lnTo>
                    <a:pt x="1118" y="1546"/>
                  </a:lnTo>
                  <a:cubicBezTo>
                    <a:pt x="1055" y="1546"/>
                    <a:pt x="1006" y="1541"/>
                    <a:pt x="854" y="1518"/>
                  </a:cubicBezTo>
                  <a:cubicBezTo>
                    <a:pt x="700" y="1494"/>
                    <a:pt x="621" y="1486"/>
                    <a:pt x="544" y="1486"/>
                  </a:cubicBezTo>
                  <a:cubicBezTo>
                    <a:pt x="492" y="1486"/>
                    <a:pt x="444" y="1490"/>
                    <a:pt x="394" y="1498"/>
                  </a:cubicBezTo>
                  <a:cubicBezTo>
                    <a:pt x="328" y="1508"/>
                    <a:pt x="302" y="1516"/>
                    <a:pt x="242" y="1543"/>
                  </a:cubicBezTo>
                  <a:cubicBezTo>
                    <a:pt x="410" y="1727"/>
                    <a:pt x="652" y="1842"/>
                    <a:pt x="920" y="1842"/>
                  </a:cubicBezTo>
                  <a:cubicBezTo>
                    <a:pt x="1429" y="1842"/>
                    <a:pt x="1841" y="1430"/>
                    <a:pt x="1841" y="921"/>
                  </a:cubicBezTo>
                  <a:cubicBezTo>
                    <a:pt x="1841" y="412"/>
                    <a:pt x="1429" y="0"/>
                    <a:pt x="9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0" name="Freeform 6">
              <a:extLst>
                <a:ext uri="{FF2B5EF4-FFF2-40B4-BE49-F238E27FC236}">
                  <a16:creationId xmlns:a16="http://schemas.microsoft.com/office/drawing/2014/main" id="{66639B02-12FD-4D91-A48C-62500E5E310B}"/>
                </a:ext>
              </a:extLst>
            </p:cNvPr>
            <p:cNvSpPr>
              <a:spLocks/>
            </p:cNvSpPr>
            <p:nvPr userDrawn="1"/>
          </p:nvSpPr>
          <p:spPr bwMode="auto">
            <a:xfrm>
              <a:off x="642" y="197"/>
              <a:ext cx="25" cy="80"/>
            </a:xfrm>
            <a:custGeom>
              <a:avLst/>
              <a:gdLst>
                <a:gd name="T0" fmla="*/ 232 w 288"/>
                <a:gd name="T1" fmla="*/ 166 h 897"/>
                <a:gd name="T2" fmla="*/ 232 w 288"/>
                <a:gd name="T3" fmla="*/ 166 h 897"/>
                <a:gd name="T4" fmla="*/ 241 w 288"/>
                <a:gd name="T5" fmla="*/ 65 h 897"/>
                <a:gd name="T6" fmla="*/ 254 w 288"/>
                <a:gd name="T7" fmla="*/ 37 h 897"/>
                <a:gd name="T8" fmla="*/ 288 w 288"/>
                <a:gd name="T9" fmla="*/ 0 h 897"/>
                <a:gd name="T10" fmla="*/ 0 w 288"/>
                <a:gd name="T11" fmla="*/ 0 h 897"/>
                <a:gd name="T12" fmla="*/ 33 w 288"/>
                <a:gd name="T13" fmla="*/ 35 h 897"/>
                <a:gd name="T14" fmla="*/ 47 w 288"/>
                <a:gd name="T15" fmla="*/ 64 h 897"/>
                <a:gd name="T16" fmla="*/ 56 w 288"/>
                <a:gd name="T17" fmla="*/ 161 h 897"/>
                <a:gd name="T18" fmla="*/ 56 w 288"/>
                <a:gd name="T19" fmla="*/ 215 h 897"/>
                <a:gd name="T20" fmla="*/ 56 w 288"/>
                <a:gd name="T21" fmla="*/ 752 h 897"/>
                <a:gd name="T22" fmla="*/ 42 w 288"/>
                <a:gd name="T23" fmla="*/ 839 h 897"/>
                <a:gd name="T24" fmla="*/ 28 w 288"/>
                <a:gd name="T25" fmla="*/ 865 h 897"/>
                <a:gd name="T26" fmla="*/ 1 w 288"/>
                <a:gd name="T27" fmla="*/ 897 h 897"/>
                <a:gd name="T28" fmla="*/ 285 w 288"/>
                <a:gd name="T29" fmla="*/ 897 h 897"/>
                <a:gd name="T30" fmla="*/ 258 w 288"/>
                <a:gd name="T31" fmla="*/ 865 h 897"/>
                <a:gd name="T32" fmla="*/ 243 w 288"/>
                <a:gd name="T33" fmla="*/ 838 h 897"/>
                <a:gd name="T34" fmla="*/ 231 w 288"/>
                <a:gd name="T35" fmla="*/ 759 h 897"/>
                <a:gd name="T36" fmla="*/ 231 w 288"/>
                <a:gd name="T37" fmla="*/ 218 h 897"/>
                <a:gd name="T38" fmla="*/ 232 w 288"/>
                <a:gd name="T39" fmla="*/ 16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897">
                  <a:moveTo>
                    <a:pt x="232" y="166"/>
                  </a:moveTo>
                  <a:lnTo>
                    <a:pt x="232" y="166"/>
                  </a:lnTo>
                  <a:cubicBezTo>
                    <a:pt x="232" y="106"/>
                    <a:pt x="233" y="89"/>
                    <a:pt x="241" y="65"/>
                  </a:cubicBezTo>
                  <a:cubicBezTo>
                    <a:pt x="244" y="55"/>
                    <a:pt x="248" y="46"/>
                    <a:pt x="254" y="37"/>
                  </a:cubicBezTo>
                  <a:cubicBezTo>
                    <a:pt x="263" y="22"/>
                    <a:pt x="270" y="14"/>
                    <a:pt x="288" y="0"/>
                  </a:cubicBezTo>
                  <a:lnTo>
                    <a:pt x="0" y="0"/>
                  </a:lnTo>
                  <a:cubicBezTo>
                    <a:pt x="18" y="16"/>
                    <a:pt x="24" y="22"/>
                    <a:pt x="33" y="35"/>
                  </a:cubicBezTo>
                  <a:cubicBezTo>
                    <a:pt x="39" y="44"/>
                    <a:pt x="44" y="54"/>
                    <a:pt x="47" y="64"/>
                  </a:cubicBezTo>
                  <a:cubicBezTo>
                    <a:pt x="53" y="86"/>
                    <a:pt x="56" y="108"/>
                    <a:pt x="56" y="161"/>
                  </a:cubicBezTo>
                  <a:cubicBezTo>
                    <a:pt x="56" y="188"/>
                    <a:pt x="56" y="206"/>
                    <a:pt x="56" y="215"/>
                  </a:cubicBezTo>
                  <a:lnTo>
                    <a:pt x="56" y="752"/>
                  </a:lnTo>
                  <a:cubicBezTo>
                    <a:pt x="56" y="784"/>
                    <a:pt x="51" y="817"/>
                    <a:pt x="42" y="839"/>
                  </a:cubicBezTo>
                  <a:cubicBezTo>
                    <a:pt x="39" y="848"/>
                    <a:pt x="34" y="857"/>
                    <a:pt x="28" y="865"/>
                  </a:cubicBezTo>
                  <a:cubicBezTo>
                    <a:pt x="21" y="875"/>
                    <a:pt x="16" y="880"/>
                    <a:pt x="1" y="897"/>
                  </a:cubicBezTo>
                  <a:lnTo>
                    <a:pt x="285" y="897"/>
                  </a:lnTo>
                  <a:cubicBezTo>
                    <a:pt x="271" y="885"/>
                    <a:pt x="266" y="879"/>
                    <a:pt x="258" y="865"/>
                  </a:cubicBezTo>
                  <a:cubicBezTo>
                    <a:pt x="252" y="856"/>
                    <a:pt x="247" y="847"/>
                    <a:pt x="243" y="838"/>
                  </a:cubicBezTo>
                  <a:cubicBezTo>
                    <a:pt x="236" y="817"/>
                    <a:pt x="231" y="787"/>
                    <a:pt x="231" y="759"/>
                  </a:cubicBezTo>
                  <a:lnTo>
                    <a:pt x="231" y="218"/>
                  </a:lnTo>
                  <a:lnTo>
                    <a:pt x="232" y="1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1" name="Freeform 7">
              <a:extLst>
                <a:ext uri="{FF2B5EF4-FFF2-40B4-BE49-F238E27FC236}">
                  <a16:creationId xmlns:a16="http://schemas.microsoft.com/office/drawing/2014/main" id="{4974666D-0662-49E1-AD05-0F75E9CDE5CC}"/>
                </a:ext>
              </a:extLst>
            </p:cNvPr>
            <p:cNvSpPr>
              <a:spLocks/>
            </p:cNvSpPr>
            <p:nvPr userDrawn="1"/>
          </p:nvSpPr>
          <p:spPr bwMode="auto">
            <a:xfrm>
              <a:off x="761" y="197"/>
              <a:ext cx="77" cy="80"/>
            </a:xfrm>
            <a:custGeom>
              <a:avLst/>
              <a:gdLst>
                <a:gd name="T0" fmla="*/ 810 w 869"/>
                <a:gd name="T1" fmla="*/ 165 h 897"/>
                <a:gd name="T2" fmla="*/ 810 w 869"/>
                <a:gd name="T3" fmla="*/ 165 h 897"/>
                <a:gd name="T4" fmla="*/ 819 w 869"/>
                <a:gd name="T5" fmla="*/ 70 h 897"/>
                <a:gd name="T6" fmla="*/ 834 w 869"/>
                <a:gd name="T7" fmla="*/ 37 h 897"/>
                <a:gd name="T8" fmla="*/ 869 w 869"/>
                <a:gd name="T9" fmla="*/ 0 h 897"/>
                <a:gd name="T10" fmla="*/ 576 w 869"/>
                <a:gd name="T11" fmla="*/ 0 h 897"/>
                <a:gd name="T12" fmla="*/ 609 w 869"/>
                <a:gd name="T13" fmla="*/ 36 h 897"/>
                <a:gd name="T14" fmla="*/ 624 w 869"/>
                <a:gd name="T15" fmla="*/ 67 h 897"/>
                <a:gd name="T16" fmla="*/ 634 w 869"/>
                <a:gd name="T17" fmla="*/ 162 h 897"/>
                <a:gd name="T18" fmla="*/ 634 w 869"/>
                <a:gd name="T19" fmla="*/ 379 h 897"/>
                <a:gd name="T20" fmla="*/ 232 w 869"/>
                <a:gd name="T21" fmla="*/ 379 h 897"/>
                <a:gd name="T22" fmla="*/ 232 w 869"/>
                <a:gd name="T23" fmla="*/ 216 h 897"/>
                <a:gd name="T24" fmla="*/ 234 w 869"/>
                <a:gd name="T25" fmla="*/ 109 h 897"/>
                <a:gd name="T26" fmla="*/ 241 w 869"/>
                <a:gd name="T27" fmla="*/ 70 h 897"/>
                <a:gd name="T28" fmla="*/ 278 w 869"/>
                <a:gd name="T29" fmla="*/ 9 h 897"/>
                <a:gd name="T30" fmla="*/ 288 w 869"/>
                <a:gd name="T31" fmla="*/ 0 h 897"/>
                <a:gd name="T32" fmla="*/ 1 w 869"/>
                <a:gd name="T33" fmla="*/ 0 h 897"/>
                <a:gd name="T34" fmla="*/ 30 w 869"/>
                <a:gd name="T35" fmla="*/ 34 h 897"/>
                <a:gd name="T36" fmla="*/ 46 w 869"/>
                <a:gd name="T37" fmla="*/ 64 h 897"/>
                <a:gd name="T38" fmla="*/ 56 w 869"/>
                <a:gd name="T39" fmla="*/ 159 h 897"/>
                <a:gd name="T40" fmla="*/ 57 w 869"/>
                <a:gd name="T41" fmla="*/ 216 h 897"/>
                <a:gd name="T42" fmla="*/ 57 w 869"/>
                <a:gd name="T43" fmla="*/ 707 h 897"/>
                <a:gd name="T44" fmla="*/ 53 w 869"/>
                <a:gd name="T45" fmla="*/ 802 h 897"/>
                <a:gd name="T46" fmla="*/ 44 w 869"/>
                <a:gd name="T47" fmla="*/ 838 h 897"/>
                <a:gd name="T48" fmla="*/ 9 w 869"/>
                <a:gd name="T49" fmla="*/ 888 h 897"/>
                <a:gd name="T50" fmla="*/ 0 w 869"/>
                <a:gd name="T51" fmla="*/ 897 h 897"/>
                <a:gd name="T52" fmla="*/ 284 w 869"/>
                <a:gd name="T53" fmla="*/ 897 h 897"/>
                <a:gd name="T54" fmla="*/ 260 w 869"/>
                <a:gd name="T55" fmla="*/ 867 h 897"/>
                <a:gd name="T56" fmla="*/ 245 w 869"/>
                <a:gd name="T57" fmla="*/ 839 h 897"/>
                <a:gd name="T58" fmla="*/ 232 w 869"/>
                <a:gd name="T59" fmla="*/ 761 h 897"/>
                <a:gd name="T60" fmla="*/ 232 w 869"/>
                <a:gd name="T61" fmla="*/ 707 h 897"/>
                <a:gd name="T62" fmla="*/ 232 w 869"/>
                <a:gd name="T63" fmla="*/ 490 h 897"/>
                <a:gd name="T64" fmla="*/ 634 w 869"/>
                <a:gd name="T65" fmla="*/ 490 h 897"/>
                <a:gd name="T66" fmla="*/ 634 w 869"/>
                <a:gd name="T67" fmla="*/ 709 h 897"/>
                <a:gd name="T68" fmla="*/ 630 w 869"/>
                <a:gd name="T69" fmla="*/ 800 h 897"/>
                <a:gd name="T70" fmla="*/ 620 w 869"/>
                <a:gd name="T71" fmla="*/ 838 h 897"/>
                <a:gd name="T72" fmla="*/ 588 w 869"/>
                <a:gd name="T73" fmla="*/ 885 h 897"/>
                <a:gd name="T74" fmla="*/ 575 w 869"/>
                <a:gd name="T75" fmla="*/ 897 h 897"/>
                <a:gd name="T76" fmla="*/ 862 w 869"/>
                <a:gd name="T77" fmla="*/ 897 h 897"/>
                <a:gd name="T78" fmla="*/ 838 w 869"/>
                <a:gd name="T79" fmla="*/ 869 h 897"/>
                <a:gd name="T80" fmla="*/ 821 w 869"/>
                <a:gd name="T81" fmla="*/ 839 h 897"/>
                <a:gd name="T82" fmla="*/ 810 w 869"/>
                <a:gd name="T83" fmla="*/ 758 h 897"/>
                <a:gd name="T84" fmla="*/ 809 w 869"/>
                <a:gd name="T85" fmla="*/ 712 h 897"/>
                <a:gd name="T86" fmla="*/ 810 w 869"/>
                <a:gd name="T87" fmla="*/ 218 h 897"/>
                <a:gd name="T88" fmla="*/ 810 w 869"/>
                <a:gd name="T89" fmla="*/ 16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9" h="897">
                  <a:moveTo>
                    <a:pt x="810" y="165"/>
                  </a:moveTo>
                  <a:lnTo>
                    <a:pt x="810" y="165"/>
                  </a:lnTo>
                  <a:cubicBezTo>
                    <a:pt x="810" y="125"/>
                    <a:pt x="813" y="95"/>
                    <a:pt x="819" y="70"/>
                  </a:cubicBezTo>
                  <a:cubicBezTo>
                    <a:pt x="823" y="59"/>
                    <a:pt x="828" y="48"/>
                    <a:pt x="834" y="37"/>
                  </a:cubicBezTo>
                  <a:cubicBezTo>
                    <a:pt x="843" y="22"/>
                    <a:pt x="850" y="14"/>
                    <a:pt x="869" y="0"/>
                  </a:cubicBezTo>
                  <a:lnTo>
                    <a:pt x="576" y="0"/>
                  </a:lnTo>
                  <a:cubicBezTo>
                    <a:pt x="593" y="14"/>
                    <a:pt x="599" y="20"/>
                    <a:pt x="609" y="36"/>
                  </a:cubicBezTo>
                  <a:cubicBezTo>
                    <a:pt x="616" y="46"/>
                    <a:pt x="621" y="57"/>
                    <a:pt x="624" y="67"/>
                  </a:cubicBezTo>
                  <a:cubicBezTo>
                    <a:pt x="631" y="88"/>
                    <a:pt x="634" y="115"/>
                    <a:pt x="634" y="162"/>
                  </a:cubicBezTo>
                  <a:lnTo>
                    <a:pt x="634" y="379"/>
                  </a:lnTo>
                  <a:lnTo>
                    <a:pt x="232" y="379"/>
                  </a:lnTo>
                  <a:lnTo>
                    <a:pt x="232" y="216"/>
                  </a:lnTo>
                  <a:cubicBezTo>
                    <a:pt x="232" y="166"/>
                    <a:pt x="232" y="134"/>
                    <a:pt x="234" y="109"/>
                  </a:cubicBezTo>
                  <a:cubicBezTo>
                    <a:pt x="235" y="95"/>
                    <a:pt x="238" y="82"/>
                    <a:pt x="241" y="70"/>
                  </a:cubicBezTo>
                  <a:cubicBezTo>
                    <a:pt x="247" y="51"/>
                    <a:pt x="264" y="24"/>
                    <a:pt x="278" y="9"/>
                  </a:cubicBezTo>
                  <a:cubicBezTo>
                    <a:pt x="280" y="7"/>
                    <a:pt x="284" y="4"/>
                    <a:pt x="288" y="0"/>
                  </a:cubicBezTo>
                  <a:lnTo>
                    <a:pt x="1" y="0"/>
                  </a:lnTo>
                  <a:cubicBezTo>
                    <a:pt x="18" y="17"/>
                    <a:pt x="23" y="23"/>
                    <a:pt x="30" y="34"/>
                  </a:cubicBezTo>
                  <a:cubicBezTo>
                    <a:pt x="37" y="43"/>
                    <a:pt x="42" y="53"/>
                    <a:pt x="46" y="64"/>
                  </a:cubicBezTo>
                  <a:cubicBezTo>
                    <a:pt x="53" y="87"/>
                    <a:pt x="55" y="100"/>
                    <a:pt x="56" y="159"/>
                  </a:cubicBezTo>
                  <a:lnTo>
                    <a:pt x="57" y="216"/>
                  </a:lnTo>
                  <a:lnTo>
                    <a:pt x="57" y="707"/>
                  </a:lnTo>
                  <a:cubicBezTo>
                    <a:pt x="57" y="757"/>
                    <a:pt x="56" y="779"/>
                    <a:pt x="53" y="802"/>
                  </a:cubicBezTo>
                  <a:cubicBezTo>
                    <a:pt x="51" y="814"/>
                    <a:pt x="48" y="825"/>
                    <a:pt x="44" y="838"/>
                  </a:cubicBezTo>
                  <a:cubicBezTo>
                    <a:pt x="37" y="857"/>
                    <a:pt x="26" y="872"/>
                    <a:pt x="9" y="888"/>
                  </a:cubicBezTo>
                  <a:cubicBezTo>
                    <a:pt x="7" y="890"/>
                    <a:pt x="4" y="893"/>
                    <a:pt x="0" y="897"/>
                  </a:cubicBezTo>
                  <a:lnTo>
                    <a:pt x="284" y="897"/>
                  </a:lnTo>
                  <a:cubicBezTo>
                    <a:pt x="271" y="884"/>
                    <a:pt x="267" y="878"/>
                    <a:pt x="260" y="867"/>
                  </a:cubicBezTo>
                  <a:cubicBezTo>
                    <a:pt x="254" y="859"/>
                    <a:pt x="249" y="849"/>
                    <a:pt x="245" y="839"/>
                  </a:cubicBezTo>
                  <a:cubicBezTo>
                    <a:pt x="236" y="815"/>
                    <a:pt x="233" y="799"/>
                    <a:pt x="232" y="761"/>
                  </a:cubicBezTo>
                  <a:cubicBezTo>
                    <a:pt x="232" y="741"/>
                    <a:pt x="232" y="724"/>
                    <a:pt x="232" y="707"/>
                  </a:cubicBezTo>
                  <a:lnTo>
                    <a:pt x="232" y="490"/>
                  </a:lnTo>
                  <a:lnTo>
                    <a:pt x="634" y="490"/>
                  </a:lnTo>
                  <a:lnTo>
                    <a:pt x="634" y="709"/>
                  </a:lnTo>
                  <a:cubicBezTo>
                    <a:pt x="634" y="757"/>
                    <a:pt x="633" y="775"/>
                    <a:pt x="630" y="800"/>
                  </a:cubicBezTo>
                  <a:cubicBezTo>
                    <a:pt x="628" y="813"/>
                    <a:pt x="625" y="826"/>
                    <a:pt x="620" y="838"/>
                  </a:cubicBezTo>
                  <a:cubicBezTo>
                    <a:pt x="613" y="855"/>
                    <a:pt x="603" y="871"/>
                    <a:pt x="588" y="885"/>
                  </a:cubicBezTo>
                  <a:cubicBezTo>
                    <a:pt x="585" y="888"/>
                    <a:pt x="581" y="892"/>
                    <a:pt x="575" y="897"/>
                  </a:cubicBezTo>
                  <a:lnTo>
                    <a:pt x="862" y="897"/>
                  </a:lnTo>
                  <a:cubicBezTo>
                    <a:pt x="850" y="885"/>
                    <a:pt x="846" y="880"/>
                    <a:pt x="838" y="869"/>
                  </a:cubicBezTo>
                  <a:cubicBezTo>
                    <a:pt x="831" y="859"/>
                    <a:pt x="825" y="849"/>
                    <a:pt x="821" y="839"/>
                  </a:cubicBezTo>
                  <a:cubicBezTo>
                    <a:pt x="813" y="818"/>
                    <a:pt x="811" y="803"/>
                    <a:pt x="810" y="758"/>
                  </a:cubicBezTo>
                  <a:cubicBezTo>
                    <a:pt x="809" y="732"/>
                    <a:pt x="809" y="717"/>
                    <a:pt x="809" y="712"/>
                  </a:cubicBezTo>
                  <a:lnTo>
                    <a:pt x="810" y="218"/>
                  </a:lnTo>
                  <a:lnTo>
                    <a:pt x="810" y="16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2" name="Freeform 8">
              <a:extLst>
                <a:ext uri="{FF2B5EF4-FFF2-40B4-BE49-F238E27FC236}">
                  <a16:creationId xmlns:a16="http://schemas.microsoft.com/office/drawing/2014/main" id="{AACF3C74-3E37-49FF-8A5C-499C94775A22}"/>
                </a:ext>
              </a:extLst>
            </p:cNvPr>
            <p:cNvSpPr>
              <a:spLocks noEditPoints="1"/>
            </p:cNvSpPr>
            <p:nvPr userDrawn="1"/>
          </p:nvSpPr>
          <p:spPr bwMode="auto">
            <a:xfrm>
              <a:off x="562" y="197"/>
              <a:ext cx="73" cy="80"/>
            </a:xfrm>
            <a:custGeom>
              <a:avLst/>
              <a:gdLst>
                <a:gd name="T0" fmla="*/ 408 w 822"/>
                <a:gd name="T1" fmla="*/ 395 h 897"/>
                <a:gd name="T2" fmla="*/ 408 w 822"/>
                <a:gd name="T3" fmla="*/ 395 h 897"/>
                <a:gd name="T4" fmla="*/ 295 w 822"/>
                <a:gd name="T5" fmla="*/ 431 h 897"/>
                <a:gd name="T6" fmla="*/ 248 w 822"/>
                <a:gd name="T7" fmla="*/ 435 h 897"/>
                <a:gd name="T8" fmla="*/ 233 w 822"/>
                <a:gd name="T9" fmla="*/ 435 h 897"/>
                <a:gd name="T10" fmla="*/ 233 w 822"/>
                <a:gd name="T11" fmla="*/ 103 h 897"/>
                <a:gd name="T12" fmla="*/ 257 w 822"/>
                <a:gd name="T13" fmla="*/ 102 h 897"/>
                <a:gd name="T14" fmla="*/ 378 w 822"/>
                <a:gd name="T15" fmla="*/ 117 h 897"/>
                <a:gd name="T16" fmla="*/ 439 w 822"/>
                <a:gd name="T17" fmla="*/ 149 h 897"/>
                <a:gd name="T18" fmla="*/ 485 w 822"/>
                <a:gd name="T19" fmla="*/ 260 h 897"/>
                <a:gd name="T20" fmla="*/ 450 w 822"/>
                <a:gd name="T21" fmla="*/ 361 h 897"/>
                <a:gd name="T22" fmla="*/ 408 w 822"/>
                <a:gd name="T23" fmla="*/ 395 h 897"/>
                <a:gd name="T24" fmla="*/ 408 w 822"/>
                <a:gd name="T25" fmla="*/ 395 h 897"/>
                <a:gd name="T26" fmla="*/ 750 w 822"/>
                <a:gd name="T27" fmla="*/ 835 h 897"/>
                <a:gd name="T28" fmla="*/ 750 w 822"/>
                <a:gd name="T29" fmla="*/ 835 h 897"/>
                <a:gd name="T30" fmla="*/ 649 w 822"/>
                <a:gd name="T31" fmla="*/ 730 h 897"/>
                <a:gd name="T32" fmla="*/ 583 w 822"/>
                <a:gd name="T33" fmla="*/ 657 h 897"/>
                <a:gd name="T34" fmla="*/ 444 w 822"/>
                <a:gd name="T35" fmla="*/ 493 h 897"/>
                <a:gd name="T36" fmla="*/ 484 w 822"/>
                <a:gd name="T37" fmla="*/ 480 h 897"/>
                <a:gd name="T38" fmla="*/ 594 w 822"/>
                <a:gd name="T39" fmla="*/ 416 h 897"/>
                <a:gd name="T40" fmla="*/ 665 w 822"/>
                <a:gd name="T41" fmla="*/ 313 h 897"/>
                <a:gd name="T42" fmla="*/ 676 w 822"/>
                <a:gd name="T43" fmla="*/ 244 h 897"/>
                <a:gd name="T44" fmla="*/ 615 w 822"/>
                <a:gd name="T45" fmla="*/ 97 h 897"/>
                <a:gd name="T46" fmla="*/ 470 w 822"/>
                <a:gd name="T47" fmla="*/ 16 h 897"/>
                <a:gd name="T48" fmla="*/ 316 w 822"/>
                <a:gd name="T49" fmla="*/ 1 h 897"/>
                <a:gd name="T50" fmla="*/ 233 w 822"/>
                <a:gd name="T51" fmla="*/ 0 h 897"/>
                <a:gd name="T52" fmla="*/ 2 w 822"/>
                <a:gd name="T53" fmla="*/ 0 h 897"/>
                <a:gd name="T54" fmla="*/ 32 w 822"/>
                <a:gd name="T55" fmla="*/ 33 h 897"/>
                <a:gd name="T56" fmla="*/ 47 w 822"/>
                <a:gd name="T57" fmla="*/ 66 h 897"/>
                <a:gd name="T58" fmla="*/ 56 w 822"/>
                <a:gd name="T59" fmla="*/ 162 h 897"/>
                <a:gd name="T60" fmla="*/ 56 w 822"/>
                <a:gd name="T61" fmla="*/ 750 h 897"/>
                <a:gd name="T62" fmla="*/ 46 w 822"/>
                <a:gd name="T63" fmla="*/ 837 h 897"/>
                <a:gd name="T64" fmla="*/ 31 w 822"/>
                <a:gd name="T65" fmla="*/ 865 h 897"/>
                <a:gd name="T66" fmla="*/ 0 w 822"/>
                <a:gd name="T67" fmla="*/ 897 h 897"/>
                <a:gd name="T68" fmla="*/ 285 w 822"/>
                <a:gd name="T69" fmla="*/ 897 h 897"/>
                <a:gd name="T70" fmla="*/ 261 w 822"/>
                <a:gd name="T71" fmla="*/ 867 h 897"/>
                <a:gd name="T72" fmla="*/ 245 w 822"/>
                <a:gd name="T73" fmla="*/ 840 h 897"/>
                <a:gd name="T74" fmla="*/ 234 w 822"/>
                <a:gd name="T75" fmla="*/ 757 h 897"/>
                <a:gd name="T76" fmla="*/ 233 w 822"/>
                <a:gd name="T77" fmla="*/ 712 h 897"/>
                <a:gd name="T78" fmla="*/ 233 w 822"/>
                <a:gd name="T79" fmla="*/ 510 h 897"/>
                <a:gd name="T80" fmla="*/ 400 w 822"/>
                <a:gd name="T81" fmla="*/ 710 h 897"/>
                <a:gd name="T82" fmla="*/ 437 w 822"/>
                <a:gd name="T83" fmla="*/ 753 h 897"/>
                <a:gd name="T84" fmla="*/ 481 w 822"/>
                <a:gd name="T85" fmla="*/ 801 h 897"/>
                <a:gd name="T86" fmla="*/ 573 w 822"/>
                <a:gd name="T87" fmla="*/ 875 h 897"/>
                <a:gd name="T88" fmla="*/ 662 w 822"/>
                <a:gd name="T89" fmla="*/ 896 h 897"/>
                <a:gd name="T90" fmla="*/ 709 w 822"/>
                <a:gd name="T91" fmla="*/ 897 h 897"/>
                <a:gd name="T92" fmla="*/ 822 w 822"/>
                <a:gd name="T93" fmla="*/ 897 h 897"/>
                <a:gd name="T94" fmla="*/ 789 w 822"/>
                <a:gd name="T95" fmla="*/ 870 h 897"/>
                <a:gd name="T96" fmla="*/ 750 w 822"/>
                <a:gd name="T97" fmla="*/ 835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897">
                  <a:moveTo>
                    <a:pt x="408" y="395"/>
                  </a:moveTo>
                  <a:lnTo>
                    <a:pt x="408" y="395"/>
                  </a:lnTo>
                  <a:cubicBezTo>
                    <a:pt x="376" y="413"/>
                    <a:pt x="343" y="424"/>
                    <a:pt x="295" y="431"/>
                  </a:cubicBezTo>
                  <a:cubicBezTo>
                    <a:pt x="277" y="434"/>
                    <a:pt x="261" y="435"/>
                    <a:pt x="248" y="435"/>
                  </a:cubicBezTo>
                  <a:cubicBezTo>
                    <a:pt x="243" y="435"/>
                    <a:pt x="240" y="435"/>
                    <a:pt x="233" y="435"/>
                  </a:cubicBezTo>
                  <a:lnTo>
                    <a:pt x="233" y="103"/>
                  </a:lnTo>
                  <a:cubicBezTo>
                    <a:pt x="245" y="102"/>
                    <a:pt x="249" y="102"/>
                    <a:pt x="257" y="102"/>
                  </a:cubicBezTo>
                  <a:cubicBezTo>
                    <a:pt x="301" y="102"/>
                    <a:pt x="344" y="107"/>
                    <a:pt x="378" y="117"/>
                  </a:cubicBezTo>
                  <a:cubicBezTo>
                    <a:pt x="400" y="123"/>
                    <a:pt x="421" y="135"/>
                    <a:pt x="439" y="149"/>
                  </a:cubicBezTo>
                  <a:cubicBezTo>
                    <a:pt x="469" y="175"/>
                    <a:pt x="485" y="213"/>
                    <a:pt x="485" y="260"/>
                  </a:cubicBezTo>
                  <a:cubicBezTo>
                    <a:pt x="485" y="300"/>
                    <a:pt x="473" y="335"/>
                    <a:pt x="450" y="361"/>
                  </a:cubicBezTo>
                  <a:cubicBezTo>
                    <a:pt x="439" y="373"/>
                    <a:pt x="425" y="385"/>
                    <a:pt x="408" y="395"/>
                  </a:cubicBezTo>
                  <a:lnTo>
                    <a:pt x="408" y="395"/>
                  </a:lnTo>
                  <a:close/>
                  <a:moveTo>
                    <a:pt x="750" y="835"/>
                  </a:moveTo>
                  <a:lnTo>
                    <a:pt x="750" y="835"/>
                  </a:lnTo>
                  <a:cubicBezTo>
                    <a:pt x="719" y="804"/>
                    <a:pt x="691" y="776"/>
                    <a:pt x="649" y="730"/>
                  </a:cubicBezTo>
                  <a:cubicBezTo>
                    <a:pt x="622" y="702"/>
                    <a:pt x="600" y="677"/>
                    <a:pt x="583" y="657"/>
                  </a:cubicBezTo>
                  <a:lnTo>
                    <a:pt x="444" y="493"/>
                  </a:lnTo>
                  <a:cubicBezTo>
                    <a:pt x="461" y="488"/>
                    <a:pt x="468" y="486"/>
                    <a:pt x="484" y="480"/>
                  </a:cubicBezTo>
                  <a:cubicBezTo>
                    <a:pt x="529" y="462"/>
                    <a:pt x="563" y="442"/>
                    <a:pt x="594" y="416"/>
                  </a:cubicBezTo>
                  <a:cubicBezTo>
                    <a:pt x="630" y="386"/>
                    <a:pt x="652" y="354"/>
                    <a:pt x="665" y="313"/>
                  </a:cubicBezTo>
                  <a:cubicBezTo>
                    <a:pt x="673" y="291"/>
                    <a:pt x="676" y="267"/>
                    <a:pt x="676" y="244"/>
                  </a:cubicBezTo>
                  <a:cubicBezTo>
                    <a:pt x="676" y="189"/>
                    <a:pt x="656" y="139"/>
                    <a:pt x="615" y="97"/>
                  </a:cubicBezTo>
                  <a:cubicBezTo>
                    <a:pt x="579" y="58"/>
                    <a:pt x="527" y="30"/>
                    <a:pt x="470" y="16"/>
                  </a:cubicBezTo>
                  <a:cubicBezTo>
                    <a:pt x="429" y="7"/>
                    <a:pt x="388" y="2"/>
                    <a:pt x="316" y="1"/>
                  </a:cubicBezTo>
                  <a:cubicBezTo>
                    <a:pt x="289" y="0"/>
                    <a:pt x="262" y="0"/>
                    <a:pt x="233" y="0"/>
                  </a:cubicBezTo>
                  <a:lnTo>
                    <a:pt x="2" y="0"/>
                  </a:lnTo>
                  <a:cubicBezTo>
                    <a:pt x="17" y="14"/>
                    <a:pt x="23" y="20"/>
                    <a:pt x="32" y="33"/>
                  </a:cubicBezTo>
                  <a:cubicBezTo>
                    <a:pt x="38" y="44"/>
                    <a:pt x="44" y="55"/>
                    <a:pt x="47" y="66"/>
                  </a:cubicBezTo>
                  <a:cubicBezTo>
                    <a:pt x="53" y="86"/>
                    <a:pt x="56" y="114"/>
                    <a:pt x="56" y="162"/>
                  </a:cubicBezTo>
                  <a:lnTo>
                    <a:pt x="56" y="750"/>
                  </a:lnTo>
                  <a:cubicBezTo>
                    <a:pt x="56" y="793"/>
                    <a:pt x="53" y="817"/>
                    <a:pt x="46" y="837"/>
                  </a:cubicBezTo>
                  <a:cubicBezTo>
                    <a:pt x="42" y="847"/>
                    <a:pt x="37" y="857"/>
                    <a:pt x="31" y="865"/>
                  </a:cubicBezTo>
                  <a:cubicBezTo>
                    <a:pt x="22" y="876"/>
                    <a:pt x="17" y="882"/>
                    <a:pt x="0" y="897"/>
                  </a:cubicBezTo>
                  <a:lnTo>
                    <a:pt x="285" y="897"/>
                  </a:lnTo>
                  <a:cubicBezTo>
                    <a:pt x="273" y="883"/>
                    <a:pt x="269" y="878"/>
                    <a:pt x="261" y="867"/>
                  </a:cubicBezTo>
                  <a:cubicBezTo>
                    <a:pt x="254" y="859"/>
                    <a:pt x="249" y="850"/>
                    <a:pt x="245" y="840"/>
                  </a:cubicBezTo>
                  <a:cubicBezTo>
                    <a:pt x="238" y="820"/>
                    <a:pt x="234" y="799"/>
                    <a:pt x="234" y="757"/>
                  </a:cubicBezTo>
                  <a:cubicBezTo>
                    <a:pt x="234" y="744"/>
                    <a:pt x="233" y="729"/>
                    <a:pt x="233" y="712"/>
                  </a:cubicBezTo>
                  <a:lnTo>
                    <a:pt x="233" y="510"/>
                  </a:lnTo>
                  <a:lnTo>
                    <a:pt x="400" y="710"/>
                  </a:lnTo>
                  <a:cubicBezTo>
                    <a:pt x="407" y="719"/>
                    <a:pt x="420" y="734"/>
                    <a:pt x="437" y="753"/>
                  </a:cubicBezTo>
                  <a:cubicBezTo>
                    <a:pt x="456" y="775"/>
                    <a:pt x="471" y="791"/>
                    <a:pt x="481" y="801"/>
                  </a:cubicBezTo>
                  <a:cubicBezTo>
                    <a:pt x="513" y="835"/>
                    <a:pt x="543" y="859"/>
                    <a:pt x="573" y="875"/>
                  </a:cubicBezTo>
                  <a:cubicBezTo>
                    <a:pt x="599" y="889"/>
                    <a:pt x="624" y="895"/>
                    <a:pt x="662" y="896"/>
                  </a:cubicBezTo>
                  <a:cubicBezTo>
                    <a:pt x="677" y="897"/>
                    <a:pt x="693" y="897"/>
                    <a:pt x="709" y="897"/>
                  </a:cubicBezTo>
                  <a:lnTo>
                    <a:pt x="822" y="897"/>
                  </a:lnTo>
                  <a:cubicBezTo>
                    <a:pt x="807" y="885"/>
                    <a:pt x="800" y="880"/>
                    <a:pt x="789" y="870"/>
                  </a:cubicBezTo>
                  <a:cubicBezTo>
                    <a:pt x="777" y="859"/>
                    <a:pt x="764" y="848"/>
                    <a:pt x="750" y="8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3" name="Freeform 9">
              <a:extLst>
                <a:ext uri="{FF2B5EF4-FFF2-40B4-BE49-F238E27FC236}">
                  <a16:creationId xmlns:a16="http://schemas.microsoft.com/office/drawing/2014/main" id="{8F61EB5B-16E9-4E81-930C-CC3AF4AE8004}"/>
                </a:ext>
              </a:extLst>
            </p:cNvPr>
            <p:cNvSpPr>
              <a:spLocks/>
            </p:cNvSpPr>
            <p:nvPr userDrawn="1"/>
          </p:nvSpPr>
          <p:spPr bwMode="auto">
            <a:xfrm>
              <a:off x="679" y="195"/>
              <a:ext cx="68" cy="84"/>
            </a:xfrm>
            <a:custGeom>
              <a:avLst/>
              <a:gdLst>
                <a:gd name="T0" fmla="*/ 668 w 765"/>
                <a:gd name="T1" fmla="*/ 790 h 944"/>
                <a:gd name="T2" fmla="*/ 668 w 765"/>
                <a:gd name="T3" fmla="*/ 790 h 944"/>
                <a:gd name="T4" fmla="*/ 512 w 765"/>
                <a:gd name="T5" fmla="*/ 823 h 944"/>
                <a:gd name="T6" fmla="*/ 281 w 765"/>
                <a:gd name="T7" fmla="*/ 727 h 944"/>
                <a:gd name="T8" fmla="*/ 191 w 765"/>
                <a:gd name="T9" fmla="*/ 478 h 944"/>
                <a:gd name="T10" fmla="*/ 272 w 765"/>
                <a:gd name="T11" fmla="*/ 236 h 944"/>
                <a:gd name="T12" fmla="*/ 354 w 765"/>
                <a:gd name="T13" fmla="*/ 170 h 944"/>
                <a:gd name="T14" fmla="*/ 527 w 765"/>
                <a:gd name="T15" fmla="*/ 126 h 944"/>
                <a:gd name="T16" fmla="*/ 688 w 765"/>
                <a:gd name="T17" fmla="*/ 159 h 944"/>
                <a:gd name="T18" fmla="*/ 762 w 765"/>
                <a:gd name="T19" fmla="*/ 199 h 944"/>
                <a:gd name="T20" fmla="*/ 762 w 765"/>
                <a:gd name="T21" fmla="*/ 31 h 944"/>
                <a:gd name="T22" fmla="*/ 708 w 765"/>
                <a:gd name="T23" fmla="*/ 16 h 944"/>
                <a:gd name="T24" fmla="*/ 550 w 765"/>
                <a:gd name="T25" fmla="*/ 0 h 944"/>
                <a:gd name="T26" fmla="*/ 294 w 765"/>
                <a:gd name="T27" fmla="*/ 48 h 944"/>
                <a:gd name="T28" fmla="*/ 171 w 765"/>
                <a:gd name="T29" fmla="*/ 121 h 944"/>
                <a:gd name="T30" fmla="*/ 0 w 765"/>
                <a:gd name="T31" fmla="*/ 488 h 944"/>
                <a:gd name="T32" fmla="*/ 164 w 765"/>
                <a:gd name="T33" fmla="*/ 840 h 944"/>
                <a:gd name="T34" fmla="*/ 499 w 765"/>
                <a:gd name="T35" fmla="*/ 944 h 944"/>
                <a:gd name="T36" fmla="*/ 751 w 765"/>
                <a:gd name="T37" fmla="*/ 904 h 944"/>
                <a:gd name="T38" fmla="*/ 765 w 765"/>
                <a:gd name="T39" fmla="*/ 899 h 944"/>
                <a:gd name="T40" fmla="*/ 765 w 765"/>
                <a:gd name="T41" fmla="*/ 736 h 944"/>
                <a:gd name="T42" fmla="*/ 724 w 765"/>
                <a:gd name="T43" fmla="*/ 763 h 944"/>
                <a:gd name="T44" fmla="*/ 668 w 765"/>
                <a:gd name="T45" fmla="*/ 79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5" h="944">
                  <a:moveTo>
                    <a:pt x="668" y="790"/>
                  </a:moveTo>
                  <a:lnTo>
                    <a:pt x="668" y="790"/>
                  </a:lnTo>
                  <a:cubicBezTo>
                    <a:pt x="614" y="813"/>
                    <a:pt x="565" y="823"/>
                    <a:pt x="512" y="823"/>
                  </a:cubicBezTo>
                  <a:cubicBezTo>
                    <a:pt x="419" y="823"/>
                    <a:pt x="340" y="790"/>
                    <a:pt x="281" y="727"/>
                  </a:cubicBezTo>
                  <a:cubicBezTo>
                    <a:pt x="222" y="664"/>
                    <a:pt x="191" y="577"/>
                    <a:pt x="191" y="478"/>
                  </a:cubicBezTo>
                  <a:cubicBezTo>
                    <a:pt x="191" y="384"/>
                    <a:pt x="220" y="297"/>
                    <a:pt x="272" y="236"/>
                  </a:cubicBezTo>
                  <a:cubicBezTo>
                    <a:pt x="295" y="210"/>
                    <a:pt x="322" y="187"/>
                    <a:pt x="354" y="170"/>
                  </a:cubicBezTo>
                  <a:cubicBezTo>
                    <a:pt x="404" y="141"/>
                    <a:pt x="463" y="126"/>
                    <a:pt x="527" y="126"/>
                  </a:cubicBezTo>
                  <a:cubicBezTo>
                    <a:pt x="582" y="126"/>
                    <a:pt x="635" y="137"/>
                    <a:pt x="688" y="159"/>
                  </a:cubicBezTo>
                  <a:cubicBezTo>
                    <a:pt x="722" y="172"/>
                    <a:pt x="734" y="179"/>
                    <a:pt x="762" y="199"/>
                  </a:cubicBezTo>
                  <a:lnTo>
                    <a:pt x="762" y="31"/>
                  </a:lnTo>
                  <a:cubicBezTo>
                    <a:pt x="740" y="24"/>
                    <a:pt x="731" y="21"/>
                    <a:pt x="708" y="16"/>
                  </a:cubicBezTo>
                  <a:cubicBezTo>
                    <a:pt x="656" y="5"/>
                    <a:pt x="606" y="0"/>
                    <a:pt x="550" y="0"/>
                  </a:cubicBezTo>
                  <a:cubicBezTo>
                    <a:pt x="453" y="0"/>
                    <a:pt x="370" y="16"/>
                    <a:pt x="294" y="48"/>
                  </a:cubicBezTo>
                  <a:cubicBezTo>
                    <a:pt x="249" y="67"/>
                    <a:pt x="207" y="91"/>
                    <a:pt x="171" y="121"/>
                  </a:cubicBezTo>
                  <a:cubicBezTo>
                    <a:pt x="60" y="210"/>
                    <a:pt x="0" y="339"/>
                    <a:pt x="0" y="488"/>
                  </a:cubicBezTo>
                  <a:cubicBezTo>
                    <a:pt x="0" y="632"/>
                    <a:pt x="58" y="756"/>
                    <a:pt x="164" y="840"/>
                  </a:cubicBezTo>
                  <a:cubicBezTo>
                    <a:pt x="251" y="909"/>
                    <a:pt x="364" y="944"/>
                    <a:pt x="499" y="944"/>
                  </a:cubicBezTo>
                  <a:cubicBezTo>
                    <a:pt x="583" y="944"/>
                    <a:pt x="662" y="931"/>
                    <a:pt x="751" y="904"/>
                  </a:cubicBezTo>
                  <a:cubicBezTo>
                    <a:pt x="754" y="903"/>
                    <a:pt x="759" y="901"/>
                    <a:pt x="765" y="899"/>
                  </a:cubicBezTo>
                  <a:lnTo>
                    <a:pt x="765" y="736"/>
                  </a:lnTo>
                  <a:cubicBezTo>
                    <a:pt x="744" y="750"/>
                    <a:pt x="736" y="755"/>
                    <a:pt x="724" y="763"/>
                  </a:cubicBezTo>
                  <a:cubicBezTo>
                    <a:pt x="706" y="773"/>
                    <a:pt x="688" y="782"/>
                    <a:pt x="668" y="7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4" name="Freeform 10">
              <a:extLst>
                <a:ext uri="{FF2B5EF4-FFF2-40B4-BE49-F238E27FC236}">
                  <a16:creationId xmlns:a16="http://schemas.microsoft.com/office/drawing/2014/main" id="{3F11AFA1-B24F-4137-ADBD-BC99C549B761}"/>
                </a:ext>
              </a:extLst>
            </p:cNvPr>
            <p:cNvSpPr>
              <a:spLocks/>
            </p:cNvSpPr>
            <p:nvPr userDrawn="1"/>
          </p:nvSpPr>
          <p:spPr bwMode="auto">
            <a:xfrm>
              <a:off x="471" y="197"/>
              <a:ext cx="78" cy="83"/>
            </a:xfrm>
            <a:custGeom>
              <a:avLst/>
              <a:gdLst>
                <a:gd name="T0" fmla="*/ 631 w 885"/>
                <a:gd name="T1" fmla="*/ 34 h 927"/>
                <a:gd name="T2" fmla="*/ 631 w 885"/>
                <a:gd name="T3" fmla="*/ 34 h 927"/>
                <a:gd name="T4" fmla="*/ 644 w 885"/>
                <a:gd name="T5" fmla="*/ 65 h 927"/>
                <a:gd name="T6" fmla="*/ 652 w 885"/>
                <a:gd name="T7" fmla="*/ 159 h 927"/>
                <a:gd name="T8" fmla="*/ 652 w 885"/>
                <a:gd name="T9" fmla="*/ 500 h 927"/>
                <a:gd name="T10" fmla="*/ 645 w 885"/>
                <a:gd name="T11" fmla="*/ 652 h 927"/>
                <a:gd name="T12" fmla="*/ 621 w 885"/>
                <a:gd name="T13" fmla="*/ 718 h 927"/>
                <a:gd name="T14" fmla="*/ 511 w 885"/>
                <a:gd name="T15" fmla="*/ 795 h 927"/>
                <a:gd name="T16" fmla="*/ 448 w 885"/>
                <a:gd name="T17" fmla="*/ 802 h 927"/>
                <a:gd name="T18" fmla="*/ 272 w 885"/>
                <a:gd name="T19" fmla="*/ 726 h 927"/>
                <a:gd name="T20" fmla="*/ 240 w 885"/>
                <a:gd name="T21" fmla="*/ 562 h 927"/>
                <a:gd name="T22" fmla="*/ 239 w 885"/>
                <a:gd name="T23" fmla="*/ 488 h 927"/>
                <a:gd name="T24" fmla="*/ 239 w 885"/>
                <a:gd name="T25" fmla="*/ 218 h 927"/>
                <a:gd name="T26" fmla="*/ 241 w 885"/>
                <a:gd name="T27" fmla="*/ 114 h 927"/>
                <a:gd name="T28" fmla="*/ 248 w 885"/>
                <a:gd name="T29" fmla="*/ 73 h 927"/>
                <a:gd name="T30" fmla="*/ 284 w 885"/>
                <a:gd name="T31" fmla="*/ 8 h 927"/>
                <a:gd name="T32" fmla="*/ 291 w 885"/>
                <a:gd name="T33" fmla="*/ 0 h 927"/>
                <a:gd name="T34" fmla="*/ 0 w 885"/>
                <a:gd name="T35" fmla="*/ 0 h 927"/>
                <a:gd name="T36" fmla="*/ 32 w 885"/>
                <a:gd name="T37" fmla="*/ 36 h 927"/>
                <a:gd name="T38" fmla="*/ 45 w 885"/>
                <a:gd name="T39" fmla="*/ 67 h 927"/>
                <a:gd name="T40" fmla="*/ 51 w 885"/>
                <a:gd name="T41" fmla="*/ 109 h 927"/>
                <a:gd name="T42" fmla="*/ 51 w 885"/>
                <a:gd name="T43" fmla="*/ 164 h 927"/>
                <a:gd name="T44" fmla="*/ 52 w 885"/>
                <a:gd name="T45" fmla="*/ 216 h 927"/>
                <a:gd name="T46" fmla="*/ 52 w 885"/>
                <a:gd name="T47" fmla="*/ 473 h 927"/>
                <a:gd name="T48" fmla="*/ 55 w 885"/>
                <a:gd name="T49" fmla="*/ 631 h 927"/>
                <a:gd name="T50" fmla="*/ 118 w 885"/>
                <a:gd name="T51" fmla="*/ 796 h 927"/>
                <a:gd name="T52" fmla="*/ 435 w 885"/>
                <a:gd name="T53" fmla="*/ 927 h 927"/>
                <a:gd name="T54" fmla="*/ 615 w 885"/>
                <a:gd name="T55" fmla="*/ 898 h 927"/>
                <a:gd name="T56" fmla="*/ 748 w 885"/>
                <a:gd name="T57" fmla="*/ 809 h 927"/>
                <a:gd name="T58" fmla="*/ 821 w 885"/>
                <a:gd name="T59" fmla="*/ 635 h 927"/>
                <a:gd name="T60" fmla="*/ 827 w 885"/>
                <a:gd name="T61" fmla="*/ 475 h 927"/>
                <a:gd name="T62" fmla="*/ 827 w 885"/>
                <a:gd name="T63" fmla="*/ 217 h 927"/>
                <a:gd name="T64" fmla="*/ 826 w 885"/>
                <a:gd name="T65" fmla="*/ 165 h 927"/>
                <a:gd name="T66" fmla="*/ 826 w 885"/>
                <a:gd name="T67" fmla="*/ 155 h 927"/>
                <a:gd name="T68" fmla="*/ 834 w 885"/>
                <a:gd name="T69" fmla="*/ 73 h 927"/>
                <a:gd name="T70" fmla="*/ 849 w 885"/>
                <a:gd name="T71" fmla="*/ 37 h 927"/>
                <a:gd name="T72" fmla="*/ 885 w 885"/>
                <a:gd name="T73" fmla="*/ 0 h 927"/>
                <a:gd name="T74" fmla="*/ 599 w 885"/>
                <a:gd name="T75" fmla="*/ 0 h 927"/>
                <a:gd name="T76" fmla="*/ 631 w 885"/>
                <a:gd name="T77" fmla="*/ 34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5" h="927">
                  <a:moveTo>
                    <a:pt x="631" y="34"/>
                  </a:moveTo>
                  <a:lnTo>
                    <a:pt x="631" y="34"/>
                  </a:lnTo>
                  <a:cubicBezTo>
                    <a:pt x="637" y="44"/>
                    <a:pt x="641" y="54"/>
                    <a:pt x="644" y="65"/>
                  </a:cubicBezTo>
                  <a:cubicBezTo>
                    <a:pt x="650" y="87"/>
                    <a:pt x="652" y="108"/>
                    <a:pt x="652" y="159"/>
                  </a:cubicBezTo>
                  <a:lnTo>
                    <a:pt x="652" y="500"/>
                  </a:lnTo>
                  <a:cubicBezTo>
                    <a:pt x="652" y="573"/>
                    <a:pt x="650" y="617"/>
                    <a:pt x="645" y="652"/>
                  </a:cubicBezTo>
                  <a:cubicBezTo>
                    <a:pt x="641" y="676"/>
                    <a:pt x="633" y="698"/>
                    <a:pt x="621" y="718"/>
                  </a:cubicBezTo>
                  <a:cubicBezTo>
                    <a:pt x="600" y="755"/>
                    <a:pt x="559" y="783"/>
                    <a:pt x="511" y="795"/>
                  </a:cubicBezTo>
                  <a:cubicBezTo>
                    <a:pt x="492" y="800"/>
                    <a:pt x="470" y="802"/>
                    <a:pt x="448" y="802"/>
                  </a:cubicBezTo>
                  <a:cubicBezTo>
                    <a:pt x="371" y="802"/>
                    <a:pt x="304" y="773"/>
                    <a:pt x="272" y="726"/>
                  </a:cubicBezTo>
                  <a:cubicBezTo>
                    <a:pt x="248" y="690"/>
                    <a:pt x="241" y="655"/>
                    <a:pt x="240" y="562"/>
                  </a:cubicBezTo>
                  <a:lnTo>
                    <a:pt x="239" y="488"/>
                  </a:lnTo>
                  <a:lnTo>
                    <a:pt x="239" y="218"/>
                  </a:lnTo>
                  <a:cubicBezTo>
                    <a:pt x="239" y="166"/>
                    <a:pt x="239" y="141"/>
                    <a:pt x="241" y="114"/>
                  </a:cubicBezTo>
                  <a:cubicBezTo>
                    <a:pt x="242" y="98"/>
                    <a:pt x="244" y="84"/>
                    <a:pt x="248" y="73"/>
                  </a:cubicBezTo>
                  <a:cubicBezTo>
                    <a:pt x="254" y="52"/>
                    <a:pt x="269" y="25"/>
                    <a:pt x="284" y="8"/>
                  </a:cubicBezTo>
                  <a:cubicBezTo>
                    <a:pt x="286" y="6"/>
                    <a:pt x="288" y="3"/>
                    <a:pt x="291" y="0"/>
                  </a:cubicBezTo>
                  <a:lnTo>
                    <a:pt x="0" y="0"/>
                  </a:lnTo>
                  <a:cubicBezTo>
                    <a:pt x="18" y="15"/>
                    <a:pt x="23" y="21"/>
                    <a:pt x="32" y="36"/>
                  </a:cubicBezTo>
                  <a:cubicBezTo>
                    <a:pt x="38" y="46"/>
                    <a:pt x="42" y="56"/>
                    <a:pt x="45" y="67"/>
                  </a:cubicBezTo>
                  <a:cubicBezTo>
                    <a:pt x="48" y="81"/>
                    <a:pt x="51" y="95"/>
                    <a:pt x="51" y="109"/>
                  </a:cubicBezTo>
                  <a:cubicBezTo>
                    <a:pt x="51" y="117"/>
                    <a:pt x="51" y="136"/>
                    <a:pt x="51" y="164"/>
                  </a:cubicBezTo>
                  <a:lnTo>
                    <a:pt x="52" y="216"/>
                  </a:lnTo>
                  <a:lnTo>
                    <a:pt x="52" y="473"/>
                  </a:lnTo>
                  <a:cubicBezTo>
                    <a:pt x="52" y="569"/>
                    <a:pt x="52" y="593"/>
                    <a:pt x="55" y="631"/>
                  </a:cubicBezTo>
                  <a:cubicBezTo>
                    <a:pt x="61" y="697"/>
                    <a:pt x="80" y="749"/>
                    <a:pt x="118" y="796"/>
                  </a:cubicBezTo>
                  <a:cubicBezTo>
                    <a:pt x="186" y="882"/>
                    <a:pt x="295" y="927"/>
                    <a:pt x="435" y="927"/>
                  </a:cubicBezTo>
                  <a:cubicBezTo>
                    <a:pt x="501" y="927"/>
                    <a:pt x="566" y="916"/>
                    <a:pt x="615" y="898"/>
                  </a:cubicBezTo>
                  <a:cubicBezTo>
                    <a:pt x="667" y="879"/>
                    <a:pt x="714" y="847"/>
                    <a:pt x="748" y="809"/>
                  </a:cubicBezTo>
                  <a:cubicBezTo>
                    <a:pt x="790" y="763"/>
                    <a:pt x="814" y="705"/>
                    <a:pt x="821" y="635"/>
                  </a:cubicBezTo>
                  <a:cubicBezTo>
                    <a:pt x="825" y="594"/>
                    <a:pt x="827" y="545"/>
                    <a:pt x="827" y="475"/>
                  </a:cubicBezTo>
                  <a:lnTo>
                    <a:pt x="827" y="217"/>
                  </a:lnTo>
                  <a:lnTo>
                    <a:pt x="826" y="165"/>
                  </a:lnTo>
                  <a:lnTo>
                    <a:pt x="826" y="155"/>
                  </a:lnTo>
                  <a:cubicBezTo>
                    <a:pt x="826" y="117"/>
                    <a:pt x="828" y="94"/>
                    <a:pt x="834" y="73"/>
                  </a:cubicBezTo>
                  <a:cubicBezTo>
                    <a:pt x="837" y="61"/>
                    <a:pt x="842" y="48"/>
                    <a:pt x="849" y="37"/>
                  </a:cubicBezTo>
                  <a:cubicBezTo>
                    <a:pt x="859" y="22"/>
                    <a:pt x="866" y="15"/>
                    <a:pt x="885" y="0"/>
                  </a:cubicBezTo>
                  <a:lnTo>
                    <a:pt x="599" y="0"/>
                  </a:lnTo>
                  <a:cubicBezTo>
                    <a:pt x="616" y="13"/>
                    <a:pt x="622" y="20"/>
                    <a:pt x="631"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5" name="Freeform 11">
              <a:extLst>
                <a:ext uri="{FF2B5EF4-FFF2-40B4-BE49-F238E27FC236}">
                  <a16:creationId xmlns:a16="http://schemas.microsoft.com/office/drawing/2014/main" id="{D974EA69-2A4E-481A-8DD8-9C9FD2156EB1}"/>
                </a:ext>
              </a:extLst>
            </p:cNvPr>
            <p:cNvSpPr>
              <a:spLocks/>
            </p:cNvSpPr>
            <p:nvPr userDrawn="1"/>
          </p:nvSpPr>
          <p:spPr bwMode="auto">
            <a:xfrm>
              <a:off x="381" y="197"/>
              <a:ext cx="77" cy="80"/>
            </a:xfrm>
            <a:custGeom>
              <a:avLst/>
              <a:gdLst>
                <a:gd name="T0" fmla="*/ 654 w 865"/>
                <a:gd name="T1" fmla="*/ 771 h 897"/>
                <a:gd name="T2" fmla="*/ 654 w 865"/>
                <a:gd name="T3" fmla="*/ 771 h 897"/>
                <a:gd name="T4" fmla="*/ 513 w 865"/>
                <a:gd name="T5" fmla="*/ 783 h 897"/>
                <a:gd name="T6" fmla="*/ 442 w 865"/>
                <a:gd name="T7" fmla="*/ 784 h 897"/>
                <a:gd name="T8" fmla="*/ 304 w 865"/>
                <a:gd name="T9" fmla="*/ 784 h 897"/>
                <a:gd name="T10" fmla="*/ 848 w 865"/>
                <a:gd name="T11" fmla="*/ 0 h 897"/>
                <a:gd name="T12" fmla="*/ 143 w 865"/>
                <a:gd name="T13" fmla="*/ 0 h 897"/>
                <a:gd name="T14" fmla="*/ 56 w 865"/>
                <a:gd name="T15" fmla="*/ 191 h 897"/>
                <a:gd name="T16" fmla="*/ 121 w 865"/>
                <a:gd name="T17" fmla="*/ 160 h 897"/>
                <a:gd name="T18" fmla="*/ 248 w 865"/>
                <a:gd name="T19" fmla="*/ 124 h 897"/>
                <a:gd name="T20" fmla="*/ 375 w 865"/>
                <a:gd name="T21" fmla="*/ 113 h 897"/>
                <a:gd name="T22" fmla="*/ 444 w 865"/>
                <a:gd name="T23" fmla="*/ 112 h 897"/>
                <a:gd name="T24" fmla="*/ 549 w 865"/>
                <a:gd name="T25" fmla="*/ 112 h 897"/>
                <a:gd name="T26" fmla="*/ 0 w 865"/>
                <a:gd name="T27" fmla="*/ 897 h 897"/>
                <a:gd name="T28" fmla="*/ 776 w 865"/>
                <a:gd name="T29" fmla="*/ 897 h 897"/>
                <a:gd name="T30" fmla="*/ 865 w 865"/>
                <a:gd name="T31" fmla="*/ 692 h 897"/>
                <a:gd name="T32" fmla="*/ 800 w 865"/>
                <a:gd name="T33" fmla="*/ 727 h 897"/>
                <a:gd name="T34" fmla="*/ 654 w 865"/>
                <a:gd name="T35" fmla="*/ 771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 h="897">
                  <a:moveTo>
                    <a:pt x="654" y="771"/>
                  </a:moveTo>
                  <a:lnTo>
                    <a:pt x="654" y="771"/>
                  </a:lnTo>
                  <a:cubicBezTo>
                    <a:pt x="614" y="778"/>
                    <a:pt x="569" y="782"/>
                    <a:pt x="513" y="783"/>
                  </a:cubicBezTo>
                  <a:cubicBezTo>
                    <a:pt x="495" y="784"/>
                    <a:pt x="471" y="784"/>
                    <a:pt x="442" y="784"/>
                  </a:cubicBezTo>
                  <a:lnTo>
                    <a:pt x="304" y="784"/>
                  </a:lnTo>
                  <a:lnTo>
                    <a:pt x="848" y="0"/>
                  </a:lnTo>
                  <a:lnTo>
                    <a:pt x="143" y="0"/>
                  </a:lnTo>
                  <a:lnTo>
                    <a:pt x="56" y="191"/>
                  </a:lnTo>
                  <a:cubicBezTo>
                    <a:pt x="85" y="176"/>
                    <a:pt x="96" y="170"/>
                    <a:pt x="121" y="160"/>
                  </a:cubicBezTo>
                  <a:cubicBezTo>
                    <a:pt x="162" y="144"/>
                    <a:pt x="206" y="132"/>
                    <a:pt x="248" y="124"/>
                  </a:cubicBezTo>
                  <a:cubicBezTo>
                    <a:pt x="285" y="118"/>
                    <a:pt x="319" y="115"/>
                    <a:pt x="375" y="113"/>
                  </a:cubicBezTo>
                  <a:cubicBezTo>
                    <a:pt x="400" y="112"/>
                    <a:pt x="423" y="112"/>
                    <a:pt x="444" y="112"/>
                  </a:cubicBezTo>
                  <a:lnTo>
                    <a:pt x="549" y="112"/>
                  </a:lnTo>
                  <a:lnTo>
                    <a:pt x="0" y="897"/>
                  </a:lnTo>
                  <a:lnTo>
                    <a:pt x="776" y="897"/>
                  </a:lnTo>
                  <a:lnTo>
                    <a:pt x="865" y="692"/>
                  </a:lnTo>
                  <a:cubicBezTo>
                    <a:pt x="834" y="710"/>
                    <a:pt x="823" y="716"/>
                    <a:pt x="800" y="727"/>
                  </a:cubicBezTo>
                  <a:cubicBezTo>
                    <a:pt x="754" y="747"/>
                    <a:pt x="705" y="762"/>
                    <a:pt x="654" y="7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6" name="Freeform 12">
              <a:extLst>
                <a:ext uri="{FF2B5EF4-FFF2-40B4-BE49-F238E27FC236}">
                  <a16:creationId xmlns:a16="http://schemas.microsoft.com/office/drawing/2014/main" id="{28C940DE-D324-4410-80C5-9BC2A365D934}"/>
                </a:ext>
              </a:extLst>
            </p:cNvPr>
            <p:cNvSpPr>
              <a:spLocks noEditPoints="1"/>
            </p:cNvSpPr>
            <p:nvPr userDrawn="1"/>
          </p:nvSpPr>
          <p:spPr bwMode="auto">
            <a:xfrm>
              <a:off x="850" y="167"/>
              <a:ext cx="18" cy="18"/>
            </a:xfrm>
            <a:custGeom>
              <a:avLst/>
              <a:gdLst>
                <a:gd name="T0" fmla="*/ 102 w 203"/>
                <a:gd name="T1" fmla="*/ 189 h 203"/>
                <a:gd name="T2" fmla="*/ 102 w 203"/>
                <a:gd name="T3" fmla="*/ 189 h 203"/>
                <a:gd name="T4" fmla="*/ 17 w 203"/>
                <a:gd name="T5" fmla="*/ 102 h 203"/>
                <a:gd name="T6" fmla="*/ 102 w 203"/>
                <a:gd name="T7" fmla="*/ 15 h 203"/>
                <a:gd name="T8" fmla="*/ 187 w 203"/>
                <a:gd name="T9" fmla="*/ 102 h 203"/>
                <a:gd name="T10" fmla="*/ 102 w 203"/>
                <a:gd name="T11" fmla="*/ 189 h 203"/>
                <a:gd name="T12" fmla="*/ 102 w 203"/>
                <a:gd name="T13" fmla="*/ 189 h 203"/>
                <a:gd name="T14" fmla="*/ 102 w 203"/>
                <a:gd name="T15" fmla="*/ 0 h 203"/>
                <a:gd name="T16" fmla="*/ 102 w 203"/>
                <a:gd name="T17" fmla="*/ 0 h 203"/>
                <a:gd name="T18" fmla="*/ 0 w 203"/>
                <a:gd name="T19" fmla="*/ 102 h 203"/>
                <a:gd name="T20" fmla="*/ 102 w 203"/>
                <a:gd name="T21" fmla="*/ 203 h 203"/>
                <a:gd name="T22" fmla="*/ 203 w 203"/>
                <a:gd name="T23" fmla="*/ 102 h 203"/>
                <a:gd name="T24" fmla="*/ 102 w 203"/>
                <a:gd name="T2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203">
                  <a:moveTo>
                    <a:pt x="102" y="189"/>
                  </a:moveTo>
                  <a:lnTo>
                    <a:pt x="102" y="189"/>
                  </a:lnTo>
                  <a:cubicBezTo>
                    <a:pt x="54" y="189"/>
                    <a:pt x="17" y="154"/>
                    <a:pt x="17" y="102"/>
                  </a:cubicBezTo>
                  <a:cubicBezTo>
                    <a:pt x="17" y="50"/>
                    <a:pt x="54" y="15"/>
                    <a:pt x="102" y="15"/>
                  </a:cubicBezTo>
                  <a:cubicBezTo>
                    <a:pt x="150" y="15"/>
                    <a:pt x="187" y="50"/>
                    <a:pt x="187" y="102"/>
                  </a:cubicBezTo>
                  <a:cubicBezTo>
                    <a:pt x="187" y="154"/>
                    <a:pt x="150" y="189"/>
                    <a:pt x="102" y="189"/>
                  </a:cubicBezTo>
                  <a:lnTo>
                    <a:pt x="102" y="189"/>
                  </a:lnTo>
                  <a:close/>
                  <a:moveTo>
                    <a:pt x="102" y="0"/>
                  </a:moveTo>
                  <a:lnTo>
                    <a:pt x="102" y="0"/>
                  </a:lnTo>
                  <a:cubicBezTo>
                    <a:pt x="46" y="0"/>
                    <a:pt x="0" y="42"/>
                    <a:pt x="0" y="102"/>
                  </a:cubicBezTo>
                  <a:cubicBezTo>
                    <a:pt x="0" y="162"/>
                    <a:pt x="46" y="203"/>
                    <a:pt x="102" y="203"/>
                  </a:cubicBezTo>
                  <a:cubicBezTo>
                    <a:pt x="158" y="203"/>
                    <a:pt x="203" y="162"/>
                    <a:pt x="203" y="102"/>
                  </a:cubicBezTo>
                  <a:cubicBezTo>
                    <a:pt x="203" y="42"/>
                    <a:pt x="158" y="0"/>
                    <a:pt x="10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sp>
          <p:nvSpPr>
            <p:cNvPr id="27" name="Freeform 13">
              <a:extLst>
                <a:ext uri="{FF2B5EF4-FFF2-40B4-BE49-F238E27FC236}">
                  <a16:creationId xmlns:a16="http://schemas.microsoft.com/office/drawing/2014/main" id="{F399AED9-15E5-4439-853F-533F93806D33}"/>
                </a:ext>
              </a:extLst>
            </p:cNvPr>
            <p:cNvSpPr>
              <a:spLocks noEditPoints="1"/>
            </p:cNvSpPr>
            <p:nvPr userDrawn="1"/>
          </p:nvSpPr>
          <p:spPr bwMode="auto">
            <a:xfrm>
              <a:off x="856" y="171"/>
              <a:ext cx="7" cy="9"/>
            </a:xfrm>
            <a:custGeom>
              <a:avLst/>
              <a:gdLst>
                <a:gd name="T0" fmla="*/ 40 w 87"/>
                <a:gd name="T1" fmla="*/ 50 h 107"/>
                <a:gd name="T2" fmla="*/ 40 w 87"/>
                <a:gd name="T3" fmla="*/ 50 h 107"/>
                <a:gd name="T4" fmla="*/ 15 w 87"/>
                <a:gd name="T5" fmla="*/ 50 h 107"/>
                <a:gd name="T6" fmla="*/ 15 w 87"/>
                <a:gd name="T7" fmla="*/ 16 h 107"/>
                <a:gd name="T8" fmla="*/ 38 w 87"/>
                <a:gd name="T9" fmla="*/ 16 h 107"/>
                <a:gd name="T10" fmla="*/ 66 w 87"/>
                <a:gd name="T11" fmla="*/ 33 h 107"/>
                <a:gd name="T12" fmla="*/ 40 w 87"/>
                <a:gd name="T13" fmla="*/ 50 h 107"/>
                <a:gd name="T14" fmla="*/ 40 w 87"/>
                <a:gd name="T15" fmla="*/ 50 h 107"/>
                <a:gd name="T16" fmla="*/ 83 w 87"/>
                <a:gd name="T17" fmla="*/ 33 h 107"/>
                <a:gd name="T18" fmla="*/ 83 w 87"/>
                <a:gd name="T19" fmla="*/ 33 h 107"/>
                <a:gd name="T20" fmla="*/ 32 w 87"/>
                <a:gd name="T21" fmla="*/ 0 h 107"/>
                <a:gd name="T22" fmla="*/ 0 w 87"/>
                <a:gd name="T23" fmla="*/ 0 h 107"/>
                <a:gd name="T24" fmla="*/ 0 w 87"/>
                <a:gd name="T25" fmla="*/ 107 h 107"/>
                <a:gd name="T26" fmla="*/ 15 w 87"/>
                <a:gd name="T27" fmla="*/ 107 h 107"/>
                <a:gd name="T28" fmla="*/ 15 w 87"/>
                <a:gd name="T29" fmla="*/ 66 h 107"/>
                <a:gd name="T30" fmla="*/ 44 w 87"/>
                <a:gd name="T31" fmla="*/ 66 h 107"/>
                <a:gd name="T32" fmla="*/ 46 w 87"/>
                <a:gd name="T33" fmla="*/ 65 h 107"/>
                <a:gd name="T34" fmla="*/ 69 w 87"/>
                <a:gd name="T35" fmla="*/ 107 h 107"/>
                <a:gd name="T36" fmla="*/ 87 w 87"/>
                <a:gd name="T37" fmla="*/ 107 h 107"/>
                <a:gd name="T38" fmla="*/ 62 w 87"/>
                <a:gd name="T39" fmla="*/ 62 h 107"/>
                <a:gd name="T40" fmla="*/ 83 w 87"/>
                <a:gd name="T41"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107">
                  <a:moveTo>
                    <a:pt x="40" y="50"/>
                  </a:moveTo>
                  <a:lnTo>
                    <a:pt x="40" y="50"/>
                  </a:lnTo>
                  <a:lnTo>
                    <a:pt x="15" y="50"/>
                  </a:lnTo>
                  <a:lnTo>
                    <a:pt x="15" y="16"/>
                  </a:lnTo>
                  <a:lnTo>
                    <a:pt x="38" y="16"/>
                  </a:lnTo>
                  <a:cubicBezTo>
                    <a:pt x="54" y="16"/>
                    <a:pt x="66" y="19"/>
                    <a:pt x="66" y="33"/>
                  </a:cubicBezTo>
                  <a:cubicBezTo>
                    <a:pt x="66" y="45"/>
                    <a:pt x="58" y="50"/>
                    <a:pt x="40" y="50"/>
                  </a:cubicBezTo>
                  <a:lnTo>
                    <a:pt x="40" y="50"/>
                  </a:lnTo>
                  <a:close/>
                  <a:moveTo>
                    <a:pt x="83" y="33"/>
                  </a:moveTo>
                  <a:lnTo>
                    <a:pt x="83" y="33"/>
                  </a:lnTo>
                  <a:cubicBezTo>
                    <a:pt x="83" y="5"/>
                    <a:pt x="64" y="0"/>
                    <a:pt x="32" y="0"/>
                  </a:cubicBezTo>
                  <a:lnTo>
                    <a:pt x="0" y="0"/>
                  </a:lnTo>
                  <a:lnTo>
                    <a:pt x="0" y="107"/>
                  </a:lnTo>
                  <a:lnTo>
                    <a:pt x="15" y="107"/>
                  </a:lnTo>
                  <a:lnTo>
                    <a:pt x="15" y="66"/>
                  </a:lnTo>
                  <a:lnTo>
                    <a:pt x="44" y="66"/>
                  </a:lnTo>
                  <a:cubicBezTo>
                    <a:pt x="45" y="66"/>
                    <a:pt x="46" y="66"/>
                    <a:pt x="46" y="65"/>
                  </a:cubicBezTo>
                  <a:lnTo>
                    <a:pt x="69" y="107"/>
                  </a:lnTo>
                  <a:lnTo>
                    <a:pt x="87" y="107"/>
                  </a:lnTo>
                  <a:lnTo>
                    <a:pt x="62" y="62"/>
                  </a:lnTo>
                  <a:cubicBezTo>
                    <a:pt x="76" y="56"/>
                    <a:pt x="83" y="45"/>
                    <a:pt x="83" y="3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latin typeface="+mn-lt"/>
                <a:cs typeface="Arial" panose="020B0604020202020204" pitchFamily="34" charset="0"/>
              </a:endParaRPr>
            </a:p>
          </p:txBody>
        </p:sp>
      </p:grpSp>
      <p:sp>
        <p:nvSpPr>
          <p:cNvPr id="28" name="Slide Number Placeholder 5">
            <a:extLst>
              <a:ext uri="{FF2B5EF4-FFF2-40B4-BE49-F238E27FC236}">
                <a16:creationId xmlns:a16="http://schemas.microsoft.com/office/drawing/2014/main" id="{54613BA4-3F37-477A-9F83-816FFC37569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0" name="Footer Placeholder 3">
            <a:extLst>
              <a:ext uri="{FF2B5EF4-FFF2-40B4-BE49-F238E27FC236}">
                <a16:creationId xmlns:a16="http://schemas.microsoft.com/office/drawing/2014/main" id="{3866945B-F4D3-4972-8A47-C02C9E2AC957}"/>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259993715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50826" y="249926"/>
            <a:ext cx="9586415" cy="553998"/>
          </a:xfrm>
        </p:spPr>
        <p:txBody>
          <a:bodyPr lIns="0" tIns="0" rIns="0" bIns="0"/>
          <a:lstStyle>
            <a:lvl1pPr>
              <a:defRPr sz="4000" b="0" i="0">
                <a:solidFill>
                  <a:srgbClr val="2067AD"/>
                </a:solidFill>
                <a:latin typeface="Zurich Sans Light"/>
                <a:cs typeface="Zurich Sans Light"/>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9/2025</a:t>
            </a:fld>
            <a:endParaRPr lang="en-US"/>
          </a:p>
        </p:txBody>
      </p:sp>
      <p:sp>
        <p:nvSpPr>
          <p:cNvPr id="6" name="Holder 6"/>
          <p:cNvSpPr>
            <a:spLocks noGrp="1"/>
          </p:cNvSpPr>
          <p:nvPr>
            <p:ph type="sldNum" sz="quarter" idx="7"/>
          </p:nvPr>
        </p:nvSpPr>
        <p:spPr/>
        <p:txBody>
          <a:bodyPr lIns="0" tIns="0" rIns="0" bIns="0"/>
          <a:lstStyle>
            <a:lvl1pPr>
              <a:defRPr sz="867" b="0" i="0">
                <a:solidFill>
                  <a:srgbClr val="2067AD"/>
                </a:solidFill>
                <a:latin typeface="Zurich Sans Light"/>
                <a:cs typeface="Zurich Sans Light"/>
              </a:defRPr>
            </a:lvl1pPr>
          </a:lstStyle>
          <a:p>
            <a:pPr marL="94824">
              <a:spcBef>
                <a:spcPts val="67"/>
              </a:spcBef>
            </a:pPr>
            <a:fld id="{81D60167-4931-47E6-BA6A-407CBD079E47}" type="slidenum">
              <a:rPr lang="en-US" spc="13" smtClean="0"/>
              <a:pPr marL="94824">
                <a:spcBef>
                  <a:spcPts val="67"/>
                </a:spcBef>
              </a:pPr>
              <a:t>‹nr.›</a:t>
            </a:fld>
            <a:endParaRPr lang="en-US" spc="13"/>
          </a:p>
        </p:txBody>
      </p:sp>
    </p:spTree>
    <p:extLst>
      <p:ext uri="{BB962C8B-B14F-4D97-AF65-F5344CB8AC3E}">
        <p14:creationId xmlns:p14="http://schemas.microsoft.com/office/powerpoint/2010/main" val="259108826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9/2025</a:t>
            </a:fld>
            <a:endParaRPr lang="en-US"/>
          </a:p>
        </p:txBody>
      </p:sp>
      <p:sp>
        <p:nvSpPr>
          <p:cNvPr id="4" name="Holder 4"/>
          <p:cNvSpPr>
            <a:spLocks noGrp="1"/>
          </p:cNvSpPr>
          <p:nvPr>
            <p:ph type="sldNum" sz="quarter" idx="7"/>
          </p:nvPr>
        </p:nvSpPr>
        <p:spPr/>
        <p:txBody>
          <a:bodyPr lIns="0" tIns="0" rIns="0" bIns="0"/>
          <a:lstStyle>
            <a:lvl1pPr>
              <a:defRPr sz="867" b="0" i="0">
                <a:solidFill>
                  <a:srgbClr val="2067AD"/>
                </a:solidFill>
                <a:latin typeface="Zurich Sans Light"/>
                <a:cs typeface="Zurich Sans Light"/>
              </a:defRPr>
            </a:lvl1pPr>
          </a:lstStyle>
          <a:p>
            <a:pPr marL="94824">
              <a:spcBef>
                <a:spcPts val="67"/>
              </a:spcBef>
            </a:pPr>
            <a:fld id="{81D60167-4931-47E6-BA6A-407CBD079E47}" type="slidenum">
              <a:rPr lang="en-US" spc="13" smtClean="0"/>
              <a:pPr marL="94824">
                <a:spcBef>
                  <a:spcPts val="67"/>
                </a:spcBef>
              </a:pPr>
              <a:t>‹nr.›</a:t>
            </a:fld>
            <a:endParaRPr lang="en-US" spc="13"/>
          </a:p>
        </p:txBody>
      </p:sp>
    </p:spTree>
    <p:extLst>
      <p:ext uri="{BB962C8B-B14F-4D97-AF65-F5344CB8AC3E}">
        <p14:creationId xmlns:p14="http://schemas.microsoft.com/office/powerpoint/2010/main" val="43692872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235847" y="198797"/>
            <a:ext cx="8559800" cy="553998"/>
          </a:xfrm>
          <a:prstGeom prst="rect">
            <a:avLst/>
          </a:prstGeom>
        </p:spPr>
        <p:txBody>
          <a:bodyPr wrap="square" lIns="0" tIns="0" rIns="0" bIns="0">
            <a:spAutoFit/>
          </a:bodyPr>
          <a:lstStyle>
            <a:lvl1pPr>
              <a:defRPr sz="4000" b="0" i="0">
                <a:solidFill>
                  <a:srgbClr val="2067AD"/>
                </a:solidFill>
                <a:latin typeface="Zurich Sans Light"/>
                <a:cs typeface="Zurich Sans Light"/>
              </a:defRPr>
            </a:lvl1pPr>
          </a:lstStyle>
          <a:p>
            <a:endParaRPr/>
          </a:p>
        </p:txBody>
      </p:sp>
      <p:sp>
        <p:nvSpPr>
          <p:cNvPr id="3" name="Holder 3"/>
          <p:cNvSpPr>
            <a:spLocks noGrp="1"/>
          </p:cNvSpPr>
          <p:nvPr>
            <p:ph type="subTitle" idx="4"/>
          </p:nvPr>
        </p:nvSpPr>
        <p:spPr>
          <a:xfrm>
            <a:off x="1828800" y="3840481"/>
            <a:ext cx="85344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9/2025</a:t>
            </a:fld>
            <a:endParaRPr lang="en-US"/>
          </a:p>
        </p:txBody>
      </p:sp>
      <p:sp>
        <p:nvSpPr>
          <p:cNvPr id="6" name="Holder 6"/>
          <p:cNvSpPr>
            <a:spLocks noGrp="1"/>
          </p:cNvSpPr>
          <p:nvPr>
            <p:ph type="sldNum" sz="quarter" idx="7"/>
          </p:nvPr>
        </p:nvSpPr>
        <p:spPr/>
        <p:txBody>
          <a:bodyPr lIns="0" tIns="0" rIns="0" bIns="0"/>
          <a:lstStyle>
            <a:lvl1pPr>
              <a:defRPr sz="867" b="0" i="0">
                <a:solidFill>
                  <a:srgbClr val="2067AD"/>
                </a:solidFill>
                <a:latin typeface="Zurich Sans Light"/>
                <a:cs typeface="Zurich Sans Light"/>
              </a:defRPr>
            </a:lvl1pPr>
          </a:lstStyle>
          <a:p>
            <a:pPr marL="94824">
              <a:spcBef>
                <a:spcPts val="67"/>
              </a:spcBef>
            </a:pPr>
            <a:fld id="{81D60167-4931-47E6-BA6A-407CBD079E47}" type="slidenum">
              <a:rPr lang="en-US" spc="13" smtClean="0"/>
              <a:pPr marL="94824">
                <a:spcBef>
                  <a:spcPts val="67"/>
                </a:spcBef>
              </a:pPr>
              <a:t>‹nr.›</a:t>
            </a:fld>
            <a:endParaRPr lang="en-US" spc="13"/>
          </a:p>
        </p:txBody>
      </p:sp>
    </p:spTree>
    <p:extLst>
      <p:ext uri="{BB962C8B-B14F-4D97-AF65-F5344CB8AC3E}">
        <p14:creationId xmlns:p14="http://schemas.microsoft.com/office/powerpoint/2010/main" val="11362043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980DA37-C7F4-CBB1-93A1-DBB3CBC4BD93}"/>
              </a:ext>
            </a:extLst>
          </p:cNvPr>
          <p:cNvGraphicFramePr>
            <a:graphicFrameLocks noChangeAspect="1"/>
          </p:cNvGraphicFramePr>
          <p:nvPr userDrawn="1">
            <p:custDataLst>
              <p:tags r:id="rId1"/>
            </p:custDataLst>
            <p:extLst>
              <p:ext uri="{D42A27DB-BD31-4B8C-83A1-F6EECF244321}">
                <p14:modId xmlns:p14="http://schemas.microsoft.com/office/powerpoint/2010/main" val="74255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F980DA37-C7F4-CBB1-93A1-DBB3CBC4BD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9979B0B5-DCB0-844D-8724-1DB31C8A8C0B}"/>
              </a:ext>
            </a:extLst>
          </p:cNvPr>
          <p:cNvSpPr>
            <a:spLocks noGrp="1"/>
          </p:cNvSpPr>
          <p:nvPr>
            <p:ph type="title" hasCustomPrompt="1"/>
          </p:nvPr>
        </p:nvSpPr>
        <p:spPr>
          <a:xfrm>
            <a:off x="334800" y="260268"/>
            <a:ext cx="9485137" cy="332399"/>
          </a:xfrm>
        </p:spPr>
        <p:txBody>
          <a:bodyPr vert="horz" wrap="square">
            <a:spAutoFit/>
          </a:bodyPr>
          <a:lstStyle>
            <a:lvl1pPr rtl="0">
              <a:defRPr>
                <a:latin typeface="+mj-lt"/>
                <a:cs typeface="Arial" panose="020B0604020202020204" pitchFamily="34" charset="0"/>
              </a:defRPr>
            </a:lvl1pPr>
          </a:lstStyle>
          <a:p>
            <a:r>
              <a:rPr lang="de-DE"/>
              <a:t>Click to edit Master title style</a:t>
            </a:r>
          </a:p>
        </p:txBody>
      </p:sp>
      <p:sp>
        <p:nvSpPr>
          <p:cNvPr id="28" name="Slide Number Placeholder 5">
            <a:extLst>
              <a:ext uri="{FF2B5EF4-FFF2-40B4-BE49-F238E27FC236}">
                <a16:creationId xmlns:a16="http://schemas.microsoft.com/office/drawing/2014/main" id="{54613BA4-3F37-477A-9F83-816FFC375697}"/>
              </a:ext>
            </a:extLst>
          </p:cNvPr>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30" name="Footer Placeholder 3">
            <a:extLst>
              <a:ext uri="{FF2B5EF4-FFF2-40B4-BE49-F238E27FC236}">
                <a16:creationId xmlns:a16="http://schemas.microsoft.com/office/drawing/2014/main" id="{3866945B-F4D3-4972-8A47-C02C9E2AC957}"/>
              </a:ext>
            </a:extLst>
          </p:cNvPr>
          <p:cNvSpPr>
            <a:spLocks noGrp="1"/>
          </p:cNvSpPr>
          <p:nvPr>
            <p:ph type="ftr" sz="quarter" idx="3"/>
          </p:nvPr>
        </p:nvSpPr>
        <p:spPr>
          <a:xfrm>
            <a:off x="2261053" y="6531715"/>
            <a:ext cx="8112000" cy="181960"/>
          </a:xfrm>
          <a:prstGeom prst="rect">
            <a:avLst/>
          </a:prstGeom>
        </p:spPr>
        <p:txBody>
          <a:bodyPr lIns="0" tIns="0" rIns="0" bIns="0"/>
          <a:lstStyle>
            <a:lvl1pPr algn="r" rtl="0">
              <a:defRPr sz="900">
                <a:solidFill>
                  <a:schemeClr val="accent1"/>
                </a:solidFill>
                <a:latin typeface="+mn-lt"/>
                <a:cs typeface="Arial" panose="020B0604020202020204" pitchFamily="34" charset="0"/>
              </a:defRPr>
            </a:lvl1pPr>
          </a:lstStyle>
          <a:p>
            <a:endParaRPr lang="de-DE"/>
          </a:p>
        </p:txBody>
      </p:sp>
    </p:spTree>
    <p:extLst>
      <p:ext uri="{BB962C8B-B14F-4D97-AF65-F5344CB8AC3E}">
        <p14:creationId xmlns:p14="http://schemas.microsoft.com/office/powerpoint/2010/main" val="13121602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pic>
        <p:nvPicPr>
          <p:cNvPr id="2" name="ZRS Logo Horozontal">
            <a:extLst>
              <a:ext uri="{FF2B5EF4-FFF2-40B4-BE49-F238E27FC236}">
                <a16:creationId xmlns:a16="http://schemas.microsoft.com/office/drawing/2014/main" id="{AD6B03EA-B1F5-E5B3-E991-0F57E0753F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4194" t="5628" b="28088"/>
          <a:stretch/>
        </p:blipFill>
        <p:spPr>
          <a:xfrm>
            <a:off x="10342650" y="317500"/>
            <a:ext cx="1510791" cy="520700"/>
          </a:xfrm>
          <a:prstGeom prst="rect">
            <a:avLst/>
          </a:prstGeom>
        </p:spPr>
      </p:pic>
      <p:sp>
        <p:nvSpPr>
          <p:cNvPr id="3" name="Content Placeholder 2"/>
          <p:cNvSpPr>
            <a:spLocks noGrp="1"/>
          </p:cNvSpPr>
          <p:nvPr>
            <p:ph idx="1"/>
          </p:nvPr>
        </p:nvSpPr>
        <p:spPr>
          <a:xfrm>
            <a:off x="259451" y="1205994"/>
            <a:ext cx="11669024" cy="5040145"/>
          </a:xfrm>
        </p:spPr>
        <p:txBody>
          <a:bodyPr/>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21" name="Title 1">
            <a:extLst>
              <a:ext uri="{FF2B5EF4-FFF2-40B4-BE49-F238E27FC236}">
                <a16:creationId xmlns:a16="http://schemas.microsoft.com/office/drawing/2014/main" id="{29FBF581-E754-574B-A309-6F2FB382E481}"/>
              </a:ext>
            </a:extLst>
          </p:cNvPr>
          <p:cNvSpPr>
            <a:spLocks noGrp="1"/>
          </p:cNvSpPr>
          <p:nvPr>
            <p:ph type="title"/>
          </p:nvPr>
        </p:nvSpPr>
        <p:spPr>
          <a:xfrm>
            <a:off x="252659" y="260268"/>
            <a:ext cx="9586415" cy="332399"/>
          </a:xfrm>
        </p:spPr>
        <p:txBody>
          <a:bodyPr>
            <a:spAutoFit/>
          </a:bodyPr>
          <a:lstStyle>
            <a:lvl1pPr>
              <a:defRPr>
                <a:latin typeface="+mn-lt"/>
                <a:cs typeface="Arial" panose="020B0604020202020204" pitchFamily="34" charset="0"/>
              </a:defRPr>
            </a:lvl1pPr>
          </a:lstStyle>
          <a:p>
            <a:r>
              <a:rPr lang="es-ES"/>
              <a:t>Haga clic para modificar el estilo de título del patrón</a:t>
            </a:r>
            <a:endParaRPr lang="en-US"/>
          </a:p>
        </p:txBody>
      </p:sp>
      <p:sp>
        <p:nvSpPr>
          <p:cNvPr id="22" name="Subtitle 2">
            <a:extLst>
              <a:ext uri="{FF2B5EF4-FFF2-40B4-BE49-F238E27FC236}">
                <a16:creationId xmlns:a16="http://schemas.microsoft.com/office/drawing/2014/main" id="{60580A64-4AC1-D547-A7C8-FF2A5434D2C5}"/>
              </a:ext>
            </a:extLst>
          </p:cNvPr>
          <p:cNvSpPr>
            <a:spLocks noGrp="1"/>
          </p:cNvSpPr>
          <p:nvPr>
            <p:ph type="subTitle" idx="13"/>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s-ES"/>
              <a:t>Haga clic para modificar el estilo de subtítulo del patrón</a:t>
            </a:r>
            <a:endParaRPr lang="en-GB" noProof="0"/>
          </a:p>
        </p:txBody>
      </p:sp>
      <p:sp>
        <p:nvSpPr>
          <p:cNvPr id="18" name="Slide Number Placeholder 5">
            <a:extLst>
              <a:ext uri="{FF2B5EF4-FFF2-40B4-BE49-F238E27FC236}">
                <a16:creationId xmlns:a16="http://schemas.microsoft.com/office/drawing/2014/main" id="{9DEE29F2-F280-4686-A9A8-3959443731C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17003875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E48B8235-F186-9ABF-3794-10210F396D7F}"/>
              </a:ext>
            </a:extLst>
          </p:cNvPr>
          <p:cNvSpPr>
            <a:spLocks noGrp="1"/>
          </p:cNvSpPr>
          <p:nvPr>
            <p:ph type="sldNum" sz="quarter" idx="10"/>
          </p:nvPr>
        </p:nvSpPr>
        <p:spPr/>
        <p:txBody>
          <a:bodyPr/>
          <a:lstStyle/>
          <a:p>
            <a:fld id="{FA58F0B4-6BC7-4BFB-804F-EE9B892902C7}" type="slidenum">
              <a:rPr lang="en-US" smtClean="0"/>
              <a:pPr/>
              <a:t>‹nr.›</a:t>
            </a:fld>
            <a:endParaRPr lang="en-US"/>
          </a:p>
        </p:txBody>
      </p:sp>
      <p:sp>
        <p:nvSpPr>
          <p:cNvPr id="3" name="Tijdelijke aanduiding voor voettekst 2">
            <a:extLst>
              <a:ext uri="{FF2B5EF4-FFF2-40B4-BE49-F238E27FC236}">
                <a16:creationId xmlns:a16="http://schemas.microsoft.com/office/drawing/2014/main" id="{0223619B-A74A-0579-BC7A-53DCAAD1D9C0}"/>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8274836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no Logo">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4CBBD92-362D-41DF-CEAE-01273298F3DB}"/>
              </a:ext>
            </a:extLst>
          </p:cNvPr>
          <p:cNvGraphicFramePr>
            <a:graphicFrameLocks noChangeAspect="1"/>
          </p:cNvGraphicFramePr>
          <p:nvPr userDrawn="1">
            <p:custDataLst>
              <p:tags r:id="rId1"/>
            </p:custDataLst>
            <p:extLst>
              <p:ext uri="{D42A27DB-BD31-4B8C-83A1-F6EECF244321}">
                <p14:modId xmlns:p14="http://schemas.microsoft.com/office/powerpoint/2010/main" val="2887529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A4CBBD92-362D-41DF-CEAE-01273298F3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9979B0B5-DCB0-844D-8724-1DB31C8A8C0B}"/>
              </a:ext>
            </a:extLst>
          </p:cNvPr>
          <p:cNvSpPr>
            <a:spLocks noGrp="1"/>
          </p:cNvSpPr>
          <p:nvPr>
            <p:ph type="title" hasCustomPrompt="1"/>
          </p:nvPr>
        </p:nvSpPr>
        <p:spPr>
          <a:xfrm>
            <a:off x="334963" y="260268"/>
            <a:ext cx="9504111" cy="332399"/>
          </a:xfrm>
        </p:spPr>
        <p:txBody>
          <a:bodyPr vert="horz" wrap="square">
            <a:spAutoFit/>
          </a:bodyPr>
          <a:lstStyle>
            <a:lvl1pPr rtl="0">
              <a:defRPr>
                <a:latin typeface="+mj-lt"/>
              </a:defRPr>
            </a:lvl1pPr>
          </a:lstStyle>
          <a:p>
            <a:r>
              <a:rPr lang="de-DE"/>
              <a:t>Click to edit Master title style</a:t>
            </a:r>
          </a:p>
        </p:txBody>
      </p:sp>
      <p:sp>
        <p:nvSpPr>
          <p:cNvPr id="6" name="Slide Number Placeholder 5">
            <a:extLst>
              <a:ext uri="{FF2B5EF4-FFF2-40B4-BE49-F238E27FC236}">
                <a16:creationId xmlns:a16="http://schemas.microsoft.com/office/drawing/2014/main" id="{6E1B8922-F046-4949-89A1-82828F430E98}"/>
              </a:ext>
            </a:extLst>
          </p:cNvPr>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defRPr>
            </a:lvl1pPr>
          </a:lstStyle>
          <a:p>
            <a:fld id="{FA58F0B4-6BC7-4BFB-804F-EE9B892902C7}" type="slidenum">
              <a:rPr lang="de-DE" smtClean="0"/>
              <a:pPr/>
              <a:t>‹nr.›</a:t>
            </a:fld>
            <a:endParaRPr lang="de-DE"/>
          </a:p>
        </p:txBody>
      </p:sp>
      <p:sp>
        <p:nvSpPr>
          <p:cNvPr id="8" name="Footer Placeholder 3">
            <a:extLst>
              <a:ext uri="{FF2B5EF4-FFF2-40B4-BE49-F238E27FC236}">
                <a16:creationId xmlns:a16="http://schemas.microsoft.com/office/drawing/2014/main" id="{A51A83C0-E586-4207-B521-E42A4141A04B}"/>
              </a:ext>
            </a:extLst>
          </p:cNvPr>
          <p:cNvSpPr>
            <a:spLocks noGrp="1"/>
          </p:cNvSpPr>
          <p:nvPr>
            <p:ph type="ftr" sz="quarter" idx="3"/>
          </p:nvPr>
        </p:nvSpPr>
        <p:spPr>
          <a:xfrm>
            <a:off x="2261053" y="6531715"/>
            <a:ext cx="8112000" cy="181960"/>
          </a:xfrm>
          <a:prstGeom prst="rect">
            <a:avLst/>
          </a:prstGeom>
        </p:spPr>
        <p:txBody>
          <a:bodyPr lIns="0" tIns="0" rIns="0" bIns="0"/>
          <a:lstStyle>
            <a:lvl1pPr algn="r" rtl="0">
              <a:defRPr sz="900">
                <a:solidFill>
                  <a:schemeClr val="accent1"/>
                </a:solidFill>
                <a:latin typeface="+mn-lt"/>
              </a:defRPr>
            </a:lvl1pPr>
          </a:lstStyle>
          <a:p>
            <a:endParaRPr lang="de-DE"/>
          </a:p>
        </p:txBody>
      </p:sp>
    </p:spTree>
    <p:extLst>
      <p:ext uri="{BB962C8B-B14F-4D97-AF65-F5344CB8AC3E}">
        <p14:creationId xmlns:p14="http://schemas.microsoft.com/office/powerpoint/2010/main" val="28118913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Image">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D673552-B75D-E440-0E1B-01C1EC624526}"/>
              </a:ext>
            </a:extLst>
          </p:cNvPr>
          <p:cNvGraphicFramePr>
            <a:graphicFrameLocks noChangeAspect="1"/>
          </p:cNvGraphicFramePr>
          <p:nvPr userDrawn="1">
            <p:custDataLst>
              <p:tags r:id="rId1"/>
            </p:custDataLst>
            <p:extLst>
              <p:ext uri="{D42A27DB-BD31-4B8C-83A1-F6EECF244321}">
                <p14:modId xmlns:p14="http://schemas.microsoft.com/office/powerpoint/2010/main" val="314717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FD673552-B75D-E440-0E1B-01C1EC6245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2">
            <a:extLst>
              <a:ext uri="{FF2B5EF4-FFF2-40B4-BE49-F238E27FC236}">
                <a16:creationId xmlns:a16="http://schemas.microsoft.com/office/drawing/2014/main" id="{E1605E3C-D76A-4678-9277-BF9E20857561}"/>
              </a:ext>
            </a:extLst>
          </p:cNvPr>
          <p:cNvSpPr>
            <a:spLocks noGrp="1" noChangeAspect="1"/>
          </p:cNvSpPr>
          <p:nvPr>
            <p:ph type="pic" sz="quarter" idx="13" hasCustomPrompt="1"/>
          </p:nvPr>
        </p:nvSpPr>
        <p:spPr>
          <a:xfrm>
            <a:off x="7248128" y="1442037"/>
            <a:ext cx="4320000" cy="4320000"/>
          </a:xfrm>
          <a:prstGeom prst="ellipse">
            <a:avLst/>
          </a:prstGeom>
        </p:spPr>
        <p:txBody>
          <a:bodyPr/>
          <a:lstStyle>
            <a:lvl1pPr algn="ctr" rtl="0">
              <a:buNone/>
              <a:defRPr b="0" i="0">
                <a:solidFill>
                  <a:srgbClr val="1C67AF"/>
                </a:solidFill>
                <a:latin typeface="+mn-lt"/>
                <a:cs typeface="Arial" panose="020B0604020202020204" pitchFamily="34" charset="0"/>
              </a:defRPr>
            </a:lvl1pPr>
          </a:lstStyle>
          <a:p>
            <a:r>
              <a:rPr lang="de-DE" noProof="0"/>
              <a:t>Add a picture here</a:t>
            </a:r>
          </a:p>
        </p:txBody>
      </p:sp>
      <p:sp>
        <p:nvSpPr>
          <p:cNvPr id="22" name="Slide Number Placeholder 5">
            <a:extLst>
              <a:ext uri="{FF2B5EF4-FFF2-40B4-BE49-F238E27FC236}">
                <a16:creationId xmlns:a16="http://schemas.microsoft.com/office/drawing/2014/main" id="{A6366AC5-1BE2-4E7D-B883-89CAF96B327D}"/>
              </a:ext>
            </a:extLst>
          </p:cNvPr>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23" name="Title 1">
            <a:extLst>
              <a:ext uri="{FF2B5EF4-FFF2-40B4-BE49-F238E27FC236}">
                <a16:creationId xmlns:a16="http://schemas.microsoft.com/office/drawing/2014/main" id="{FC885360-8473-4699-801C-9B04E3D233C8}"/>
              </a:ext>
            </a:extLst>
          </p:cNvPr>
          <p:cNvSpPr>
            <a:spLocks noGrp="1"/>
          </p:cNvSpPr>
          <p:nvPr>
            <p:ph type="ctrTitle" hasCustomPrompt="1"/>
          </p:nvPr>
        </p:nvSpPr>
        <p:spPr>
          <a:xfrm>
            <a:off x="334800" y="2490259"/>
            <a:ext cx="6638010" cy="2242079"/>
          </a:xfrm>
        </p:spPr>
        <p:txBody>
          <a:bodyPr vert="horz" anchor="b">
            <a:noAutofit/>
          </a:bodyPr>
          <a:lstStyle>
            <a:lvl1pPr algn="l" rtl="0">
              <a:defRPr sz="3600">
                <a:solidFill>
                  <a:schemeClr val="accent1"/>
                </a:solidFill>
                <a:latin typeface="+mj-lt"/>
                <a:cs typeface="Arial" panose="020B0604020202020204" pitchFamily="34" charset="0"/>
              </a:defRPr>
            </a:lvl1pPr>
          </a:lstStyle>
          <a:p>
            <a:r>
              <a:rPr lang="de-DE"/>
              <a:t>Click to edit section title</a:t>
            </a:r>
          </a:p>
        </p:txBody>
      </p:sp>
      <p:sp>
        <p:nvSpPr>
          <p:cNvPr id="24" name="Subtitle 2">
            <a:extLst>
              <a:ext uri="{FF2B5EF4-FFF2-40B4-BE49-F238E27FC236}">
                <a16:creationId xmlns:a16="http://schemas.microsoft.com/office/drawing/2014/main" id="{A57272B1-D4B7-4B27-9A7A-1EB4697DECEC}"/>
              </a:ext>
            </a:extLst>
          </p:cNvPr>
          <p:cNvSpPr>
            <a:spLocks noGrp="1"/>
          </p:cNvSpPr>
          <p:nvPr>
            <p:ph type="subTitle" idx="14" hasCustomPrompt="1"/>
          </p:nvPr>
        </p:nvSpPr>
        <p:spPr>
          <a:xfrm>
            <a:off x="334800" y="4911725"/>
            <a:ext cx="6638010" cy="1283999"/>
          </a:xfrm>
        </p:spPr>
        <p:txBody>
          <a:bodyPr>
            <a:normAutofit/>
          </a:bodyPr>
          <a:lstStyle>
            <a:lvl1pPr marL="0" indent="0" algn="l" rtl="0">
              <a:buNone/>
              <a:defRPr sz="2000">
                <a:solidFill>
                  <a:schemeClr val="accent1"/>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Click to edit section subtitle </a:t>
            </a:r>
          </a:p>
        </p:txBody>
      </p:sp>
      <p:sp>
        <p:nvSpPr>
          <p:cNvPr id="20" name="TextBox 19">
            <a:extLst>
              <a:ext uri="{FF2B5EF4-FFF2-40B4-BE49-F238E27FC236}">
                <a16:creationId xmlns:a16="http://schemas.microsoft.com/office/drawing/2014/main" id="{0553F198-9EE0-429E-8146-D1A23358B311}"/>
              </a:ext>
            </a:extLst>
          </p:cNvPr>
          <p:cNvSpPr txBox="1"/>
          <p:nvPr userDrawn="1"/>
        </p:nvSpPr>
        <p:spPr>
          <a:xfrm>
            <a:off x="11158230" y="6531715"/>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rtl="0"/>
            <a:r>
              <a:rPr lang="de-DE" sz="900">
                <a:latin typeface="+mn-lt"/>
                <a:cs typeface="Arial" panose="020B0604020202020204" pitchFamily="34" charset="0"/>
              </a:rPr>
              <a:t>© Zurich</a:t>
            </a:r>
          </a:p>
        </p:txBody>
      </p:sp>
      <p:pic>
        <p:nvPicPr>
          <p:cNvPr id="25" name="Graphic 24">
            <a:extLst>
              <a:ext uri="{FF2B5EF4-FFF2-40B4-BE49-F238E27FC236}">
                <a16:creationId xmlns:a16="http://schemas.microsoft.com/office/drawing/2014/main" id="{0AE58422-1ABF-47A3-A85D-4261EF0FA66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74662" y="306000"/>
            <a:ext cx="1500250" cy="498141"/>
          </a:xfrm>
          <a:prstGeom prst="rect">
            <a:avLst/>
          </a:prstGeom>
        </p:spPr>
      </p:pic>
    </p:spTree>
    <p:extLst>
      <p:ext uri="{BB962C8B-B14F-4D97-AF65-F5344CB8AC3E}">
        <p14:creationId xmlns:p14="http://schemas.microsoft.com/office/powerpoint/2010/main" val="3022743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solidFill>
          <a:schemeClr val="accent6"/>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E5D66EF-BCCA-83E9-496C-4DE3EF122C8F}"/>
              </a:ext>
            </a:extLst>
          </p:cNvPr>
          <p:cNvGraphicFramePr>
            <a:graphicFrameLocks noChangeAspect="1"/>
          </p:cNvGraphicFramePr>
          <p:nvPr userDrawn="1">
            <p:custDataLst>
              <p:tags r:id="rId1"/>
            </p:custDataLst>
            <p:extLst>
              <p:ext uri="{D42A27DB-BD31-4B8C-83A1-F6EECF244321}">
                <p14:modId xmlns:p14="http://schemas.microsoft.com/office/powerpoint/2010/main" val="2956507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8E5D66EF-BCCA-83E9-496C-4DE3EF122C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334800" y="2490259"/>
            <a:ext cx="6638010" cy="2242079"/>
          </a:xfrm>
        </p:spPr>
        <p:txBody>
          <a:bodyPr vert="horz" anchor="b">
            <a:noAutofit/>
          </a:bodyPr>
          <a:lstStyle>
            <a:lvl1pPr algn="l" rtl="0">
              <a:defRPr sz="3600">
                <a:solidFill>
                  <a:schemeClr val="accent1"/>
                </a:solidFill>
                <a:latin typeface="+mj-lt"/>
                <a:cs typeface="Arial" panose="020B0604020202020204" pitchFamily="34" charset="0"/>
              </a:defRPr>
            </a:lvl1pPr>
          </a:lstStyle>
          <a:p>
            <a:r>
              <a:rPr lang="de-DE"/>
              <a:t>Click to edit section title</a:t>
            </a:r>
          </a:p>
        </p:txBody>
      </p:sp>
      <p:sp>
        <p:nvSpPr>
          <p:cNvPr id="9" name="Subtitle 2">
            <a:extLst>
              <a:ext uri="{FF2B5EF4-FFF2-40B4-BE49-F238E27FC236}">
                <a16:creationId xmlns:a16="http://schemas.microsoft.com/office/drawing/2014/main" id="{5D52D574-4430-4847-B932-BA1C1DC56322}"/>
              </a:ext>
            </a:extLst>
          </p:cNvPr>
          <p:cNvSpPr>
            <a:spLocks noGrp="1"/>
          </p:cNvSpPr>
          <p:nvPr>
            <p:ph type="subTitle" idx="13" hasCustomPrompt="1"/>
          </p:nvPr>
        </p:nvSpPr>
        <p:spPr>
          <a:xfrm>
            <a:off x="334800" y="4911725"/>
            <a:ext cx="6638010" cy="1283999"/>
          </a:xfrm>
        </p:spPr>
        <p:txBody>
          <a:bodyPr>
            <a:normAutofit/>
          </a:bodyPr>
          <a:lstStyle>
            <a:lvl1pPr marL="0" indent="0" algn="l" rtl="0">
              <a:buNone/>
              <a:defRPr sz="2000">
                <a:solidFill>
                  <a:schemeClr val="accent1"/>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Click to edit section subtitle </a:t>
            </a:r>
          </a:p>
        </p:txBody>
      </p:sp>
      <p:sp>
        <p:nvSpPr>
          <p:cNvPr id="18" name="Slide Number Placeholder 5">
            <a:extLst>
              <a:ext uri="{FF2B5EF4-FFF2-40B4-BE49-F238E27FC236}">
                <a16:creationId xmlns:a16="http://schemas.microsoft.com/office/drawing/2014/main" id="{6C2690B3-34BA-4DEA-AD15-F9112DF4223E}"/>
              </a:ext>
            </a:extLst>
          </p:cNvPr>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16" name="TextBox 15">
            <a:extLst>
              <a:ext uri="{FF2B5EF4-FFF2-40B4-BE49-F238E27FC236}">
                <a16:creationId xmlns:a16="http://schemas.microsoft.com/office/drawing/2014/main" id="{6E3C58F8-1677-425E-8830-573D0F0A3E4E}"/>
              </a:ext>
            </a:extLst>
          </p:cNvPr>
          <p:cNvSpPr txBox="1"/>
          <p:nvPr userDrawn="1"/>
        </p:nvSpPr>
        <p:spPr>
          <a:xfrm>
            <a:off x="11158230" y="6531715"/>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rtl="0"/>
            <a:r>
              <a:rPr lang="de-DE" sz="900">
                <a:latin typeface="+mn-lt"/>
                <a:cs typeface="Arial" panose="020B0604020202020204" pitchFamily="34" charset="0"/>
              </a:rPr>
              <a:t>© Zurich</a:t>
            </a:r>
          </a:p>
        </p:txBody>
      </p:sp>
      <p:pic>
        <p:nvPicPr>
          <p:cNvPr id="19" name="Graphic 18">
            <a:extLst>
              <a:ext uri="{FF2B5EF4-FFF2-40B4-BE49-F238E27FC236}">
                <a16:creationId xmlns:a16="http://schemas.microsoft.com/office/drawing/2014/main" id="{DC90F13D-0871-4FAF-A83E-76075ADEC0B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74662" y="306000"/>
            <a:ext cx="1500250" cy="498141"/>
          </a:xfrm>
          <a:prstGeom prst="rect">
            <a:avLst/>
          </a:prstGeom>
        </p:spPr>
      </p:pic>
    </p:spTree>
    <p:extLst>
      <p:ext uri="{BB962C8B-B14F-4D97-AF65-F5344CB8AC3E}">
        <p14:creationId xmlns:p14="http://schemas.microsoft.com/office/powerpoint/2010/main" val="15804208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_Light">
    <p:bg>
      <p:bgPr>
        <a:solidFill>
          <a:schemeClr val="accent6"/>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EEC99AC-B120-0B48-D8A5-63A2B5B355A6}"/>
              </a:ext>
            </a:extLst>
          </p:cNvPr>
          <p:cNvGraphicFramePr>
            <a:graphicFrameLocks noChangeAspect="1"/>
          </p:cNvGraphicFramePr>
          <p:nvPr userDrawn="1">
            <p:custDataLst>
              <p:tags r:id="rId1"/>
            </p:custDataLst>
            <p:extLst>
              <p:ext uri="{D42A27DB-BD31-4B8C-83A1-F6EECF244321}">
                <p14:modId xmlns:p14="http://schemas.microsoft.com/office/powerpoint/2010/main" val="2329716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1EEC99AC-B120-0B48-D8A5-63A2B5B355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334963" y="1118717"/>
            <a:ext cx="6646636" cy="2242079"/>
          </a:xfrm>
        </p:spPr>
        <p:txBody>
          <a:bodyPr vert="horz" anchor="b">
            <a:normAutofit/>
          </a:bodyPr>
          <a:lstStyle>
            <a:lvl1pPr algn="l" rtl="0">
              <a:defRPr sz="3600">
                <a:solidFill>
                  <a:schemeClr val="accent1"/>
                </a:solidFill>
                <a:latin typeface="+mj-lt"/>
                <a:cs typeface="Arial" panose="020B0604020202020204" pitchFamily="34" charset="0"/>
              </a:defRPr>
            </a:lvl1pPr>
          </a:lstStyle>
          <a:p>
            <a:r>
              <a:rPr lang="de-DE"/>
              <a:t>Click to edit Master title style</a:t>
            </a:r>
          </a:p>
        </p:txBody>
      </p:sp>
      <p:sp>
        <p:nvSpPr>
          <p:cNvPr id="3" name="Subtitle 2"/>
          <p:cNvSpPr>
            <a:spLocks noGrp="1"/>
          </p:cNvSpPr>
          <p:nvPr>
            <p:ph type="subTitle" idx="1" hasCustomPrompt="1"/>
          </p:nvPr>
        </p:nvSpPr>
        <p:spPr>
          <a:xfrm>
            <a:off x="334963" y="3452871"/>
            <a:ext cx="5686055" cy="1283999"/>
          </a:xfrm>
        </p:spPr>
        <p:txBody>
          <a:bodyPr>
            <a:normAutofit/>
          </a:bodyPr>
          <a:lstStyle>
            <a:lvl1pPr marL="0" indent="0" algn="l" rtl="0">
              <a:buNone/>
              <a:defRPr sz="2000">
                <a:solidFill>
                  <a:schemeClr val="accent1"/>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Click to edit Master subtitle style</a:t>
            </a:r>
          </a:p>
        </p:txBody>
      </p:sp>
      <p:sp>
        <p:nvSpPr>
          <p:cNvPr id="22" name="Picture Placeholder 2">
            <a:extLst>
              <a:ext uri="{FF2B5EF4-FFF2-40B4-BE49-F238E27FC236}">
                <a16:creationId xmlns:a16="http://schemas.microsoft.com/office/drawing/2014/main" id="{8C38856E-DF0D-49BD-A0AF-37F515F1D5FF}"/>
              </a:ext>
            </a:extLst>
          </p:cNvPr>
          <p:cNvSpPr>
            <a:spLocks noGrp="1"/>
          </p:cNvSpPr>
          <p:nvPr>
            <p:ph type="pic" sz="quarter" idx="13" hasCustomPrompt="1"/>
          </p:nvPr>
        </p:nvSpPr>
        <p:spPr>
          <a:xfrm>
            <a:off x="7154052" y="1818873"/>
            <a:ext cx="5040000" cy="5040000"/>
          </a:xfrm>
          <a:prstGeom prst="ellipse">
            <a:avLst/>
          </a:prstGeom>
        </p:spPr>
        <p:txBody>
          <a:bodyPr/>
          <a:lstStyle>
            <a:lvl1pPr algn="ctr" rtl="0">
              <a:buNone/>
              <a:defRPr b="0" i="0">
                <a:solidFill>
                  <a:schemeClr val="accent1"/>
                </a:solidFill>
                <a:latin typeface="+mn-lt"/>
                <a:cs typeface="Arial" panose="020B0604020202020204" pitchFamily="34" charset="0"/>
              </a:defRPr>
            </a:lvl1pPr>
          </a:lstStyle>
          <a:p>
            <a:r>
              <a:rPr lang="de-DE" noProof="0"/>
              <a:t>Add a picture here</a:t>
            </a:r>
          </a:p>
        </p:txBody>
      </p:sp>
      <p:sp>
        <p:nvSpPr>
          <p:cNvPr id="20" name="Date Name Organization">
            <a:extLst>
              <a:ext uri="{FF2B5EF4-FFF2-40B4-BE49-F238E27FC236}">
                <a16:creationId xmlns:a16="http://schemas.microsoft.com/office/drawing/2014/main" id="{B679C166-F3F4-4469-BDA4-0521529C846E}"/>
              </a:ext>
            </a:extLst>
          </p:cNvPr>
          <p:cNvSpPr>
            <a:spLocks noGrp="1"/>
          </p:cNvSpPr>
          <p:nvPr>
            <p:ph type="body" sz="quarter" idx="14" hasCustomPrompt="1"/>
          </p:nvPr>
        </p:nvSpPr>
        <p:spPr>
          <a:xfrm>
            <a:off x="334963" y="4923646"/>
            <a:ext cx="5167846" cy="1056000"/>
          </a:xfrm>
        </p:spPr>
        <p:txBody>
          <a:bodyPr anchor="b"/>
          <a:lstStyle>
            <a:lvl1pPr marL="0" indent="0" rtl="0">
              <a:spcAft>
                <a:spcPts val="133"/>
              </a:spcAft>
              <a:buNone/>
              <a:defRPr sz="1200">
                <a:solidFill>
                  <a:schemeClr val="accent1"/>
                </a:solidFill>
                <a:latin typeface="+mn-lt"/>
                <a:cs typeface="Arial" panose="020B0604020202020204" pitchFamily="34" charset="0"/>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de-DE"/>
              <a:t>[Date]</a:t>
            </a:r>
            <a:br>
              <a:rPr lang="de-DE"/>
            </a:br>
            <a:r>
              <a:rPr lang="de-DE"/>
              <a:t>[Name of moderator]</a:t>
            </a:r>
            <a:br>
              <a:rPr lang="de-DE"/>
            </a:br>
            <a:r>
              <a:rPr lang="de-DE"/>
              <a:t>[Organizational Unit]</a:t>
            </a:r>
          </a:p>
        </p:txBody>
      </p:sp>
      <p:sp>
        <p:nvSpPr>
          <p:cNvPr id="23" name="TextBox 22">
            <a:extLst>
              <a:ext uri="{FF2B5EF4-FFF2-40B4-BE49-F238E27FC236}">
                <a16:creationId xmlns:a16="http://schemas.microsoft.com/office/drawing/2014/main" id="{95DF63F8-7348-45DD-B78C-876296E376FC}"/>
              </a:ext>
            </a:extLst>
          </p:cNvPr>
          <p:cNvSpPr txBox="1"/>
          <p:nvPr userDrawn="1"/>
        </p:nvSpPr>
        <p:spPr>
          <a:xfrm>
            <a:off x="11158230" y="6531715"/>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rtl="0"/>
            <a:r>
              <a:rPr lang="de-DE" sz="900">
                <a:latin typeface="+mn-lt"/>
                <a:cs typeface="Arial" panose="020B0604020202020204" pitchFamily="34" charset="0"/>
              </a:rPr>
              <a:t>© Zurich</a:t>
            </a:r>
          </a:p>
        </p:txBody>
      </p:sp>
      <p:pic>
        <p:nvPicPr>
          <p:cNvPr id="18" name="Graphic 17">
            <a:extLst>
              <a:ext uri="{FF2B5EF4-FFF2-40B4-BE49-F238E27FC236}">
                <a16:creationId xmlns:a16="http://schemas.microsoft.com/office/drawing/2014/main" id="{E1BE7975-669B-4395-A4BA-BAF0A898DFE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74662" y="306000"/>
            <a:ext cx="1500250" cy="498141"/>
          </a:xfrm>
          <a:prstGeom prst="rect">
            <a:avLst/>
          </a:prstGeom>
        </p:spPr>
      </p:pic>
    </p:spTree>
    <p:extLst>
      <p:ext uri="{BB962C8B-B14F-4D97-AF65-F5344CB8AC3E}">
        <p14:creationId xmlns:p14="http://schemas.microsoft.com/office/powerpoint/2010/main" val="37068265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C34500-EF8A-AC58-D14C-02A9D53E3E8F}"/>
              </a:ext>
            </a:extLst>
          </p:cNvPr>
          <p:cNvGraphicFramePr>
            <a:graphicFrameLocks noChangeAspect="1"/>
          </p:cNvGraphicFramePr>
          <p:nvPr userDrawn="1">
            <p:custDataLst>
              <p:tags r:id="rId1"/>
            </p:custDataLst>
            <p:extLst>
              <p:ext uri="{D42A27DB-BD31-4B8C-83A1-F6EECF244321}">
                <p14:modId xmlns:p14="http://schemas.microsoft.com/office/powerpoint/2010/main" val="3331686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39C34500-EF8A-AC58-D14C-02A9D53E3E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334963" y="2490259"/>
            <a:ext cx="6638010" cy="2242079"/>
          </a:xfrm>
        </p:spPr>
        <p:txBody>
          <a:bodyPr vert="horz" anchor="b">
            <a:noAutofit/>
          </a:bodyPr>
          <a:lstStyle>
            <a:lvl1pPr algn="l" rtl="0">
              <a:defRPr sz="3600">
                <a:solidFill>
                  <a:schemeClr val="accent6"/>
                </a:solidFill>
                <a:latin typeface="+mj-lt"/>
                <a:cs typeface="Arial" panose="020B0604020202020204" pitchFamily="34" charset="0"/>
              </a:defRPr>
            </a:lvl1pPr>
          </a:lstStyle>
          <a:p>
            <a:r>
              <a:rPr lang="de-DE"/>
              <a:t>Click to edit title</a:t>
            </a:r>
          </a:p>
        </p:txBody>
      </p:sp>
      <p:sp>
        <p:nvSpPr>
          <p:cNvPr id="9" name="Subtitle 2">
            <a:extLst>
              <a:ext uri="{FF2B5EF4-FFF2-40B4-BE49-F238E27FC236}">
                <a16:creationId xmlns:a16="http://schemas.microsoft.com/office/drawing/2014/main" id="{5D52D574-4430-4847-B932-BA1C1DC56322}"/>
              </a:ext>
            </a:extLst>
          </p:cNvPr>
          <p:cNvSpPr>
            <a:spLocks noGrp="1"/>
          </p:cNvSpPr>
          <p:nvPr>
            <p:ph type="subTitle" idx="13" hasCustomPrompt="1"/>
          </p:nvPr>
        </p:nvSpPr>
        <p:spPr>
          <a:xfrm>
            <a:off x="334963" y="4911725"/>
            <a:ext cx="6634925" cy="1283999"/>
          </a:xfrm>
        </p:spPr>
        <p:txBody>
          <a:bodyPr>
            <a:normAutofit/>
          </a:bodyPr>
          <a:lstStyle>
            <a:lvl1pPr marL="0" indent="0" algn="l" rtl="0">
              <a:buNone/>
              <a:defRPr sz="2000">
                <a:solidFill>
                  <a:schemeClr val="accent6"/>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Click to edit subtitle</a:t>
            </a:r>
          </a:p>
        </p:txBody>
      </p:sp>
      <p:sp>
        <p:nvSpPr>
          <p:cNvPr id="15" name="Picture Placeholder 2">
            <a:extLst>
              <a:ext uri="{FF2B5EF4-FFF2-40B4-BE49-F238E27FC236}">
                <a16:creationId xmlns:a16="http://schemas.microsoft.com/office/drawing/2014/main" id="{207E0EDD-CE7D-485D-90AA-EB92659F4C2E}"/>
              </a:ext>
            </a:extLst>
          </p:cNvPr>
          <p:cNvSpPr>
            <a:spLocks noGrp="1" noChangeAspect="1"/>
          </p:cNvSpPr>
          <p:nvPr>
            <p:ph type="pic" sz="quarter" idx="14" hasCustomPrompt="1"/>
          </p:nvPr>
        </p:nvSpPr>
        <p:spPr>
          <a:xfrm>
            <a:off x="9061251" y="1902437"/>
            <a:ext cx="3120000" cy="3120000"/>
          </a:xfrm>
          <a:prstGeom prst="ellipse">
            <a:avLst/>
          </a:prstGeom>
        </p:spPr>
        <p:txBody>
          <a:bodyPr/>
          <a:lstStyle>
            <a:lvl1pPr algn="ctr" rtl="0">
              <a:buNone/>
              <a:defRPr b="0" i="0">
                <a:solidFill>
                  <a:schemeClr val="accent6"/>
                </a:solidFill>
                <a:latin typeface="+mn-lt"/>
                <a:cs typeface="Arial" panose="020B0604020202020204" pitchFamily="34" charset="0"/>
              </a:defRPr>
            </a:lvl1pPr>
          </a:lstStyle>
          <a:p>
            <a:r>
              <a:rPr lang="de-DE"/>
              <a:t>Add a picture here</a:t>
            </a:r>
          </a:p>
        </p:txBody>
      </p:sp>
      <p:sp>
        <p:nvSpPr>
          <p:cNvPr id="26" name="TextBox 25">
            <a:extLst>
              <a:ext uri="{FF2B5EF4-FFF2-40B4-BE49-F238E27FC236}">
                <a16:creationId xmlns:a16="http://schemas.microsoft.com/office/drawing/2014/main" id="{964649C4-0FE0-4E4D-B386-F39D40C28AE9}"/>
              </a:ext>
            </a:extLst>
          </p:cNvPr>
          <p:cNvSpPr txBox="1"/>
          <p:nvPr userDrawn="1"/>
        </p:nvSpPr>
        <p:spPr>
          <a:xfrm>
            <a:off x="11158230" y="6531715"/>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rtl="0"/>
            <a:r>
              <a:rPr lang="de-DE" sz="900">
                <a:solidFill>
                  <a:schemeClr val="accent6"/>
                </a:solidFill>
                <a:latin typeface="+mn-lt"/>
                <a:cs typeface="Arial" panose="020B0604020202020204" pitchFamily="34" charset="0"/>
              </a:rPr>
              <a:t>© Zurich</a:t>
            </a:r>
          </a:p>
        </p:txBody>
      </p:sp>
      <p:pic>
        <p:nvPicPr>
          <p:cNvPr id="8" name="Graphic 7">
            <a:extLst>
              <a:ext uri="{FF2B5EF4-FFF2-40B4-BE49-F238E27FC236}">
                <a16:creationId xmlns:a16="http://schemas.microsoft.com/office/drawing/2014/main" id="{83A4ED00-F6DB-4E11-A5EA-784EB04F526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74662" y="306000"/>
            <a:ext cx="1500250" cy="498141"/>
          </a:xfrm>
          <a:prstGeom prst="rect">
            <a:avLst/>
          </a:prstGeom>
        </p:spPr>
      </p:pic>
    </p:spTree>
    <p:extLst>
      <p:ext uri="{BB962C8B-B14F-4D97-AF65-F5344CB8AC3E}">
        <p14:creationId xmlns:p14="http://schemas.microsoft.com/office/powerpoint/2010/main" val="4890205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Slide_Dark">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D5AA5FB-3BCC-5B0C-109E-A3F034440346}"/>
              </a:ext>
            </a:extLst>
          </p:cNvPr>
          <p:cNvGraphicFramePr>
            <a:graphicFrameLocks noChangeAspect="1"/>
          </p:cNvGraphicFramePr>
          <p:nvPr userDrawn="1">
            <p:custDataLst>
              <p:tags r:id="rId1"/>
            </p:custDataLst>
            <p:extLst>
              <p:ext uri="{D42A27DB-BD31-4B8C-83A1-F6EECF244321}">
                <p14:modId xmlns:p14="http://schemas.microsoft.com/office/powerpoint/2010/main" val="391605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6D5AA5FB-3BCC-5B0C-109E-A3F0344403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265426" y="1103215"/>
            <a:ext cx="6722148" cy="2242079"/>
          </a:xfrm>
        </p:spPr>
        <p:txBody>
          <a:bodyPr vert="horz" anchor="b">
            <a:normAutofit/>
          </a:bodyPr>
          <a:lstStyle>
            <a:lvl1pPr algn="l" rtl="0">
              <a:defRPr sz="3600">
                <a:solidFill>
                  <a:schemeClr val="accent6"/>
                </a:solidFill>
                <a:latin typeface="+mj-lt"/>
                <a:cs typeface="Arial" panose="020B0604020202020204" pitchFamily="34" charset="0"/>
              </a:defRPr>
            </a:lvl1pPr>
          </a:lstStyle>
          <a:p>
            <a:r>
              <a:rPr lang="de-DE"/>
              <a:t>Click to edit Master title style</a:t>
            </a:r>
          </a:p>
        </p:txBody>
      </p:sp>
      <p:sp>
        <p:nvSpPr>
          <p:cNvPr id="3" name="Subtitle 2"/>
          <p:cNvSpPr>
            <a:spLocks noGrp="1"/>
          </p:cNvSpPr>
          <p:nvPr>
            <p:ph type="subTitle" idx="1" hasCustomPrompt="1"/>
          </p:nvPr>
        </p:nvSpPr>
        <p:spPr>
          <a:xfrm>
            <a:off x="265426" y="3437369"/>
            <a:ext cx="5761567" cy="1283999"/>
          </a:xfrm>
        </p:spPr>
        <p:txBody>
          <a:bodyPr>
            <a:normAutofit/>
          </a:bodyPr>
          <a:lstStyle>
            <a:lvl1pPr marL="0" indent="0" algn="l" rtl="0">
              <a:buNone/>
              <a:defRPr sz="2000">
                <a:solidFill>
                  <a:schemeClr val="accent6"/>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Click to edit Master subtitle style</a:t>
            </a:r>
          </a:p>
        </p:txBody>
      </p:sp>
      <p:sp>
        <p:nvSpPr>
          <p:cNvPr id="10" name="Oval 9">
            <a:extLst>
              <a:ext uri="{FF2B5EF4-FFF2-40B4-BE49-F238E27FC236}">
                <a16:creationId xmlns:a16="http://schemas.microsoft.com/office/drawing/2014/main" id="{DCD6D046-9E8A-417B-B758-A6E20A0FE31C}"/>
              </a:ext>
            </a:extLst>
          </p:cNvPr>
          <p:cNvSpPr/>
          <p:nvPr userDrawn="1"/>
        </p:nvSpPr>
        <p:spPr bwMode="auto">
          <a:xfrm>
            <a:off x="6787133" y="5399389"/>
            <a:ext cx="547941" cy="547483"/>
          </a:xfrm>
          <a:prstGeom prst="ellipse">
            <a:avLst/>
          </a:pr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de-DE" sz="2000" b="0" i="0" u="none" strike="noStrike" cap="none" normalizeH="0" baseline="0">
              <a:ln>
                <a:noFill/>
              </a:ln>
              <a:solidFill>
                <a:schemeClr val="accent6"/>
              </a:solidFill>
              <a:effectLst/>
              <a:latin typeface="+mn-lt"/>
              <a:cs typeface="Arial" panose="020B0604020202020204" pitchFamily="34" charset="0"/>
            </a:endParaRPr>
          </a:p>
        </p:txBody>
      </p:sp>
      <p:sp>
        <p:nvSpPr>
          <p:cNvPr id="11" name="Freeform 8">
            <a:extLst>
              <a:ext uri="{FF2B5EF4-FFF2-40B4-BE49-F238E27FC236}">
                <a16:creationId xmlns:a16="http://schemas.microsoft.com/office/drawing/2014/main" id="{977530C5-2DE6-44CA-8A8F-019E4D7C204F}"/>
              </a:ext>
            </a:extLst>
          </p:cNvPr>
          <p:cNvSpPr/>
          <p:nvPr userDrawn="1"/>
        </p:nvSpPr>
        <p:spPr bwMode="auto">
          <a:xfrm>
            <a:off x="5929176" y="5949896"/>
            <a:ext cx="1802643" cy="908104"/>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de-DE" sz="2000" b="0" i="0" u="none" strike="noStrike" cap="none" normalizeH="0" baseline="0">
              <a:ln>
                <a:noFill/>
              </a:ln>
              <a:solidFill>
                <a:schemeClr val="accent6"/>
              </a:solidFill>
              <a:effectLst/>
              <a:latin typeface="+mn-lt"/>
              <a:cs typeface="Arial" panose="020B0604020202020204" pitchFamily="34" charset="0"/>
            </a:endParaRPr>
          </a:p>
        </p:txBody>
      </p:sp>
      <p:sp>
        <p:nvSpPr>
          <p:cNvPr id="12" name="Freeform 10">
            <a:extLst>
              <a:ext uri="{FF2B5EF4-FFF2-40B4-BE49-F238E27FC236}">
                <a16:creationId xmlns:a16="http://schemas.microsoft.com/office/drawing/2014/main" id="{CBDF7E11-8F3D-4306-A7C9-3CBBFA98620F}"/>
              </a:ext>
            </a:extLst>
          </p:cNvPr>
          <p:cNvSpPr/>
          <p:nvPr userDrawn="1"/>
        </p:nvSpPr>
        <p:spPr bwMode="auto">
          <a:xfrm rot="7933215">
            <a:off x="6018217" y="4998607"/>
            <a:ext cx="1201179" cy="604951"/>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de-DE" sz="2000" b="0" i="0" u="none" strike="noStrike" cap="none" normalizeH="0" baseline="0">
              <a:ln>
                <a:noFill/>
              </a:ln>
              <a:solidFill>
                <a:schemeClr val="accent6"/>
              </a:solidFill>
              <a:effectLst/>
              <a:latin typeface="+mn-lt"/>
              <a:cs typeface="Arial" panose="020B0604020202020204" pitchFamily="34" charset="0"/>
            </a:endParaRPr>
          </a:p>
        </p:txBody>
      </p:sp>
      <p:sp>
        <p:nvSpPr>
          <p:cNvPr id="22" name="Picture Placeholder 2">
            <a:extLst>
              <a:ext uri="{FF2B5EF4-FFF2-40B4-BE49-F238E27FC236}">
                <a16:creationId xmlns:a16="http://schemas.microsoft.com/office/drawing/2014/main" id="{8C38856E-DF0D-49BD-A0AF-37F515F1D5FF}"/>
              </a:ext>
            </a:extLst>
          </p:cNvPr>
          <p:cNvSpPr>
            <a:spLocks noGrp="1"/>
          </p:cNvSpPr>
          <p:nvPr>
            <p:ph type="pic" sz="quarter" idx="13" hasCustomPrompt="1"/>
          </p:nvPr>
        </p:nvSpPr>
        <p:spPr>
          <a:xfrm>
            <a:off x="7145996" y="1810817"/>
            <a:ext cx="5040000" cy="5040000"/>
          </a:xfrm>
          <a:prstGeom prst="ellipse">
            <a:avLst/>
          </a:prstGeom>
        </p:spPr>
        <p:txBody>
          <a:bodyPr/>
          <a:lstStyle>
            <a:lvl1pPr algn="ctr" rtl="0">
              <a:buNone/>
              <a:defRPr b="0" i="0">
                <a:solidFill>
                  <a:schemeClr val="accent6"/>
                </a:solidFill>
                <a:latin typeface="+mn-lt"/>
                <a:cs typeface="Arial" panose="020B0604020202020204" pitchFamily="34" charset="0"/>
              </a:defRPr>
            </a:lvl1pPr>
          </a:lstStyle>
          <a:p>
            <a:r>
              <a:rPr lang="de-DE" noProof="0"/>
              <a:t>Click icon to add picture</a:t>
            </a:r>
          </a:p>
        </p:txBody>
      </p:sp>
      <p:sp>
        <p:nvSpPr>
          <p:cNvPr id="20" name="Date Name Organization">
            <a:extLst>
              <a:ext uri="{FF2B5EF4-FFF2-40B4-BE49-F238E27FC236}">
                <a16:creationId xmlns:a16="http://schemas.microsoft.com/office/drawing/2014/main" id="{B679C166-F3F4-4469-BDA4-0521529C846E}"/>
              </a:ext>
            </a:extLst>
          </p:cNvPr>
          <p:cNvSpPr>
            <a:spLocks noGrp="1"/>
          </p:cNvSpPr>
          <p:nvPr>
            <p:ph type="body" sz="quarter" idx="14" hasCustomPrompt="1"/>
          </p:nvPr>
        </p:nvSpPr>
        <p:spPr>
          <a:xfrm>
            <a:off x="265425" y="4913252"/>
            <a:ext cx="5251984" cy="1056000"/>
          </a:xfrm>
        </p:spPr>
        <p:txBody>
          <a:bodyPr anchor="b"/>
          <a:lstStyle>
            <a:lvl1pPr marL="0" indent="0" rtl="0">
              <a:spcAft>
                <a:spcPts val="133"/>
              </a:spcAft>
              <a:buNone/>
              <a:defRPr sz="1200">
                <a:solidFill>
                  <a:schemeClr val="accent6"/>
                </a:solidFill>
                <a:latin typeface="+mn-lt"/>
                <a:cs typeface="Arial" panose="020B0604020202020204" pitchFamily="34" charset="0"/>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de-DE"/>
              <a:t>Click to edit Master text styles</a:t>
            </a:r>
          </a:p>
        </p:txBody>
      </p:sp>
      <p:sp>
        <p:nvSpPr>
          <p:cNvPr id="23" name="TextBox 22">
            <a:extLst>
              <a:ext uri="{FF2B5EF4-FFF2-40B4-BE49-F238E27FC236}">
                <a16:creationId xmlns:a16="http://schemas.microsoft.com/office/drawing/2014/main" id="{F693D7AA-4B02-44F3-849A-D51D7F7A9CD0}"/>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rtl="0"/>
            <a:r>
              <a:rPr lang="de-DE" sz="900">
                <a:solidFill>
                  <a:schemeClr val="accent6"/>
                </a:solidFill>
                <a:latin typeface="+mn-lt"/>
                <a:cs typeface="Arial" panose="020B0604020202020204" pitchFamily="34" charset="0"/>
              </a:rPr>
              <a:t>© Zurich</a:t>
            </a:r>
          </a:p>
        </p:txBody>
      </p:sp>
      <p:pic>
        <p:nvPicPr>
          <p:cNvPr id="9" name="Graphic 7">
            <a:extLst>
              <a:ext uri="{FF2B5EF4-FFF2-40B4-BE49-F238E27FC236}">
                <a16:creationId xmlns:a16="http://schemas.microsoft.com/office/drawing/2014/main" id="{835AB614-9B1B-951A-E731-C156D497202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74662" y="306000"/>
            <a:ext cx="1500250" cy="498141"/>
          </a:xfrm>
          <a:prstGeom prst="rect">
            <a:avLst/>
          </a:prstGeom>
        </p:spPr>
      </p:pic>
    </p:spTree>
    <p:extLst>
      <p:ext uri="{BB962C8B-B14F-4D97-AF65-F5344CB8AC3E}">
        <p14:creationId xmlns:p14="http://schemas.microsoft.com/office/powerpoint/2010/main" val="7027297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6"/>
        <p:cNvGrpSpPr/>
        <p:nvPr/>
      </p:nvGrpSpPr>
      <p:grpSpPr>
        <a:xfrm>
          <a:off x="0" y="0"/>
          <a:ext cx="0" cy="0"/>
          <a:chOff x="0" y="0"/>
          <a:chExt cx="0" cy="0"/>
        </a:xfrm>
      </p:grpSpPr>
      <p:sp>
        <p:nvSpPr>
          <p:cNvPr id="28" name="Google Shape;28;p25"/>
          <p:cNvSpPr txBox="1">
            <a:spLocks noGrp="1"/>
          </p:cNvSpPr>
          <p:nvPr>
            <p:ph type="title"/>
          </p:nvPr>
        </p:nvSpPr>
        <p:spPr>
          <a:xfrm>
            <a:off x="252661" y="260270"/>
            <a:ext cx="9586415"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96281128"/>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1406EC-9BFF-3460-49A6-84F969C645E2}"/>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ct 3" hidden="1">
                        <a:extLst>
                          <a:ext uri="{FF2B5EF4-FFF2-40B4-BE49-F238E27FC236}">
                            <a16:creationId xmlns:a16="http://schemas.microsoft.com/office/drawing/2014/main" id="{2F1406EC-9BFF-3460-49A6-84F969C645E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251999" y="1198800"/>
            <a:ext cx="11678400" cy="5040000"/>
          </a:xfrm>
        </p:spPr>
        <p:txBody>
          <a:bodyPr/>
          <a:lstStyle>
            <a:lvl1pPr>
              <a:defRPr sz="1800">
                <a:latin typeface="+mn-lt"/>
                <a:cs typeface="Arial" panose="020B0604020202020204" pitchFamily="34" charset="0"/>
                <a:sym typeface="Arial" panose="020B0604020202020204" pitchFamily="34" charset="0"/>
              </a:defRPr>
            </a:lvl1pPr>
            <a:lvl2pPr>
              <a:defRPr sz="1600">
                <a:latin typeface="+mn-lt"/>
                <a:cs typeface="Arial" panose="020B0604020202020204" pitchFamily="34" charset="0"/>
                <a:sym typeface="Arial" panose="020B0604020202020204" pitchFamily="34" charset="0"/>
              </a:defRPr>
            </a:lvl2pPr>
            <a:lvl3pPr>
              <a:defRPr sz="1400">
                <a:latin typeface="+mn-lt"/>
                <a:cs typeface="Arial" panose="020B0604020202020204" pitchFamily="34" charset="0"/>
                <a:sym typeface="Arial" panose="020B0604020202020204" pitchFamily="34" charset="0"/>
              </a:defRPr>
            </a:lvl3pPr>
            <a:lvl4pPr>
              <a:defRPr sz="1200">
                <a:latin typeface="+mn-lt"/>
                <a:cs typeface="Arial" panose="020B0604020202020204" pitchFamily="34" charset="0"/>
                <a:sym typeface="Arial" panose="020B0604020202020204" pitchFamily="34" charset="0"/>
              </a:defRPr>
            </a:lvl4pPr>
            <a:lvl5pPr>
              <a:defRPr sz="1200">
                <a:latin typeface="+mn-lt"/>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sym typeface="Arial" panose="020B0604020202020204" pitchFamily="34" charset="0"/>
              </a:defRPr>
            </a:lvl1pPr>
          </a:lstStyle>
          <a:p>
            <a:endParaRPr lang="en-US"/>
          </a:p>
        </p:txBody>
      </p:sp>
      <p:sp>
        <p:nvSpPr>
          <p:cNvPr id="6" name="Title Placeholder 1">
            <a:extLst>
              <a:ext uri="{FF2B5EF4-FFF2-40B4-BE49-F238E27FC236}">
                <a16:creationId xmlns:a16="http://schemas.microsoft.com/office/drawing/2014/main" id="{18E30B75-9CF0-0775-B941-FE7D212DB476}"/>
              </a:ext>
            </a:extLst>
          </p:cNvPr>
          <p:cNvSpPr>
            <a:spLocks noGrp="1"/>
          </p:cNvSpPr>
          <p:nvPr>
            <p:ph type="title"/>
          </p:nvPr>
        </p:nvSpPr>
        <p:spPr>
          <a:xfrm>
            <a:off x="250826" y="249926"/>
            <a:ext cx="9583200" cy="332399"/>
          </a:xfrm>
          <a:prstGeom prst="rect">
            <a:avLst/>
          </a:prstGeom>
        </p:spPr>
        <p:txBody>
          <a:bodyPr vert="horz" lIns="0" tIns="0" rIns="0" bIns="0" rtlCol="0" anchor="t" anchorCtr="0">
            <a:spAutoFit/>
          </a:bodyPr>
          <a:lstStyle>
            <a:lvl1pPr>
              <a:defRPr>
                <a:latin typeface="+mn-lt"/>
                <a:cs typeface="Arial" panose="020B0604020202020204" pitchFamily="34" charset="0"/>
                <a:sym typeface="Arial" panose="020B0604020202020204" pitchFamily="34" charset="0"/>
              </a:defRPr>
            </a:lvl1pPr>
          </a:lstStyle>
          <a:p>
            <a:r>
              <a:rPr lang="en-US"/>
              <a:t>Click to edit Master title style</a:t>
            </a:r>
          </a:p>
        </p:txBody>
      </p:sp>
      <p:sp>
        <p:nvSpPr>
          <p:cNvPr id="15" name="Content Placeholder 14">
            <a:extLst>
              <a:ext uri="{FF2B5EF4-FFF2-40B4-BE49-F238E27FC236}">
                <a16:creationId xmlns:a16="http://schemas.microsoft.com/office/drawing/2014/main" id="{5EE267CE-325C-462B-BBBE-BB1B3ABD1F8D}"/>
              </a:ext>
            </a:extLst>
          </p:cNvPr>
          <p:cNvSpPr>
            <a:spLocks noGrp="1"/>
          </p:cNvSpPr>
          <p:nvPr>
            <p:ph sz="quarter" idx="10" hasCustomPrompt="1"/>
          </p:nvPr>
        </p:nvSpPr>
        <p:spPr>
          <a:xfrm>
            <a:off x="250825" y="666073"/>
            <a:ext cx="9583200" cy="276999"/>
          </a:xfrm>
        </p:spPr>
        <p:txBody>
          <a:bodyPr wrap="square">
            <a:spAutoFit/>
          </a:bodyPr>
          <a:lstStyle>
            <a:lvl1pPr marL="0" indent="0">
              <a:buNone/>
              <a:defRPr sz="1800">
                <a:solidFill>
                  <a:schemeClr val="accent1"/>
                </a:solidFill>
                <a:latin typeface="+mn-lt"/>
                <a:cs typeface="Arial" panose="020B0604020202020204" pitchFamily="34" charset="0"/>
                <a:sym typeface="Arial" panose="020B0604020202020204" pitchFamily="34" charset="0"/>
              </a:defRPr>
            </a:lvl1pPr>
            <a:lvl2pPr marL="239712" indent="0">
              <a:buNone/>
              <a:defRPr sz="1800">
                <a:solidFill>
                  <a:schemeClr val="accent1"/>
                </a:solidFill>
              </a:defRPr>
            </a:lvl2pPr>
            <a:lvl3pPr marL="538163" indent="0">
              <a:buNone/>
              <a:defRPr sz="1800">
                <a:solidFill>
                  <a:schemeClr val="accent1"/>
                </a:solidFill>
              </a:defRPr>
            </a:lvl3pPr>
            <a:lvl4pPr marL="719138" indent="0">
              <a:buNone/>
              <a:defRPr sz="1800">
                <a:solidFill>
                  <a:schemeClr val="accent1"/>
                </a:solidFill>
              </a:defRPr>
            </a:lvl4pPr>
            <a:lvl5pPr marL="985837" indent="0">
              <a:buNone/>
              <a:defRPr sz="1800">
                <a:solidFill>
                  <a:schemeClr val="accent1"/>
                </a:solidFill>
              </a:defRPr>
            </a:lvl5pPr>
          </a:lstStyle>
          <a:p>
            <a:pPr lvl="0"/>
            <a:r>
              <a:rPr lang="en-GB"/>
              <a:t>Click to edit Master title style</a:t>
            </a:r>
          </a:p>
        </p:txBody>
      </p:sp>
      <p:sp>
        <p:nvSpPr>
          <p:cNvPr id="7" name="Slide Number Placeholder 5">
            <a:extLst>
              <a:ext uri="{FF2B5EF4-FFF2-40B4-BE49-F238E27FC236}">
                <a16:creationId xmlns:a16="http://schemas.microsoft.com/office/drawing/2014/main" id="{CBCFE06F-DD5B-B55B-1E6F-F2554A1DBA01}"/>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pic>
        <p:nvPicPr>
          <p:cNvPr id="5" name="ZRS Logo Horozontal">
            <a:extLst>
              <a:ext uri="{FF2B5EF4-FFF2-40B4-BE49-F238E27FC236}">
                <a16:creationId xmlns:a16="http://schemas.microsoft.com/office/drawing/2014/main" id="{F79FC48A-D7AA-C099-2064-4D84E52EF06E}"/>
              </a:ext>
            </a:extLst>
          </p:cNvPr>
          <p:cNvPicPr>
            <a:picLocks noChangeAspect="1"/>
          </p:cNvPicPr>
          <p:nvPr userDrawn="1"/>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34354563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47835D-75EC-A62D-9B61-8A2BCD111B16}"/>
              </a:ext>
            </a:extLst>
          </p:cNvPr>
          <p:cNvGraphicFramePr>
            <a:graphicFrameLocks noChangeAspect="1"/>
          </p:cNvGraphicFramePr>
          <p:nvPr userDrawn="1">
            <p:custDataLst>
              <p:tags r:id="rId1"/>
            </p:custDataLst>
            <p:extLst>
              <p:ext uri="{D42A27DB-BD31-4B8C-83A1-F6EECF244321}">
                <p14:modId xmlns:p14="http://schemas.microsoft.com/office/powerpoint/2010/main" val="1582984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0" progId="TCLayout.ActiveDocument.1">
                  <p:embed/>
                </p:oleObj>
              </mc:Choice>
              <mc:Fallback>
                <p:oleObj name="think-cell Folie" r:id="rId3" imgW="421" imgH="420" progId="TCLayout.ActiveDocument.1">
                  <p:embed/>
                  <p:pic>
                    <p:nvPicPr>
                      <p:cNvPr id="4" name="think-cell data - do not delete" hidden="1">
                        <a:extLst>
                          <a:ext uri="{FF2B5EF4-FFF2-40B4-BE49-F238E27FC236}">
                            <a16:creationId xmlns:a16="http://schemas.microsoft.com/office/drawing/2014/main" id="{3147835D-75EC-A62D-9B61-8A2BCD111B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9979B0B5-DCB0-844D-8724-1DB31C8A8C0B}"/>
              </a:ext>
            </a:extLst>
          </p:cNvPr>
          <p:cNvSpPr>
            <a:spLocks noGrp="1"/>
          </p:cNvSpPr>
          <p:nvPr>
            <p:ph type="title" hasCustomPrompt="1"/>
          </p:nvPr>
        </p:nvSpPr>
        <p:spPr>
          <a:xfrm>
            <a:off x="407988" y="260268"/>
            <a:ext cx="9418320" cy="332399"/>
          </a:xfrm>
        </p:spPr>
        <p:txBody>
          <a:bodyPr vert="horz">
            <a:spAutoFit/>
          </a:bodyPr>
          <a:lstStyle>
            <a:lvl1pPr>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28" name="Slide Number Placeholder 5">
            <a:extLst>
              <a:ext uri="{FF2B5EF4-FFF2-40B4-BE49-F238E27FC236}">
                <a16:creationId xmlns:a16="http://schemas.microsoft.com/office/drawing/2014/main" id="{54613BA4-3F37-477A-9F83-816FFC37569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sp>
        <p:nvSpPr>
          <p:cNvPr id="30" name="Footer Placeholder 3">
            <a:extLst>
              <a:ext uri="{FF2B5EF4-FFF2-40B4-BE49-F238E27FC236}">
                <a16:creationId xmlns:a16="http://schemas.microsoft.com/office/drawing/2014/main" id="{3866945B-F4D3-4972-8A47-C02C9E2AC957}"/>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endParaRPr lang="en-US"/>
          </a:p>
        </p:txBody>
      </p:sp>
    </p:spTree>
    <p:extLst>
      <p:ext uri="{BB962C8B-B14F-4D97-AF65-F5344CB8AC3E}">
        <p14:creationId xmlns:p14="http://schemas.microsoft.com/office/powerpoint/2010/main" val="32011133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B7CC5-E206-49B7-8DAB-D820D5041428}"/>
              </a:ext>
            </a:extLst>
          </p:cNvPr>
          <p:cNvSpPr>
            <a:spLocks noGrp="1"/>
          </p:cNvSpPr>
          <p:nvPr>
            <p:ph type="title"/>
          </p:nvPr>
        </p:nvSpPr>
        <p:spPr/>
        <p:txBody>
          <a:bodyPr/>
          <a:lstStyle>
            <a:lvl1pPr>
              <a:defRPr>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08C05DA1-1C27-4AC2-B3D2-7014C530987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3">
            <a:extLst>
              <a:ext uri="{FF2B5EF4-FFF2-40B4-BE49-F238E27FC236}">
                <a16:creationId xmlns:a16="http://schemas.microsoft.com/office/drawing/2014/main" id="{70325670-E080-31A6-FF91-D7B405CB586A}"/>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sym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CBE28F7E-29B6-2343-EC46-64D3F20C44EF}"/>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Tree>
    <p:extLst>
      <p:ext uri="{BB962C8B-B14F-4D97-AF65-F5344CB8AC3E}">
        <p14:creationId xmlns:p14="http://schemas.microsoft.com/office/powerpoint/2010/main" val="19512984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Disclaimer dark">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274890" y="6401514"/>
            <a:ext cx="6028129" cy="123111"/>
          </a:xfrm>
        </p:spPr>
        <p:txBody>
          <a:bodyPr vert="horz" wrap="square" lIns="0" tIns="0" rIns="0" bIns="0" rtlCol="0" anchor="b" anchorCtr="0">
            <a:spAutoFit/>
          </a:bodyPr>
          <a:lstStyle>
            <a:lvl1pPr>
              <a:defRPr lang="en-US" sz="800" dirty="0">
                <a:solidFill>
                  <a:schemeClr val="accent5"/>
                </a:solidFill>
                <a:latin typeface="+mn-lt"/>
                <a:ea typeface="+mn-ea"/>
              </a:defRPr>
            </a:lvl1pPr>
          </a:lstStyle>
          <a:p>
            <a:pPr marL="0" lvl="0" indent="0">
              <a:lnSpc>
                <a:spcPct val="100000"/>
              </a:lnSpc>
              <a:spcBef>
                <a:spcPts val="0"/>
              </a:spcBef>
              <a:spcAft>
                <a:spcPts val="600"/>
              </a:spcAft>
              <a:buFont typeface="Arial" panose="020B0604020202020204" pitchFamily="34" charset="0"/>
            </a:pPr>
            <a:r>
              <a:rPr lang="en-US"/>
              <a:t>Job number</a:t>
            </a:r>
          </a:p>
        </p:txBody>
      </p:sp>
      <p:sp>
        <p:nvSpPr>
          <p:cNvPr id="15" name="Picture Placeholder 2">
            <a:extLst>
              <a:ext uri="{FF2B5EF4-FFF2-40B4-BE49-F238E27FC236}">
                <a16:creationId xmlns:a16="http://schemas.microsoft.com/office/drawing/2014/main" id="{207E0EDD-CE7D-485D-90AA-EB92659F4C2E}"/>
              </a:ext>
            </a:extLst>
          </p:cNvPr>
          <p:cNvSpPr>
            <a:spLocks noGrp="1" noChangeAspect="1"/>
          </p:cNvSpPr>
          <p:nvPr>
            <p:ph type="pic" sz="quarter" idx="14" hasCustomPrompt="1"/>
          </p:nvPr>
        </p:nvSpPr>
        <p:spPr>
          <a:xfrm>
            <a:off x="9061251" y="1902437"/>
            <a:ext cx="3120000" cy="3120000"/>
          </a:xfrm>
          <a:prstGeom prst="ellipse">
            <a:avLst/>
          </a:prstGeom>
        </p:spPr>
        <p:txBody>
          <a:bodyPr/>
          <a:lstStyle>
            <a:lvl1pPr algn="ctr">
              <a:buNone/>
              <a:defRPr b="0" i="0">
                <a:solidFill>
                  <a:schemeClr val="accent6"/>
                </a:solidFill>
                <a:latin typeface="+mn-lt"/>
                <a:cs typeface="Arial" panose="020B0604020202020204" pitchFamily="34" charset="0"/>
              </a:defRPr>
            </a:lvl1pPr>
          </a:lstStyle>
          <a:p>
            <a:r>
              <a:rPr lang="en-GB"/>
              <a:t>Add a picture here</a:t>
            </a:r>
          </a:p>
        </p:txBody>
      </p:sp>
      <p:sp>
        <p:nvSpPr>
          <p:cNvPr id="16" name="Freeform 12">
            <a:extLst>
              <a:ext uri="{FF2B5EF4-FFF2-40B4-BE49-F238E27FC236}">
                <a16:creationId xmlns:a16="http://schemas.microsoft.com/office/drawing/2014/main" id="{CDD94F9F-17AF-4158-8273-144D6BB8BFBA}"/>
              </a:ext>
            </a:extLst>
          </p:cNvPr>
          <p:cNvSpPr/>
          <p:nvPr userDrawn="1"/>
        </p:nvSpPr>
        <p:spPr bwMode="auto">
          <a:xfrm rot="735038">
            <a:off x="9719774" y="4974386"/>
            <a:ext cx="933047" cy="469973"/>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7" name="Freeform 17">
            <a:extLst>
              <a:ext uri="{FF2B5EF4-FFF2-40B4-BE49-F238E27FC236}">
                <a16:creationId xmlns:a16="http://schemas.microsoft.com/office/drawing/2014/main" id="{03EA52F0-9F47-4C1A-A653-1F060850BB16}"/>
              </a:ext>
            </a:extLst>
          </p:cNvPr>
          <p:cNvSpPr/>
          <p:nvPr userDrawn="1"/>
        </p:nvSpPr>
        <p:spPr bwMode="auto">
          <a:xfrm rot="8315714" flipH="1">
            <a:off x="9180227" y="5547933"/>
            <a:ext cx="1677271" cy="86330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8" name="Oval 17">
            <a:extLst>
              <a:ext uri="{FF2B5EF4-FFF2-40B4-BE49-F238E27FC236}">
                <a16:creationId xmlns:a16="http://schemas.microsoft.com/office/drawing/2014/main" id="{6AED791D-1518-403F-BA5A-79F94E7CDCCB}"/>
              </a:ext>
            </a:extLst>
          </p:cNvPr>
          <p:cNvSpPr>
            <a:spLocks noChangeAspect="1"/>
          </p:cNvSpPr>
          <p:nvPr userDrawn="1"/>
        </p:nvSpPr>
        <p:spPr bwMode="auto">
          <a:xfrm rot="5400000">
            <a:off x="10403602" y="5983124"/>
            <a:ext cx="875301" cy="874456"/>
          </a:xfrm>
          <a:prstGeom prst="ellips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26" name="TextBox 25">
            <a:extLst>
              <a:ext uri="{FF2B5EF4-FFF2-40B4-BE49-F238E27FC236}">
                <a16:creationId xmlns:a16="http://schemas.microsoft.com/office/drawing/2014/main" id="{964649C4-0FE0-4E4D-B386-F39D40C28AE9}"/>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mn-lt"/>
                <a:cs typeface="Arial" panose="020B0604020202020204" pitchFamily="34" charset="0"/>
              </a:rPr>
              <a:t>© Zurich</a:t>
            </a:r>
          </a:p>
        </p:txBody>
      </p:sp>
      <p:pic>
        <p:nvPicPr>
          <p:cNvPr id="11" name="ZRS Logo Horozontal">
            <a:extLst>
              <a:ext uri="{FF2B5EF4-FFF2-40B4-BE49-F238E27FC236}">
                <a16:creationId xmlns:a16="http://schemas.microsoft.com/office/drawing/2014/main" id="{D2B33BE5-EB34-483C-92C0-DCBF73E42AA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016" y="325479"/>
            <a:ext cx="1501200" cy="498456"/>
          </a:xfrm>
          <a:prstGeom prst="rect">
            <a:avLst/>
          </a:prstGeom>
        </p:spPr>
      </p:pic>
      <p:sp>
        <p:nvSpPr>
          <p:cNvPr id="12" name="Disclaimer">
            <a:extLst>
              <a:ext uri="{FF2B5EF4-FFF2-40B4-BE49-F238E27FC236}">
                <a16:creationId xmlns:a16="http://schemas.microsoft.com/office/drawing/2014/main" id="{5B406369-73D2-47B4-9695-1A05225AED50}"/>
              </a:ext>
            </a:extLst>
          </p:cNvPr>
          <p:cNvSpPr txBox="1">
            <a:spLocks/>
          </p:cNvSpPr>
          <p:nvPr userDrawn="1"/>
        </p:nvSpPr>
        <p:spPr>
          <a:xfrm>
            <a:off x="274889" y="1117411"/>
            <a:ext cx="6028130" cy="5078313"/>
          </a:xfrm>
          <a:prstGeom prst="rect">
            <a:avLst/>
          </a:prstGeom>
        </p:spPr>
        <p:txBody>
          <a:bodyPr vert="horz" wrap="square" lIns="0" tIns="0" rIns="0" bIns="0" rtlCol="0" anchor="b" anchorCtr="0">
            <a:spAutoFit/>
          </a:bodyPr>
          <a:lstStyle>
            <a:lvl1pPr marL="268288" indent="-268288" algn="l" defTabSz="914377" rtl="0" eaLnBrk="1" latinLnBrk="0" hangingPunct="1">
              <a:lnSpc>
                <a:spcPct val="100000"/>
              </a:lnSpc>
              <a:spcBef>
                <a:spcPts val="0"/>
              </a:spcBef>
              <a:spcAft>
                <a:spcPts val="600"/>
              </a:spcAft>
              <a:buFont typeface="Arial" panose="020B0604020202020204" pitchFamily="34" charset="0"/>
              <a:buChar char="•"/>
              <a:defRPr sz="1800" kern="1200">
                <a:solidFill>
                  <a:schemeClr val="accent5"/>
                </a:solidFill>
                <a:latin typeface="+mn-lt"/>
                <a:ea typeface="+mn-ea"/>
                <a:cs typeface="Arial" panose="020B0604020202020204" pitchFamily="34" charset="0"/>
              </a:defRPr>
            </a:lvl1pPr>
            <a:lvl2pPr marL="447675" indent="-207963" algn="l" defTabSz="914377"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Arial" panose="020B0604020202020204" pitchFamily="34" charset="0"/>
              </a:defRPr>
            </a:lvl2pPr>
            <a:lvl3pPr marL="719138" indent="-180975" algn="l" defTabSz="914377"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Arial" panose="020B0604020202020204" pitchFamily="34" charset="0"/>
              </a:defRPr>
            </a:lvl3pPr>
            <a:lvl4pPr marL="896938" indent="-177800"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4pPr>
            <a:lvl5pPr marL="1165225" indent="-179388"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000"/>
              <a:t>This is a general description of (insurance) services such as risk engineering or risk management services by Zurich Resilience Solutions, which is part of the Commercial Insurance business of Zurich Insurance Group, and does not represent or alter any insurance policy or service agreement. Such (insurance) services are provided to qualified customers by affiliated companies of Zurich Insurance Company Ltd, including but not limited to: Zurich American Insurance Company, 1299 Zurich Way, Schaumburg, IL 60196, USA; The Zurich Services Corporation, 1299 Zurich Way, Schaumburg, IL 60196, USA; Zurich Insurance plc, Zurich House, Ballsbridge Park, Dublin 4, Ireland; Zurich Commercial Services (Europe) GmbH, Platz der Einheit, 2, 60327 Germany; Zurich Management Services Limited, The Zurich Centre, 3000b Parkway, </a:t>
            </a:r>
            <a:r>
              <a:rPr lang="en-US" sz="1000" err="1"/>
              <a:t>Whiteley</a:t>
            </a:r>
            <a:r>
              <a:rPr lang="en-US" sz="1000"/>
              <a:t>, </a:t>
            </a:r>
            <a:r>
              <a:rPr lang="en-US" sz="1000" err="1"/>
              <a:t>Fareham</a:t>
            </a:r>
            <a:r>
              <a:rPr lang="en-US" sz="1000"/>
              <a:t>, Hampshire, PO15 7JZ, UK; Zurich Insurance Company Ltd, </a:t>
            </a:r>
            <a:r>
              <a:rPr lang="en-US" sz="1000" err="1"/>
              <a:t>Mythenquai</a:t>
            </a:r>
            <a:r>
              <a:rPr lang="en-US" sz="1000"/>
              <a:t> 2, 8002 Zurich, Switzerland; Zurich Australian Insurance Limited, ABN 13 000 296 640, Australia.</a:t>
            </a:r>
          </a:p>
          <a:p>
            <a:pPr marL="0" indent="0">
              <a:buFont typeface="Arial" panose="020B0604020202020204" pitchFamily="34" charset="0"/>
              <a:buNone/>
            </a:pPr>
            <a:r>
              <a:rPr lang="en-US" sz="1000"/>
              <a:t>The opinions expressed herein are those of Zurich Resilience Solutions as of the date of the release and </a:t>
            </a:r>
            <a:br>
              <a:rPr lang="en-US" sz="1000"/>
            </a:br>
            <a:r>
              <a:rPr lang="en-US" sz="1000"/>
              <a:t>are subject to change without notice. This document has been produced solely for informational purposes. All information contained in this document has been compiled and obtained from sources believed to be reliable and credible, but no representation or warranty, express or implied, is made by Zurich Insurance Company Ltd or any of its affiliated companies (Zurich Insurance Group) as to their accuracy or completeness. This document is not intended to be legal, underwriting, financial, investment, or any other type of professional advice. Zurich Insurance Group disclaims any and all liability whatsoever resulting from the use of or reliance upon this document. Nothing express or implied in this document is intended to create legal relations between the reader and any member of Zurich Insurance Group.</a:t>
            </a:r>
          </a:p>
          <a:p>
            <a:pPr marL="0" indent="0">
              <a:buFont typeface="Arial" panose="020B0604020202020204" pitchFamily="34" charset="0"/>
              <a:buNone/>
            </a:pPr>
            <a:r>
              <a:rPr lang="en-US" sz="1000"/>
              <a:t>Certain statements in this document are forward-looking statements, including, but not limited to, statements that are predictions of or indicate future events, trends, plans, developments or objectives. Undue reliance should not be placed on such statements because, by their nature, they are subject to known and unknown risks and uncertainties, and can be affected by numerous unforeseeable factors. The subject matter of this document is also not tied to any specific service offering or an insurance product, nor will it ensure coverage under any insurance policy.</a:t>
            </a:r>
          </a:p>
          <a:p>
            <a:pPr marL="0" indent="0">
              <a:buFont typeface="Arial" panose="020B0604020202020204" pitchFamily="34" charset="0"/>
              <a:buNone/>
            </a:pPr>
            <a:r>
              <a:rPr lang="en-US" sz="1000"/>
              <a:t>This document may not be distributed or reproduced, either in whole or in part, without prior written permission of Zurich Insurance Company Ltd, </a:t>
            </a:r>
            <a:r>
              <a:rPr lang="en-US" sz="1000" err="1"/>
              <a:t>Mythenquai</a:t>
            </a:r>
            <a:r>
              <a:rPr lang="en-US" sz="1000"/>
              <a:t> 2, 8002 Zurich, Switzerland. No member of Zurich Insurance Group accepts any liability for any loss arising from the use or distribution of this document. This document does not constitute an offer or an invitation for the sale or purchase of securities in any jurisdiction. </a:t>
            </a:r>
          </a:p>
          <a:p>
            <a:pPr marL="0" indent="0">
              <a:buFont typeface="Arial" panose="020B0604020202020204" pitchFamily="34" charset="0"/>
              <a:buNone/>
            </a:pPr>
            <a:r>
              <a:rPr lang="en-US" sz="1000">
                <a:latin typeface="+mj-lt"/>
              </a:rPr>
              <a:t>Zurich Resilience Solutions </a:t>
            </a:r>
          </a:p>
        </p:txBody>
      </p:sp>
    </p:spTree>
    <p:extLst>
      <p:ext uri="{BB962C8B-B14F-4D97-AF65-F5344CB8AC3E}">
        <p14:creationId xmlns:p14="http://schemas.microsoft.com/office/powerpoint/2010/main" val="14423354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cSld name="5_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434" y="3735917"/>
            <a:ext cx="4842935" cy="1362075"/>
          </a:xfrm>
          <a:prstGeom prst="rect">
            <a:avLst/>
          </a:prstGeom>
        </p:spPr>
        <p:txBody>
          <a:bodyPr anchor="t" anchorCtr="0">
            <a:normAutofit/>
          </a:bodyPr>
          <a:lstStyle>
            <a:lvl1pPr algn="l">
              <a:defRPr sz="1867" b="0" i="0" cap="none" baseline="0">
                <a:solidFill>
                  <a:schemeClr val="accent6"/>
                </a:solidFill>
                <a:latin typeface="Arial" panose="020B0604020202020204" pitchFamily="34" charset="0"/>
                <a:cs typeface="Arial" panose="020B0604020202020204" pitchFamily="34" charset="0"/>
              </a:defRPr>
            </a:lvl1pPr>
          </a:lstStyle>
          <a:p>
            <a:r>
              <a:rPr lang="en-GB" noProof="0"/>
              <a:t>Section subtitle</a:t>
            </a:r>
          </a:p>
        </p:txBody>
      </p:sp>
      <p:sp>
        <p:nvSpPr>
          <p:cNvPr id="3" name="Text Placeholder 2"/>
          <p:cNvSpPr>
            <a:spLocks noGrp="1"/>
          </p:cNvSpPr>
          <p:nvPr>
            <p:ph type="body" idx="1" hasCustomPrompt="1"/>
          </p:nvPr>
        </p:nvSpPr>
        <p:spPr>
          <a:xfrm>
            <a:off x="334434" y="2115075"/>
            <a:ext cx="4842933" cy="1265243"/>
          </a:xfrm>
          <a:prstGeom prst="rect">
            <a:avLst/>
          </a:prstGeom>
        </p:spPr>
        <p:txBody>
          <a:bodyPr anchor="b">
            <a:normAutofit/>
          </a:bodyPr>
          <a:lstStyle>
            <a:lvl1pPr marL="0" indent="0">
              <a:buNone/>
              <a:defRPr lang="en-GB" sz="3200" b="0" i="0" cap="none" baseline="0" dirty="0">
                <a:solidFill>
                  <a:schemeClr val="accent6"/>
                </a:solidFill>
                <a:latin typeface="Arial" panose="020B0604020202020204" pitchFamily="34" charset="0"/>
                <a:ea typeface="+mj-ea"/>
                <a:cs typeface="Arial" panose="020B0604020202020204" pitchFamily="34" charset="0"/>
              </a:defRPr>
            </a:lvl1pPr>
            <a:lvl2pPr marL="457127" indent="0">
              <a:buNone/>
              <a:defRPr sz="1800"/>
            </a:lvl2pPr>
            <a:lvl3pPr marL="914256" indent="0">
              <a:buNone/>
              <a:defRPr sz="1600"/>
            </a:lvl3pPr>
            <a:lvl4pPr marL="1371383" indent="0">
              <a:buNone/>
              <a:defRPr sz="1400"/>
            </a:lvl4pPr>
            <a:lvl5pPr marL="1828510" indent="0">
              <a:buNone/>
              <a:defRPr sz="1400"/>
            </a:lvl5pPr>
            <a:lvl6pPr marL="2285638" indent="0">
              <a:buNone/>
              <a:defRPr sz="1400"/>
            </a:lvl6pPr>
            <a:lvl7pPr marL="2742766" indent="0">
              <a:buNone/>
              <a:defRPr sz="1400"/>
            </a:lvl7pPr>
            <a:lvl8pPr marL="3199893" indent="0">
              <a:buNone/>
              <a:defRPr sz="1400"/>
            </a:lvl8pPr>
            <a:lvl9pPr marL="3657021" indent="0">
              <a:buNone/>
              <a:defRPr sz="1400"/>
            </a:lvl9pPr>
          </a:lstStyle>
          <a:p>
            <a:pPr lvl="0"/>
            <a:r>
              <a:rPr lang="en-GB"/>
              <a:t>Section title</a:t>
            </a:r>
          </a:p>
        </p:txBody>
      </p:sp>
      <p:pic>
        <p:nvPicPr>
          <p:cNvPr id="5" name="ZRS Logo Horozontal">
            <a:extLst>
              <a:ext uri="{FF2B5EF4-FFF2-40B4-BE49-F238E27FC236}">
                <a16:creationId xmlns:a16="http://schemas.microsoft.com/office/drawing/2014/main" id="{50D1F9F5-2829-49F8-9F1F-1C84FEE9FC6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52365" y="300473"/>
            <a:ext cx="1458508" cy="484281"/>
          </a:xfrm>
          <a:prstGeom prst="rect">
            <a:avLst/>
          </a:prstGeom>
        </p:spPr>
      </p:pic>
    </p:spTree>
    <p:extLst>
      <p:ext uri="{BB962C8B-B14F-4D97-AF65-F5344CB8AC3E}">
        <p14:creationId xmlns:p14="http://schemas.microsoft.com/office/powerpoint/2010/main" val="940969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1406EC-9BFF-3460-49A6-84F969C645E2}"/>
              </a:ext>
            </a:extLst>
          </p:cNvPr>
          <p:cNvGraphicFramePr>
            <a:graphicFrameLocks noChangeAspect="1"/>
          </p:cNvGraphicFramePr>
          <p:nvPr userDrawn="1">
            <p:custDataLst>
              <p:tags r:id="rId1"/>
            </p:custDataLst>
            <p:extLst>
              <p:ext uri="{D42A27DB-BD31-4B8C-83A1-F6EECF244321}">
                <p14:modId xmlns:p14="http://schemas.microsoft.com/office/powerpoint/2010/main" val="22294013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2F1406EC-9BFF-3460-49A6-84F969C645E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251999" y="1198800"/>
            <a:ext cx="11678400" cy="5040000"/>
          </a:xfrm>
        </p:spPr>
        <p:txBody>
          <a:bodyPr/>
          <a:lstStyle>
            <a:lvl1pPr>
              <a:defRPr sz="1800">
                <a:latin typeface="Arial" panose="020B0604020202020204" pitchFamily="34" charset="0"/>
                <a:cs typeface="Arial" panose="020B0604020202020204" pitchFamily="34" charset="0"/>
                <a:sym typeface="Arial" panose="020B0604020202020204" pitchFamily="34" charset="0"/>
              </a:defRPr>
            </a:lvl1pPr>
            <a:lvl2pPr>
              <a:defRPr sz="1600">
                <a:latin typeface="Arial" panose="020B0604020202020204" pitchFamily="34" charset="0"/>
                <a:cs typeface="Arial" panose="020B0604020202020204" pitchFamily="34" charset="0"/>
                <a:sym typeface="Arial" panose="020B0604020202020204" pitchFamily="34" charset="0"/>
              </a:defRPr>
            </a:lvl2pPr>
            <a:lvl3pPr>
              <a:defRPr sz="1400">
                <a:latin typeface="Arial" panose="020B0604020202020204" pitchFamily="34" charset="0"/>
                <a:cs typeface="Arial" panose="020B0604020202020204" pitchFamily="34" charset="0"/>
                <a:sym typeface="Arial" panose="020B0604020202020204" pitchFamily="34" charset="0"/>
              </a:defRPr>
            </a:lvl3pPr>
            <a:lvl4pPr>
              <a:defRPr sz="1200">
                <a:latin typeface="Arial" panose="020B0604020202020204" pitchFamily="34" charset="0"/>
                <a:cs typeface="Arial" panose="020B0604020202020204" pitchFamily="34" charset="0"/>
                <a:sym typeface="Arial" panose="020B0604020202020204" pitchFamily="34" charset="0"/>
              </a:defRPr>
            </a:lvl4pPr>
            <a:lvl5pPr>
              <a:defRPr sz="1200">
                <a:latin typeface="Arial" panose="020B0604020202020204" pitchFamily="34" charset="0"/>
                <a:cs typeface="Arial" panose="020B0604020202020204" pitchFamily="34" charset="0"/>
                <a:sym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8" name="Slide Number Placeholder 5">
            <a:extLst>
              <a:ext uri="{FF2B5EF4-FFF2-40B4-BE49-F238E27FC236}">
                <a16:creationId xmlns:a16="http://schemas.microsoft.com/office/drawing/2014/main" id="{9DEE29F2-F280-4686-A9A8-3959443731C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fld id="{FA58F0B4-6BC7-4BFB-804F-EE9B892902C7}" type="slidenum">
              <a:rPr lang="en-US" smtClean="0"/>
              <a:pPr/>
              <a:t>‹nr.›</a:t>
            </a:fld>
            <a:endParaRPr lang="en-US"/>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endParaRPr lang="en-US"/>
          </a:p>
        </p:txBody>
      </p:sp>
      <p:sp>
        <p:nvSpPr>
          <p:cNvPr id="6" name="Title Placeholder 1">
            <a:extLst>
              <a:ext uri="{FF2B5EF4-FFF2-40B4-BE49-F238E27FC236}">
                <a16:creationId xmlns:a16="http://schemas.microsoft.com/office/drawing/2014/main" id="{18E30B75-9CF0-0775-B941-FE7D212DB476}"/>
              </a:ext>
            </a:extLst>
          </p:cNvPr>
          <p:cNvSpPr>
            <a:spLocks noGrp="1"/>
          </p:cNvSpPr>
          <p:nvPr>
            <p:ph type="title"/>
          </p:nvPr>
        </p:nvSpPr>
        <p:spPr>
          <a:xfrm>
            <a:off x="250826" y="249926"/>
            <a:ext cx="9583200" cy="360099"/>
          </a:xfrm>
          <a:prstGeom prst="rect">
            <a:avLst/>
          </a:prstGeom>
        </p:spPr>
        <p:txBody>
          <a:bodyPr vert="horz" lIns="0" tIns="0" rIns="0" bIns="0" rtlCol="0" anchor="t" anchorCtr="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a:t>Mastertitelformat bearbeiten</a:t>
            </a:r>
            <a:endParaRPr lang="en-US"/>
          </a:p>
        </p:txBody>
      </p:sp>
      <p:sp>
        <p:nvSpPr>
          <p:cNvPr id="15" name="Content Placeholder 14">
            <a:extLst>
              <a:ext uri="{FF2B5EF4-FFF2-40B4-BE49-F238E27FC236}">
                <a16:creationId xmlns:a16="http://schemas.microsoft.com/office/drawing/2014/main" id="{5EE267CE-325C-462B-BBBE-BB1B3ABD1F8D}"/>
              </a:ext>
            </a:extLst>
          </p:cNvPr>
          <p:cNvSpPr>
            <a:spLocks noGrp="1"/>
          </p:cNvSpPr>
          <p:nvPr>
            <p:ph sz="quarter" idx="10" hasCustomPrompt="1"/>
          </p:nvPr>
        </p:nvSpPr>
        <p:spPr>
          <a:xfrm>
            <a:off x="250825" y="666073"/>
            <a:ext cx="9583200" cy="276999"/>
          </a:xfrm>
        </p:spPr>
        <p:txBody>
          <a:bodyPr wrap="square">
            <a:spAutoFit/>
          </a:bodyPr>
          <a:lstStyle>
            <a:lvl1pPr marL="0" indent="0">
              <a:buNone/>
              <a:defRPr sz="1800">
                <a:solidFill>
                  <a:schemeClr val="accent1"/>
                </a:solidFill>
                <a:latin typeface="Arial" panose="020B0604020202020204" pitchFamily="34" charset="0"/>
                <a:cs typeface="Arial" panose="020B0604020202020204" pitchFamily="34" charset="0"/>
                <a:sym typeface="Arial" panose="020B0604020202020204" pitchFamily="34" charset="0"/>
              </a:defRPr>
            </a:lvl1pPr>
            <a:lvl2pPr marL="239712" indent="0">
              <a:buNone/>
              <a:defRPr sz="1800">
                <a:solidFill>
                  <a:schemeClr val="accent1"/>
                </a:solidFill>
              </a:defRPr>
            </a:lvl2pPr>
            <a:lvl3pPr marL="538163" indent="0">
              <a:buNone/>
              <a:defRPr sz="1800">
                <a:solidFill>
                  <a:schemeClr val="accent1"/>
                </a:solidFill>
              </a:defRPr>
            </a:lvl3pPr>
            <a:lvl4pPr marL="719138" indent="0">
              <a:buNone/>
              <a:defRPr sz="1800">
                <a:solidFill>
                  <a:schemeClr val="accent1"/>
                </a:solidFill>
              </a:defRPr>
            </a:lvl4pPr>
            <a:lvl5pPr marL="985837" indent="0">
              <a:buNone/>
              <a:defRPr sz="1800">
                <a:solidFill>
                  <a:schemeClr val="accent1"/>
                </a:solidFill>
              </a:defRPr>
            </a:lvl5pPr>
          </a:lstStyle>
          <a:p>
            <a:pPr lvl="0"/>
            <a:r>
              <a:rPr lang="en-GB"/>
              <a:t>Click to edit Master title style</a:t>
            </a:r>
          </a:p>
        </p:txBody>
      </p:sp>
    </p:spTree>
    <p:extLst>
      <p:ext uri="{BB962C8B-B14F-4D97-AF65-F5344CB8AC3E}">
        <p14:creationId xmlns:p14="http://schemas.microsoft.com/office/powerpoint/2010/main" val="7293037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2 text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4C0D27-889B-3151-6ECA-B7B1AF6D6458}"/>
              </a:ext>
            </a:extLst>
          </p:cNvPr>
          <p:cNvGraphicFramePr>
            <a:graphicFrameLocks noChangeAspect="1"/>
          </p:cNvGraphicFramePr>
          <p:nvPr userDrawn="1">
            <p:custDataLst>
              <p:tags r:id="rId1"/>
            </p:custDataLst>
            <p:extLst>
              <p:ext uri="{D42A27DB-BD31-4B8C-83A1-F6EECF244321}">
                <p14:modId xmlns:p14="http://schemas.microsoft.com/office/powerpoint/2010/main" val="40743865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B04C0D27-889B-3151-6ECA-B7B1AF6D645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252000" y="1198800"/>
            <a:ext cx="5647150" cy="5040145"/>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Content Placeholder 2">
            <a:extLst>
              <a:ext uri="{FF2B5EF4-FFF2-40B4-BE49-F238E27FC236}">
                <a16:creationId xmlns:a16="http://schemas.microsoft.com/office/drawing/2014/main" id="{DD38D433-C715-4635-977C-8E54E7555A08}"/>
              </a:ext>
            </a:extLst>
          </p:cNvPr>
          <p:cNvSpPr>
            <a:spLocks noGrp="1"/>
          </p:cNvSpPr>
          <p:nvPr>
            <p:ph idx="13"/>
          </p:nvPr>
        </p:nvSpPr>
        <p:spPr>
          <a:xfrm>
            <a:off x="6280731" y="1198800"/>
            <a:ext cx="5652000" cy="5040145"/>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2" name="Slide Number Placeholder 5">
            <a:extLst>
              <a:ext uri="{FF2B5EF4-FFF2-40B4-BE49-F238E27FC236}">
                <a16:creationId xmlns:a16="http://schemas.microsoft.com/office/drawing/2014/main" id="{7778DC4A-6DD8-4810-A49B-89B671171FAE}"/>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B66B4EB9-2868-4BA8-BD4D-16B8E7A16DF5}"/>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2" name="Title Placeholder 1">
            <a:extLst>
              <a:ext uri="{FF2B5EF4-FFF2-40B4-BE49-F238E27FC236}">
                <a16:creationId xmlns:a16="http://schemas.microsoft.com/office/drawing/2014/main" id="{C14EA731-2898-D962-FAA6-B0737584A2F4}"/>
              </a:ext>
            </a:extLst>
          </p:cNvPr>
          <p:cNvSpPr>
            <a:spLocks noGrp="1"/>
          </p:cNvSpPr>
          <p:nvPr>
            <p:ph type="title"/>
          </p:nvPr>
        </p:nvSpPr>
        <p:spPr>
          <a:xfrm>
            <a:off x="250826" y="249926"/>
            <a:ext cx="8996541" cy="360099"/>
          </a:xfrm>
          <a:prstGeom prst="rect">
            <a:avLst/>
          </a:prstGeom>
        </p:spPr>
        <p:txBody>
          <a:bodyPr vert="horz" wrap="square" lIns="0" tIns="0" rIns="0" bIns="0" rtlCol="0" anchor="t" anchorCtr="0">
            <a:spAutoFit/>
          </a:bodyPr>
          <a:lstStyle/>
          <a:p>
            <a:r>
              <a:rPr lang="de-DE"/>
              <a:t>Mastertitelformat bearbeiten</a:t>
            </a:r>
            <a:endParaRPr lang="en-US"/>
          </a:p>
        </p:txBody>
      </p:sp>
      <p:sp>
        <p:nvSpPr>
          <p:cNvPr id="8" name="Content Placeholder 14">
            <a:extLst>
              <a:ext uri="{FF2B5EF4-FFF2-40B4-BE49-F238E27FC236}">
                <a16:creationId xmlns:a16="http://schemas.microsoft.com/office/drawing/2014/main" id="{45C87A36-AF1D-5E17-86AD-9CDBE1DEDA7A}"/>
              </a:ext>
            </a:extLst>
          </p:cNvPr>
          <p:cNvSpPr>
            <a:spLocks noGrp="1"/>
          </p:cNvSpPr>
          <p:nvPr>
            <p:ph sz="quarter" idx="10" hasCustomPrompt="1"/>
          </p:nvPr>
        </p:nvSpPr>
        <p:spPr>
          <a:xfrm>
            <a:off x="250825" y="666073"/>
            <a:ext cx="8996541" cy="276999"/>
          </a:xfrm>
        </p:spPr>
        <p:txBody>
          <a:bodyPr wrap="square">
            <a:spAutoFit/>
          </a:bodyPr>
          <a:lstStyle>
            <a:lvl1pPr marL="0" indent="0">
              <a:buNone/>
              <a:defRPr sz="1800">
                <a:solidFill>
                  <a:schemeClr val="accent1"/>
                </a:solidFill>
              </a:defRPr>
            </a:lvl1pPr>
            <a:lvl2pPr marL="239712" indent="0">
              <a:buNone/>
              <a:defRPr sz="1800">
                <a:solidFill>
                  <a:schemeClr val="accent1"/>
                </a:solidFill>
              </a:defRPr>
            </a:lvl2pPr>
            <a:lvl3pPr marL="538163" indent="0">
              <a:buNone/>
              <a:defRPr sz="1800">
                <a:solidFill>
                  <a:schemeClr val="accent1"/>
                </a:solidFill>
              </a:defRPr>
            </a:lvl3pPr>
            <a:lvl4pPr marL="719138" indent="0">
              <a:buNone/>
              <a:defRPr sz="1800">
                <a:solidFill>
                  <a:schemeClr val="accent1"/>
                </a:solidFill>
              </a:defRPr>
            </a:lvl4pPr>
            <a:lvl5pPr marL="985837" indent="0">
              <a:buNone/>
              <a:defRPr sz="1800">
                <a:solidFill>
                  <a:schemeClr val="accent1"/>
                </a:solidFill>
              </a:defRPr>
            </a:lvl5pPr>
          </a:lstStyle>
          <a:p>
            <a:pPr lvl="0"/>
            <a:r>
              <a:rPr lang="en-GB"/>
              <a:t>Click to edit Master subtitle style</a:t>
            </a:r>
          </a:p>
        </p:txBody>
      </p:sp>
    </p:spTree>
    <p:extLst>
      <p:ext uri="{BB962C8B-B14F-4D97-AF65-F5344CB8AC3E}">
        <p14:creationId xmlns:p14="http://schemas.microsoft.com/office/powerpoint/2010/main" val="8652828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CD126C0-9229-A1A7-A6E3-5CC5C98B6907}"/>
              </a:ext>
            </a:extLst>
          </p:cNvPr>
          <p:cNvGraphicFramePr>
            <a:graphicFrameLocks noChangeAspect="1"/>
          </p:cNvGraphicFramePr>
          <p:nvPr userDrawn="1">
            <p:custDataLst>
              <p:tags r:id="rId1"/>
            </p:custDataLst>
            <p:extLst>
              <p:ext uri="{D42A27DB-BD31-4B8C-83A1-F6EECF244321}">
                <p14:modId xmlns:p14="http://schemas.microsoft.com/office/powerpoint/2010/main" val="2030782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2CD126C0-9229-A1A7-A6E3-5CC5C98B69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334800" y="1205995"/>
            <a:ext cx="11503102" cy="5031294"/>
          </a:xfrm>
        </p:spPr>
        <p:txBody>
          <a:bodyPr/>
          <a:lstStyle>
            <a:lvl1pPr rtl="0">
              <a:defRPr sz="1800">
                <a:latin typeface="+mn-lt"/>
                <a:cs typeface="Arial" panose="020B0604020202020204" pitchFamily="34" charset="0"/>
              </a:defRPr>
            </a:lvl1pPr>
            <a:lvl2pPr rtl="0">
              <a:defRPr sz="1600">
                <a:latin typeface="+mn-lt"/>
                <a:cs typeface="Arial" panose="020B0604020202020204" pitchFamily="34" charset="0"/>
              </a:defRPr>
            </a:lvl2pPr>
            <a:lvl3pPr rtl="0">
              <a:defRPr sz="1400">
                <a:latin typeface="+mn-lt"/>
                <a:cs typeface="Arial" panose="020B0604020202020204" pitchFamily="34" charset="0"/>
              </a:defRPr>
            </a:lvl3pPr>
            <a:lvl4pPr rtl="0">
              <a:defRPr sz="1200">
                <a:latin typeface="+mn-lt"/>
                <a:cs typeface="Arial" panose="020B0604020202020204" pitchFamily="34" charset="0"/>
              </a:defRPr>
            </a:lvl4pPr>
            <a:lvl5pPr rtl="0">
              <a:defRPr sz="1200">
                <a:latin typeface="+mn-lt"/>
                <a:cs typeface="Arial" panose="020B0604020202020204" pitchFamily="34" charset="0"/>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21" name="Title 1">
            <a:extLst>
              <a:ext uri="{FF2B5EF4-FFF2-40B4-BE49-F238E27FC236}">
                <a16:creationId xmlns:a16="http://schemas.microsoft.com/office/drawing/2014/main" id="{29FBF581-E754-574B-A309-6F2FB382E481}"/>
              </a:ext>
            </a:extLst>
          </p:cNvPr>
          <p:cNvSpPr>
            <a:spLocks noGrp="1"/>
          </p:cNvSpPr>
          <p:nvPr>
            <p:ph type="title" hasCustomPrompt="1"/>
          </p:nvPr>
        </p:nvSpPr>
        <p:spPr>
          <a:xfrm>
            <a:off x="334800" y="260268"/>
            <a:ext cx="9485137" cy="332399"/>
          </a:xfrm>
        </p:spPr>
        <p:txBody>
          <a:bodyPr vert="horz" wrap="square">
            <a:spAutoFit/>
          </a:bodyPr>
          <a:lstStyle>
            <a:lvl1pPr rtl="0">
              <a:defRPr>
                <a:latin typeface="+mj-lt"/>
                <a:cs typeface="Arial" panose="020B0604020202020204" pitchFamily="34" charset="0"/>
              </a:defRPr>
            </a:lvl1pPr>
          </a:lstStyle>
          <a:p>
            <a:r>
              <a:rPr lang="de-DE"/>
              <a:t>Click to edit Master title style</a:t>
            </a:r>
          </a:p>
        </p:txBody>
      </p:sp>
      <p:sp>
        <p:nvSpPr>
          <p:cNvPr id="22" name="Subtitle 2">
            <a:extLst>
              <a:ext uri="{FF2B5EF4-FFF2-40B4-BE49-F238E27FC236}">
                <a16:creationId xmlns:a16="http://schemas.microsoft.com/office/drawing/2014/main" id="{60580A64-4AC1-D547-A7C8-FF2A5434D2C5}"/>
              </a:ext>
            </a:extLst>
          </p:cNvPr>
          <p:cNvSpPr>
            <a:spLocks noGrp="1"/>
          </p:cNvSpPr>
          <p:nvPr>
            <p:ph type="subTitle" idx="13" hasCustomPrompt="1"/>
          </p:nvPr>
        </p:nvSpPr>
        <p:spPr>
          <a:xfrm>
            <a:off x="334800" y="610597"/>
            <a:ext cx="9485137" cy="332399"/>
          </a:xfrm>
          <a:prstGeom prst="rect">
            <a:avLst/>
          </a:prstGeom>
        </p:spPr>
        <p:txBody>
          <a:bodyPr anchor="t">
            <a:normAutofit/>
          </a:bodyPr>
          <a:lstStyle>
            <a:lvl1pPr marL="0" indent="0" algn="l" rtl="0">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Click to edit Master subtitle style</a:t>
            </a:r>
            <a:endParaRPr lang="de-DE" noProof="0"/>
          </a:p>
        </p:txBody>
      </p:sp>
      <p:sp>
        <p:nvSpPr>
          <p:cNvPr id="18" name="Slide Number Placeholder 5">
            <a:extLst>
              <a:ext uri="{FF2B5EF4-FFF2-40B4-BE49-F238E27FC236}">
                <a16:creationId xmlns:a16="http://schemas.microsoft.com/office/drawing/2014/main" id="{9DEE29F2-F280-4686-A9A8-3959443731C7}"/>
              </a:ext>
            </a:extLst>
          </p:cNvPr>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31715"/>
            <a:ext cx="8112000" cy="181960"/>
          </a:xfrm>
          <a:prstGeom prst="rect">
            <a:avLst/>
          </a:prstGeom>
        </p:spPr>
        <p:txBody>
          <a:bodyPr lIns="0" tIns="0" rIns="0" bIns="0"/>
          <a:lstStyle>
            <a:lvl1pPr algn="r" rtl="0">
              <a:defRPr sz="900">
                <a:solidFill>
                  <a:schemeClr val="accent1"/>
                </a:solidFill>
                <a:latin typeface="+mn-lt"/>
                <a:cs typeface="Arial" panose="020B0604020202020204" pitchFamily="34" charset="0"/>
              </a:defRPr>
            </a:lvl1pPr>
          </a:lstStyle>
          <a:p>
            <a:endParaRPr lang="de-DE"/>
          </a:p>
        </p:txBody>
      </p:sp>
    </p:spTree>
    <p:extLst>
      <p:ext uri="{BB962C8B-B14F-4D97-AF65-F5344CB8AC3E}">
        <p14:creationId xmlns:p14="http://schemas.microsoft.com/office/powerpoint/2010/main" val="27672498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_Dark">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65426" y="1103215"/>
            <a:ext cx="6722148" cy="2242079"/>
          </a:xfrm>
        </p:spPr>
        <p:txBody>
          <a:bodyPr anchor="b">
            <a:normAutofit/>
          </a:bodyPr>
          <a:lstStyle>
            <a:lvl1pPr algn="l">
              <a:defRPr sz="3600">
                <a:solidFill>
                  <a:schemeClr val="accent6"/>
                </a:solidFill>
                <a:latin typeface="+mj-lt"/>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65426" y="3437369"/>
            <a:ext cx="5761567" cy="1283999"/>
          </a:xfrm>
        </p:spPr>
        <p:txBody>
          <a:bodyPr>
            <a:normAutofit/>
          </a:bodyPr>
          <a:lstStyle>
            <a:lvl1pPr marL="0" indent="0" algn="l">
              <a:buNone/>
              <a:defRPr sz="2000">
                <a:solidFill>
                  <a:schemeClr val="accent6"/>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Oval 9">
            <a:extLst>
              <a:ext uri="{FF2B5EF4-FFF2-40B4-BE49-F238E27FC236}">
                <a16:creationId xmlns:a16="http://schemas.microsoft.com/office/drawing/2014/main" id="{DCD6D046-9E8A-417B-B758-A6E20A0FE31C}"/>
              </a:ext>
            </a:extLst>
          </p:cNvPr>
          <p:cNvSpPr/>
          <p:nvPr userDrawn="1"/>
        </p:nvSpPr>
        <p:spPr bwMode="auto">
          <a:xfrm>
            <a:off x="6787133" y="5399389"/>
            <a:ext cx="547941" cy="547483"/>
          </a:xfrm>
          <a:prstGeom prst="ellipse">
            <a:avLst/>
          </a:pr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mn-lt"/>
              <a:cs typeface="Arial" panose="020B0604020202020204" pitchFamily="34" charset="0"/>
            </a:endParaRPr>
          </a:p>
        </p:txBody>
      </p:sp>
      <p:sp>
        <p:nvSpPr>
          <p:cNvPr id="11" name="Freeform 8">
            <a:extLst>
              <a:ext uri="{FF2B5EF4-FFF2-40B4-BE49-F238E27FC236}">
                <a16:creationId xmlns:a16="http://schemas.microsoft.com/office/drawing/2014/main" id="{977530C5-2DE6-44CA-8A8F-019E4D7C204F}"/>
              </a:ext>
            </a:extLst>
          </p:cNvPr>
          <p:cNvSpPr/>
          <p:nvPr userDrawn="1"/>
        </p:nvSpPr>
        <p:spPr bwMode="auto">
          <a:xfrm>
            <a:off x="5929176" y="5949896"/>
            <a:ext cx="1802643" cy="908104"/>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mn-lt"/>
              <a:cs typeface="Arial" panose="020B0604020202020204" pitchFamily="34" charset="0"/>
            </a:endParaRPr>
          </a:p>
        </p:txBody>
      </p:sp>
      <p:sp>
        <p:nvSpPr>
          <p:cNvPr id="12" name="Freeform 10">
            <a:extLst>
              <a:ext uri="{FF2B5EF4-FFF2-40B4-BE49-F238E27FC236}">
                <a16:creationId xmlns:a16="http://schemas.microsoft.com/office/drawing/2014/main" id="{CBDF7E11-8F3D-4306-A7C9-3CBBFA98620F}"/>
              </a:ext>
            </a:extLst>
          </p:cNvPr>
          <p:cNvSpPr/>
          <p:nvPr userDrawn="1"/>
        </p:nvSpPr>
        <p:spPr bwMode="auto">
          <a:xfrm rot="7933215">
            <a:off x="6018217" y="4998607"/>
            <a:ext cx="1201179" cy="604951"/>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mn-lt"/>
              <a:cs typeface="Arial" panose="020B0604020202020204" pitchFamily="34" charset="0"/>
            </a:endParaRPr>
          </a:p>
        </p:txBody>
      </p:sp>
      <p:sp>
        <p:nvSpPr>
          <p:cNvPr id="22" name="Picture Placeholder 2">
            <a:extLst>
              <a:ext uri="{FF2B5EF4-FFF2-40B4-BE49-F238E27FC236}">
                <a16:creationId xmlns:a16="http://schemas.microsoft.com/office/drawing/2014/main" id="{8C38856E-DF0D-49BD-A0AF-37F515F1D5FF}"/>
              </a:ext>
            </a:extLst>
          </p:cNvPr>
          <p:cNvSpPr>
            <a:spLocks noGrp="1"/>
          </p:cNvSpPr>
          <p:nvPr>
            <p:ph type="pic" sz="quarter" idx="13" hasCustomPrompt="1"/>
          </p:nvPr>
        </p:nvSpPr>
        <p:spPr>
          <a:xfrm>
            <a:off x="7145996" y="1810817"/>
            <a:ext cx="5040000" cy="5040000"/>
          </a:xfrm>
          <a:prstGeom prst="ellipse">
            <a:avLst/>
          </a:prstGeom>
        </p:spPr>
        <p:txBody>
          <a:bodyPr/>
          <a:lstStyle>
            <a:lvl1pPr algn="ctr">
              <a:buNone/>
              <a:defRPr b="0" i="0">
                <a:solidFill>
                  <a:schemeClr val="accent6"/>
                </a:solidFill>
                <a:latin typeface="+mn-lt"/>
                <a:cs typeface="Arial" panose="020B0604020202020204" pitchFamily="34" charset="0"/>
              </a:defRPr>
            </a:lvl1pPr>
          </a:lstStyle>
          <a:p>
            <a:r>
              <a:rPr lang="en-US" noProof="0"/>
              <a:t>Add a picture here</a:t>
            </a:r>
          </a:p>
        </p:txBody>
      </p:sp>
      <p:sp>
        <p:nvSpPr>
          <p:cNvPr id="20" name="Date Name Organization">
            <a:extLst>
              <a:ext uri="{FF2B5EF4-FFF2-40B4-BE49-F238E27FC236}">
                <a16:creationId xmlns:a16="http://schemas.microsoft.com/office/drawing/2014/main" id="{B679C166-F3F4-4469-BDA4-0521529C846E}"/>
              </a:ext>
            </a:extLst>
          </p:cNvPr>
          <p:cNvSpPr>
            <a:spLocks noGrp="1"/>
          </p:cNvSpPr>
          <p:nvPr>
            <p:ph type="body" sz="quarter" idx="14" hasCustomPrompt="1"/>
          </p:nvPr>
        </p:nvSpPr>
        <p:spPr>
          <a:xfrm>
            <a:off x="265425" y="4913252"/>
            <a:ext cx="5251984" cy="1056000"/>
          </a:xfrm>
        </p:spPr>
        <p:txBody>
          <a:bodyPr anchor="b"/>
          <a:lstStyle>
            <a:lvl1pPr marL="0" indent="0">
              <a:spcAft>
                <a:spcPts val="133"/>
              </a:spcAft>
              <a:buNone/>
              <a:defRPr sz="1200">
                <a:solidFill>
                  <a:schemeClr val="accent6"/>
                </a:solidFill>
                <a:latin typeface="+mn-lt"/>
                <a:cs typeface="Arial" panose="020B0604020202020204" pitchFamily="34" charset="0"/>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Date]</a:t>
            </a:r>
            <a:br>
              <a:rPr lang="en-US"/>
            </a:br>
            <a:r>
              <a:rPr lang="en-US"/>
              <a:t>[Name of moderator]</a:t>
            </a:r>
            <a:br>
              <a:rPr lang="en-US"/>
            </a:br>
            <a:r>
              <a:rPr lang="en-US"/>
              <a:t>[Organizational Unit]</a:t>
            </a:r>
          </a:p>
        </p:txBody>
      </p:sp>
      <p:sp>
        <p:nvSpPr>
          <p:cNvPr id="23" name="TextBox 22">
            <a:extLst>
              <a:ext uri="{FF2B5EF4-FFF2-40B4-BE49-F238E27FC236}">
                <a16:creationId xmlns:a16="http://schemas.microsoft.com/office/drawing/2014/main" id="{F693D7AA-4B02-44F3-849A-D51D7F7A9CD0}"/>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mn-lt"/>
                <a:cs typeface="Arial" panose="020B0604020202020204" pitchFamily="34" charset="0"/>
              </a:rPr>
              <a:t>© Zurich</a:t>
            </a:r>
          </a:p>
        </p:txBody>
      </p:sp>
      <p:pic>
        <p:nvPicPr>
          <p:cNvPr id="14" name="ZRS Logo Horozontal">
            <a:extLst>
              <a:ext uri="{FF2B5EF4-FFF2-40B4-BE49-F238E27FC236}">
                <a16:creationId xmlns:a16="http://schemas.microsoft.com/office/drawing/2014/main" id="{E169DFED-E3C1-418D-9AA4-29D44878FE8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016" y="325479"/>
            <a:ext cx="1501200" cy="498456"/>
          </a:xfrm>
          <a:prstGeom prst="rect">
            <a:avLst/>
          </a:prstGeom>
        </p:spPr>
      </p:pic>
    </p:spTree>
    <p:extLst>
      <p:ext uri="{BB962C8B-B14F-4D97-AF65-F5344CB8AC3E}">
        <p14:creationId xmlns:p14="http://schemas.microsoft.com/office/powerpoint/2010/main" val="41686057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_Light">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59451" y="1118717"/>
            <a:ext cx="6722148" cy="2242079"/>
          </a:xfrm>
        </p:spPr>
        <p:txBody>
          <a:bodyPr anchor="b">
            <a:normAutofit/>
          </a:bodyPr>
          <a:lstStyle>
            <a:lvl1pPr algn="l">
              <a:defRPr sz="3600">
                <a:solidFill>
                  <a:schemeClr val="accent1"/>
                </a:solidFill>
                <a:latin typeface="+mj-lt"/>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59451" y="3452871"/>
            <a:ext cx="5761567" cy="1283999"/>
          </a:xfrm>
        </p:spPr>
        <p:txBody>
          <a:bodyPr>
            <a:normAutofit/>
          </a:bodyPr>
          <a:lstStyle>
            <a:lvl1pPr marL="0" indent="0" algn="l">
              <a:buNone/>
              <a:defRPr sz="2000">
                <a:solidFill>
                  <a:schemeClr val="accent1"/>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Oval 9">
            <a:extLst>
              <a:ext uri="{FF2B5EF4-FFF2-40B4-BE49-F238E27FC236}">
                <a16:creationId xmlns:a16="http://schemas.microsoft.com/office/drawing/2014/main" id="{DCD6D046-9E8A-417B-B758-A6E20A0FE31C}"/>
              </a:ext>
            </a:extLst>
          </p:cNvPr>
          <p:cNvSpPr/>
          <p:nvPr userDrawn="1"/>
        </p:nvSpPr>
        <p:spPr bwMode="auto">
          <a:xfrm>
            <a:off x="6803245" y="5407445"/>
            <a:ext cx="547941" cy="547483"/>
          </a:xfrm>
          <a:prstGeom prst="ellipse">
            <a:avLst/>
          </a:pr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1"/>
              </a:solidFill>
              <a:effectLst/>
              <a:latin typeface="+mn-lt"/>
              <a:cs typeface="Arial" panose="020B0604020202020204" pitchFamily="34" charset="0"/>
            </a:endParaRPr>
          </a:p>
        </p:txBody>
      </p:sp>
      <p:sp>
        <p:nvSpPr>
          <p:cNvPr id="11" name="Freeform 8">
            <a:extLst>
              <a:ext uri="{FF2B5EF4-FFF2-40B4-BE49-F238E27FC236}">
                <a16:creationId xmlns:a16="http://schemas.microsoft.com/office/drawing/2014/main" id="{977530C5-2DE6-44CA-8A8F-019E4D7C204F}"/>
              </a:ext>
            </a:extLst>
          </p:cNvPr>
          <p:cNvSpPr/>
          <p:nvPr userDrawn="1"/>
        </p:nvSpPr>
        <p:spPr bwMode="auto">
          <a:xfrm>
            <a:off x="5945288" y="5953924"/>
            <a:ext cx="1802643" cy="908104"/>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1"/>
              </a:solidFill>
              <a:effectLst/>
              <a:latin typeface="+mn-lt"/>
              <a:cs typeface="Arial" panose="020B0604020202020204" pitchFamily="34" charset="0"/>
            </a:endParaRPr>
          </a:p>
        </p:txBody>
      </p:sp>
      <p:sp>
        <p:nvSpPr>
          <p:cNvPr id="12" name="Freeform 10">
            <a:extLst>
              <a:ext uri="{FF2B5EF4-FFF2-40B4-BE49-F238E27FC236}">
                <a16:creationId xmlns:a16="http://schemas.microsoft.com/office/drawing/2014/main" id="{CBDF7E11-8F3D-4306-A7C9-3CBBFA98620F}"/>
              </a:ext>
            </a:extLst>
          </p:cNvPr>
          <p:cNvSpPr/>
          <p:nvPr userDrawn="1"/>
        </p:nvSpPr>
        <p:spPr bwMode="auto">
          <a:xfrm rot="7933215">
            <a:off x="6034329" y="5006663"/>
            <a:ext cx="1201179" cy="604951"/>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1"/>
              </a:solidFill>
              <a:effectLst/>
              <a:latin typeface="+mn-lt"/>
              <a:cs typeface="Arial" panose="020B0604020202020204" pitchFamily="34" charset="0"/>
            </a:endParaRPr>
          </a:p>
        </p:txBody>
      </p:sp>
      <p:sp>
        <p:nvSpPr>
          <p:cNvPr id="22" name="Picture Placeholder 2">
            <a:extLst>
              <a:ext uri="{FF2B5EF4-FFF2-40B4-BE49-F238E27FC236}">
                <a16:creationId xmlns:a16="http://schemas.microsoft.com/office/drawing/2014/main" id="{8C38856E-DF0D-49BD-A0AF-37F515F1D5FF}"/>
              </a:ext>
            </a:extLst>
          </p:cNvPr>
          <p:cNvSpPr>
            <a:spLocks noGrp="1"/>
          </p:cNvSpPr>
          <p:nvPr>
            <p:ph type="pic" sz="quarter" idx="13" hasCustomPrompt="1"/>
          </p:nvPr>
        </p:nvSpPr>
        <p:spPr>
          <a:xfrm>
            <a:off x="7154052" y="1818873"/>
            <a:ext cx="5040000" cy="5040000"/>
          </a:xfrm>
          <a:prstGeom prst="ellipse">
            <a:avLst/>
          </a:prstGeom>
        </p:spPr>
        <p:txBody>
          <a:bodyPr/>
          <a:lstStyle>
            <a:lvl1pPr algn="ctr">
              <a:buNone/>
              <a:defRPr b="0" i="0">
                <a:solidFill>
                  <a:schemeClr val="accent1"/>
                </a:solidFill>
                <a:latin typeface="+mn-lt"/>
                <a:cs typeface="Arial" panose="020B0604020202020204" pitchFamily="34" charset="0"/>
              </a:defRPr>
            </a:lvl1pPr>
          </a:lstStyle>
          <a:p>
            <a:r>
              <a:rPr lang="en-US" noProof="0"/>
              <a:t>Add a picture here</a:t>
            </a:r>
          </a:p>
        </p:txBody>
      </p:sp>
      <p:sp>
        <p:nvSpPr>
          <p:cNvPr id="20" name="Date Name Organization">
            <a:extLst>
              <a:ext uri="{FF2B5EF4-FFF2-40B4-BE49-F238E27FC236}">
                <a16:creationId xmlns:a16="http://schemas.microsoft.com/office/drawing/2014/main" id="{B679C166-F3F4-4469-BDA4-0521529C846E}"/>
              </a:ext>
            </a:extLst>
          </p:cNvPr>
          <p:cNvSpPr>
            <a:spLocks noGrp="1"/>
          </p:cNvSpPr>
          <p:nvPr>
            <p:ph type="body" sz="quarter" idx="14" hasCustomPrompt="1"/>
          </p:nvPr>
        </p:nvSpPr>
        <p:spPr>
          <a:xfrm>
            <a:off x="250825" y="4923646"/>
            <a:ext cx="5251984" cy="1056000"/>
          </a:xfrm>
        </p:spPr>
        <p:txBody>
          <a:bodyPr anchor="b"/>
          <a:lstStyle>
            <a:lvl1pPr marL="0" indent="0">
              <a:spcAft>
                <a:spcPts val="133"/>
              </a:spcAft>
              <a:buNone/>
              <a:defRPr sz="1200">
                <a:solidFill>
                  <a:schemeClr val="accent1"/>
                </a:solidFill>
                <a:latin typeface="+mn-lt"/>
                <a:cs typeface="Arial" panose="020B0604020202020204" pitchFamily="34" charset="0"/>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Date]</a:t>
            </a:r>
            <a:br>
              <a:rPr lang="en-US"/>
            </a:br>
            <a:r>
              <a:rPr lang="en-US"/>
              <a:t>[Name of moderator]</a:t>
            </a:r>
            <a:br>
              <a:rPr lang="en-US"/>
            </a:br>
            <a:r>
              <a:rPr lang="en-US"/>
              <a:t>[Organizational Unit]</a:t>
            </a:r>
          </a:p>
        </p:txBody>
      </p:sp>
      <p:pic>
        <p:nvPicPr>
          <p:cNvPr id="13" name="ZRS Logo Horozontal">
            <a:extLst>
              <a:ext uri="{FF2B5EF4-FFF2-40B4-BE49-F238E27FC236}">
                <a16:creationId xmlns:a16="http://schemas.microsoft.com/office/drawing/2014/main" id="{19FF9C39-7D58-47F0-A024-1143DEB3C1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016" y="325479"/>
            <a:ext cx="1501200" cy="498456"/>
          </a:xfrm>
          <a:prstGeom prst="rect">
            <a:avLst/>
          </a:prstGeom>
        </p:spPr>
      </p:pic>
    </p:spTree>
    <p:extLst>
      <p:ext uri="{BB962C8B-B14F-4D97-AF65-F5344CB8AC3E}">
        <p14:creationId xmlns:p14="http://schemas.microsoft.com/office/powerpoint/2010/main" val="36290981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59451" y="1205994"/>
            <a:ext cx="11669024" cy="5040145"/>
          </a:xfrm>
        </p:spPr>
        <p:txBody>
          <a:bodyPr/>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9FBF581-E754-574B-A309-6F2FB382E481}"/>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en-US"/>
              <a:t>Click to edit Master title style</a:t>
            </a:r>
          </a:p>
        </p:txBody>
      </p:sp>
      <p:sp>
        <p:nvSpPr>
          <p:cNvPr id="22" name="Subtitle 2">
            <a:extLst>
              <a:ext uri="{FF2B5EF4-FFF2-40B4-BE49-F238E27FC236}">
                <a16:creationId xmlns:a16="http://schemas.microsoft.com/office/drawing/2014/main" id="{60580A64-4AC1-D547-A7C8-FF2A5434D2C5}"/>
              </a:ext>
            </a:extLst>
          </p:cNvPr>
          <p:cNvSpPr>
            <a:spLocks noGrp="1"/>
          </p:cNvSpPr>
          <p:nvPr>
            <p:ph type="subTitle" idx="13"/>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US"/>
              <a:t>Click to edit Master subtitle style</a:t>
            </a:r>
            <a:endParaRPr lang="en-GB" noProof="0"/>
          </a:p>
        </p:txBody>
      </p:sp>
      <p:sp>
        <p:nvSpPr>
          <p:cNvPr id="18" name="Slide Number Placeholder 5">
            <a:extLst>
              <a:ext uri="{FF2B5EF4-FFF2-40B4-BE49-F238E27FC236}">
                <a16:creationId xmlns:a16="http://schemas.microsoft.com/office/drawing/2014/main" id="{9DEE29F2-F280-4686-A9A8-3959443731C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19" name="ZRS Logo Horozontal">
            <a:extLst>
              <a:ext uri="{FF2B5EF4-FFF2-40B4-BE49-F238E27FC236}">
                <a16:creationId xmlns:a16="http://schemas.microsoft.com/office/drawing/2014/main" id="{22B5E1A2-EB83-48AE-BF13-41D1919E04B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7446" y="325479"/>
            <a:ext cx="1501200" cy="498456"/>
          </a:xfrm>
          <a:prstGeom prst="rect">
            <a:avLst/>
          </a:prstGeom>
        </p:spPr>
      </p:pic>
    </p:spTree>
    <p:extLst>
      <p:ext uri="{BB962C8B-B14F-4D97-AF65-F5344CB8AC3E}">
        <p14:creationId xmlns:p14="http://schemas.microsoft.com/office/powerpoint/2010/main" val="347467117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with Numbers">
    <p:spTree>
      <p:nvGrpSpPr>
        <p:cNvPr id="1" name=""/>
        <p:cNvGrpSpPr/>
        <p:nvPr/>
      </p:nvGrpSpPr>
      <p:grpSpPr>
        <a:xfrm>
          <a:off x="0" y="0"/>
          <a:ext cx="0" cy="0"/>
          <a:chOff x="0" y="0"/>
          <a:chExt cx="0" cy="0"/>
        </a:xfrm>
      </p:grpSpPr>
      <p:sp>
        <p:nvSpPr>
          <p:cNvPr id="2" name="Title 1"/>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252658" y="1208576"/>
            <a:ext cx="11675817" cy="5040145"/>
          </a:xfrm>
        </p:spPr>
        <p:txBody>
          <a:bodyPr/>
          <a:lstStyle>
            <a:lvl1pPr marL="269875" indent="-269875">
              <a:buFont typeface="+mj-lt"/>
              <a:buAutoNum type="arabicPeriod"/>
              <a:defRPr sz="1800">
                <a:latin typeface="+mn-lt"/>
                <a:cs typeface="Arial" panose="020B0604020202020204" pitchFamily="34" charset="0"/>
              </a:defRPr>
            </a:lvl1pPr>
            <a:lvl2pPr marL="539750" indent="-269875">
              <a:buFont typeface="+mj-lt"/>
              <a:buAutoNum type="arabicPeriod"/>
              <a:defRPr sz="1600">
                <a:latin typeface="+mn-lt"/>
                <a:cs typeface="Arial" panose="020B0604020202020204" pitchFamily="34" charset="0"/>
              </a:defRPr>
            </a:lvl2pPr>
            <a:lvl3pPr marL="717550" indent="-177800">
              <a:buFont typeface="+mj-lt"/>
              <a:buAutoNum type="arabicPeriod"/>
              <a:tabLst/>
              <a:defRPr sz="1400">
                <a:latin typeface="+mn-lt"/>
                <a:cs typeface="Arial" panose="020B0604020202020204" pitchFamily="34" charset="0"/>
              </a:defRPr>
            </a:lvl3pPr>
            <a:lvl4pPr marL="898525" indent="-180975">
              <a:buFont typeface="+mj-lt"/>
              <a:buAutoNum type="arabicPeriod"/>
              <a:defRPr sz="1200">
                <a:latin typeface="+mn-lt"/>
                <a:cs typeface="Arial" panose="020B0604020202020204" pitchFamily="34" charset="0"/>
              </a:defRPr>
            </a:lvl4pPr>
            <a:lvl5pPr marL="1074738" indent="-176213">
              <a:buFont typeface="+mj-lt"/>
              <a:buAutoNum type="arabicPeriod"/>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2">
            <a:extLst>
              <a:ext uri="{FF2B5EF4-FFF2-40B4-BE49-F238E27FC236}">
                <a16:creationId xmlns:a16="http://schemas.microsoft.com/office/drawing/2014/main" id="{29817F0A-3E21-4700-B3FF-0F0F0F4AA75C}"/>
              </a:ext>
            </a:extLst>
          </p:cNvPr>
          <p:cNvSpPr>
            <a:spLocks noGrp="1"/>
          </p:cNvSpPr>
          <p:nvPr>
            <p:ph type="subTitle" idx="13"/>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US"/>
              <a:t>Click to edit Master subtitle style</a:t>
            </a:r>
            <a:endParaRPr lang="en-GB" noProof="0"/>
          </a:p>
        </p:txBody>
      </p:sp>
      <p:sp>
        <p:nvSpPr>
          <p:cNvPr id="18" name="Slide Number Placeholder 5">
            <a:extLst>
              <a:ext uri="{FF2B5EF4-FFF2-40B4-BE49-F238E27FC236}">
                <a16:creationId xmlns:a16="http://schemas.microsoft.com/office/drawing/2014/main" id="{8031B39C-DF70-43CD-94D0-81EF6CC024A6}"/>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3" name="Footer Placeholder 3">
            <a:extLst>
              <a:ext uri="{FF2B5EF4-FFF2-40B4-BE49-F238E27FC236}">
                <a16:creationId xmlns:a16="http://schemas.microsoft.com/office/drawing/2014/main" id="{4ED371B5-D44C-4D74-B5F8-F89D42D7167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19" name="ZRS Logo Horozontal">
            <a:extLst>
              <a:ext uri="{FF2B5EF4-FFF2-40B4-BE49-F238E27FC236}">
                <a16:creationId xmlns:a16="http://schemas.microsoft.com/office/drawing/2014/main" id="{96862176-D38F-47E6-BCC6-A565D9C30A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7446" y="325479"/>
            <a:ext cx="1501200" cy="498456"/>
          </a:xfrm>
          <a:prstGeom prst="rect">
            <a:avLst/>
          </a:prstGeom>
        </p:spPr>
      </p:pic>
    </p:spTree>
    <p:extLst>
      <p:ext uri="{BB962C8B-B14F-4D97-AF65-F5344CB8AC3E}">
        <p14:creationId xmlns:p14="http://schemas.microsoft.com/office/powerpoint/2010/main" val="20485102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2 text boxes">
    <p:spTree>
      <p:nvGrpSpPr>
        <p:cNvPr id="1" name=""/>
        <p:cNvGrpSpPr/>
        <p:nvPr/>
      </p:nvGrpSpPr>
      <p:grpSpPr>
        <a:xfrm>
          <a:off x="0" y="0"/>
          <a:ext cx="0" cy="0"/>
          <a:chOff x="0" y="0"/>
          <a:chExt cx="0" cy="0"/>
        </a:xfrm>
      </p:grpSpPr>
      <p:sp>
        <p:nvSpPr>
          <p:cNvPr id="3" name="Content Placeholder 2"/>
          <p:cNvSpPr>
            <a:spLocks noGrp="1"/>
          </p:cNvSpPr>
          <p:nvPr>
            <p:ph idx="1"/>
          </p:nvPr>
        </p:nvSpPr>
        <p:spPr>
          <a:xfrm>
            <a:off x="250824" y="1206178"/>
            <a:ext cx="5700714"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DD38D433-C715-4635-977C-8E54E7555A08}"/>
              </a:ext>
            </a:extLst>
          </p:cNvPr>
          <p:cNvSpPr>
            <a:spLocks noGrp="1"/>
          </p:cNvSpPr>
          <p:nvPr>
            <p:ph idx="13"/>
          </p:nvPr>
        </p:nvSpPr>
        <p:spPr>
          <a:xfrm>
            <a:off x="6240464" y="1206177"/>
            <a:ext cx="5700712"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itle 1">
            <a:extLst>
              <a:ext uri="{FF2B5EF4-FFF2-40B4-BE49-F238E27FC236}">
                <a16:creationId xmlns:a16="http://schemas.microsoft.com/office/drawing/2014/main" id="{69E92947-3625-9041-9213-E2B75D84A8F0}"/>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en-US"/>
              <a:t>Click to edit Master title style</a:t>
            </a:r>
          </a:p>
        </p:txBody>
      </p:sp>
      <p:sp>
        <p:nvSpPr>
          <p:cNvPr id="21" name="Subtitle 2">
            <a:extLst>
              <a:ext uri="{FF2B5EF4-FFF2-40B4-BE49-F238E27FC236}">
                <a16:creationId xmlns:a16="http://schemas.microsoft.com/office/drawing/2014/main" id="{710AC261-10B5-584A-91F3-14A61852EFBE}"/>
              </a:ext>
            </a:extLst>
          </p:cNvPr>
          <p:cNvSpPr>
            <a:spLocks noGrp="1"/>
          </p:cNvSpPr>
          <p:nvPr>
            <p:ph type="subTitle" idx="14"/>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US"/>
              <a:t>Click to edit Master subtitle style</a:t>
            </a:r>
            <a:endParaRPr lang="en-GB" noProof="0"/>
          </a:p>
        </p:txBody>
      </p:sp>
      <p:sp>
        <p:nvSpPr>
          <p:cNvPr id="32" name="Slide Number Placeholder 5">
            <a:extLst>
              <a:ext uri="{FF2B5EF4-FFF2-40B4-BE49-F238E27FC236}">
                <a16:creationId xmlns:a16="http://schemas.microsoft.com/office/drawing/2014/main" id="{7778DC4A-6DD8-4810-A49B-89B671171FAE}"/>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B66B4EB9-2868-4BA8-BD4D-16B8E7A16DF5}"/>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33" name="ZRS Logo Horozontal">
            <a:extLst>
              <a:ext uri="{FF2B5EF4-FFF2-40B4-BE49-F238E27FC236}">
                <a16:creationId xmlns:a16="http://schemas.microsoft.com/office/drawing/2014/main" id="{AC1FFA6B-AEC5-4953-847E-52849007D12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7446" y="325479"/>
            <a:ext cx="1501200" cy="498456"/>
          </a:xfrm>
          <a:prstGeom prst="rect">
            <a:avLst/>
          </a:prstGeom>
        </p:spPr>
      </p:pic>
    </p:spTree>
    <p:extLst>
      <p:ext uri="{BB962C8B-B14F-4D97-AF65-F5344CB8AC3E}">
        <p14:creationId xmlns:p14="http://schemas.microsoft.com/office/powerpoint/2010/main" val="35287887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text box and circle for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250824" y="1206178"/>
            <a:ext cx="5700714"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2">
            <a:extLst>
              <a:ext uri="{FF2B5EF4-FFF2-40B4-BE49-F238E27FC236}">
                <a16:creationId xmlns:a16="http://schemas.microsoft.com/office/drawing/2014/main" id="{E1605E3C-D76A-4678-9277-BF9E20857561}"/>
              </a:ext>
            </a:extLst>
          </p:cNvPr>
          <p:cNvSpPr>
            <a:spLocks noGrp="1"/>
          </p:cNvSpPr>
          <p:nvPr>
            <p:ph type="pic" sz="quarter" idx="13" hasCustomPrompt="1"/>
          </p:nvPr>
        </p:nvSpPr>
        <p:spPr>
          <a:xfrm>
            <a:off x="6813444" y="1274619"/>
            <a:ext cx="5040000" cy="5040000"/>
          </a:xfrm>
          <a:prstGeom prst="ellipse">
            <a:avLst/>
          </a:prstGeom>
        </p:spPr>
        <p:txBody>
          <a:bodyPr/>
          <a:lstStyle>
            <a:lvl1pPr algn="ctr">
              <a:buNone/>
              <a:defRPr b="0" i="0">
                <a:solidFill>
                  <a:srgbClr val="1C67AF"/>
                </a:solidFill>
                <a:latin typeface="+mn-lt"/>
                <a:cs typeface="Arial" panose="020B0604020202020204" pitchFamily="34" charset="0"/>
              </a:defRPr>
            </a:lvl1pPr>
          </a:lstStyle>
          <a:p>
            <a:r>
              <a:rPr lang="en-US" noProof="0"/>
              <a:t>Add a picture here</a:t>
            </a:r>
          </a:p>
        </p:txBody>
      </p:sp>
      <p:sp>
        <p:nvSpPr>
          <p:cNvPr id="20" name="Title 1">
            <a:extLst>
              <a:ext uri="{FF2B5EF4-FFF2-40B4-BE49-F238E27FC236}">
                <a16:creationId xmlns:a16="http://schemas.microsoft.com/office/drawing/2014/main" id="{C29EECA6-DA60-0545-94DA-DA2F8B81238E}"/>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en-US"/>
              <a:t>Click to edit Master title style</a:t>
            </a:r>
          </a:p>
        </p:txBody>
      </p:sp>
      <p:sp>
        <p:nvSpPr>
          <p:cNvPr id="21" name="Subtitle 2">
            <a:extLst>
              <a:ext uri="{FF2B5EF4-FFF2-40B4-BE49-F238E27FC236}">
                <a16:creationId xmlns:a16="http://schemas.microsoft.com/office/drawing/2014/main" id="{78EE7002-C39A-5A48-B25E-20539A4FFD23}"/>
              </a:ext>
            </a:extLst>
          </p:cNvPr>
          <p:cNvSpPr>
            <a:spLocks noGrp="1"/>
          </p:cNvSpPr>
          <p:nvPr>
            <p:ph type="subTitle" idx="14"/>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US"/>
              <a:t>Click to edit Master subtitle style</a:t>
            </a:r>
            <a:endParaRPr lang="en-GB" noProof="0"/>
          </a:p>
        </p:txBody>
      </p:sp>
      <p:sp>
        <p:nvSpPr>
          <p:cNvPr id="32" name="Slide Number Placeholder 5">
            <a:extLst>
              <a:ext uri="{FF2B5EF4-FFF2-40B4-BE49-F238E27FC236}">
                <a16:creationId xmlns:a16="http://schemas.microsoft.com/office/drawing/2014/main" id="{3A975D44-BBDE-415E-AD10-4B5D27EC1F20}"/>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D7853777-3467-41CD-B494-D2A35BD43D1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33" name="ZRS Logo Horozontal">
            <a:extLst>
              <a:ext uri="{FF2B5EF4-FFF2-40B4-BE49-F238E27FC236}">
                <a16:creationId xmlns:a16="http://schemas.microsoft.com/office/drawing/2014/main" id="{67A564D6-19F3-4C9E-97C1-D72093CBC9E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7446" y="325479"/>
            <a:ext cx="1501200" cy="498456"/>
          </a:xfrm>
          <a:prstGeom prst="rect">
            <a:avLst/>
          </a:prstGeom>
        </p:spPr>
      </p:pic>
    </p:spTree>
    <p:extLst>
      <p:ext uri="{BB962C8B-B14F-4D97-AF65-F5344CB8AC3E}">
        <p14:creationId xmlns:p14="http://schemas.microsoft.com/office/powerpoint/2010/main" val="32593718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text box, Safe Space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250824" y="1206178"/>
            <a:ext cx="5700714"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itle 1">
            <a:extLst>
              <a:ext uri="{FF2B5EF4-FFF2-40B4-BE49-F238E27FC236}">
                <a16:creationId xmlns:a16="http://schemas.microsoft.com/office/drawing/2014/main" id="{C29EECA6-DA60-0545-94DA-DA2F8B81238E}"/>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en-US"/>
              <a:t>Click to edit Master title style</a:t>
            </a:r>
          </a:p>
        </p:txBody>
      </p:sp>
      <p:sp>
        <p:nvSpPr>
          <p:cNvPr id="21" name="Subtitle 2">
            <a:extLst>
              <a:ext uri="{FF2B5EF4-FFF2-40B4-BE49-F238E27FC236}">
                <a16:creationId xmlns:a16="http://schemas.microsoft.com/office/drawing/2014/main" id="{78EE7002-C39A-5A48-B25E-20539A4FFD23}"/>
              </a:ext>
            </a:extLst>
          </p:cNvPr>
          <p:cNvSpPr>
            <a:spLocks noGrp="1"/>
          </p:cNvSpPr>
          <p:nvPr>
            <p:ph type="subTitle" idx="14"/>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US"/>
              <a:t>Click to edit Master subtitle style</a:t>
            </a:r>
            <a:endParaRPr lang="en-GB" noProof="0"/>
          </a:p>
        </p:txBody>
      </p:sp>
      <p:sp>
        <p:nvSpPr>
          <p:cNvPr id="37" name="Picture Placeholder 23">
            <a:extLst>
              <a:ext uri="{FF2B5EF4-FFF2-40B4-BE49-F238E27FC236}">
                <a16:creationId xmlns:a16="http://schemas.microsoft.com/office/drawing/2014/main" id="{632F94C8-BFF9-44C4-AD1A-92E5E5E20C6E}"/>
              </a:ext>
            </a:extLst>
          </p:cNvPr>
          <p:cNvSpPr>
            <a:spLocks noGrp="1" noChangeAspect="1"/>
          </p:cNvSpPr>
          <p:nvPr>
            <p:ph type="pic" sz="quarter" idx="19"/>
          </p:nvPr>
        </p:nvSpPr>
        <p:spPr>
          <a:xfrm>
            <a:off x="6813533" y="1274619"/>
            <a:ext cx="5039466" cy="5040000"/>
          </a:xfrm>
          <a:custGeom>
            <a:avLst/>
            <a:gdLst>
              <a:gd name="connsiteX0" fmla="*/ 991609 w 1983218"/>
              <a:gd name="connsiteY0" fmla="*/ 0 h 1983428"/>
              <a:gd name="connsiteX1" fmla="*/ 1983218 w 1983218"/>
              <a:gd name="connsiteY1" fmla="*/ 991609 h 1983428"/>
              <a:gd name="connsiteX2" fmla="*/ 991399 w 1983218"/>
              <a:gd name="connsiteY2" fmla="*/ 1983428 h 1983428"/>
              <a:gd name="connsiteX3" fmla="*/ 237390 w 1983218"/>
              <a:gd name="connsiteY3" fmla="*/ 1635494 h 1983428"/>
              <a:gd name="connsiteX4" fmla="*/ 287345 w 1983218"/>
              <a:gd name="connsiteY4" fmla="*/ 1620941 h 1983428"/>
              <a:gd name="connsiteX5" fmla="*/ 339399 w 1983218"/>
              <a:gd name="connsiteY5" fmla="*/ 1616744 h 1983428"/>
              <a:gd name="connsiteX6" fmla="*/ 446934 w 1983218"/>
              <a:gd name="connsiteY6" fmla="*/ 1627798 h 1983428"/>
              <a:gd name="connsiteX7" fmla="*/ 538448 w 1983218"/>
              <a:gd name="connsiteY7" fmla="*/ 1637663 h 1983428"/>
              <a:gd name="connsiteX8" fmla="*/ 542996 w 1983218"/>
              <a:gd name="connsiteY8" fmla="*/ 1637593 h 1983428"/>
              <a:gd name="connsiteX9" fmla="*/ 620377 w 1983218"/>
              <a:gd name="connsiteY9" fmla="*/ 1612126 h 1983428"/>
              <a:gd name="connsiteX10" fmla="*/ 672640 w 1983218"/>
              <a:gd name="connsiteY10" fmla="*/ 1542861 h 1983428"/>
              <a:gd name="connsiteX11" fmla="*/ 686703 w 1983218"/>
              <a:gd name="connsiteY11" fmla="*/ 1502981 h 1983428"/>
              <a:gd name="connsiteX12" fmla="*/ 672570 w 1983218"/>
              <a:gd name="connsiteY12" fmla="*/ 1499413 h 1983428"/>
              <a:gd name="connsiteX13" fmla="*/ 667883 w 1983218"/>
              <a:gd name="connsiteY13" fmla="*/ 1508928 h 1983428"/>
              <a:gd name="connsiteX14" fmla="*/ 620517 w 1983218"/>
              <a:gd name="connsiteY14" fmla="*/ 1562941 h 1983428"/>
              <a:gd name="connsiteX15" fmla="*/ 586304 w 1983218"/>
              <a:gd name="connsiteY15" fmla="*/ 1579382 h 1983428"/>
              <a:gd name="connsiteX16" fmla="*/ 530752 w 1983218"/>
              <a:gd name="connsiteY16" fmla="*/ 1586029 h 1983428"/>
              <a:gd name="connsiteX17" fmla="*/ 488703 w 1983218"/>
              <a:gd name="connsiteY17" fmla="*/ 1584560 h 1983428"/>
              <a:gd name="connsiteX18" fmla="*/ 441757 w 1983218"/>
              <a:gd name="connsiteY18" fmla="*/ 1581621 h 1983428"/>
              <a:gd name="connsiteX19" fmla="*/ 392992 w 1983218"/>
              <a:gd name="connsiteY19" fmla="*/ 1579662 h 1983428"/>
              <a:gd name="connsiteX20" fmla="*/ 355001 w 1983218"/>
              <a:gd name="connsiteY20" fmla="*/ 1581551 h 1983428"/>
              <a:gd name="connsiteX21" fmla="*/ 619327 w 1983218"/>
              <a:gd name="connsiteY21" fmla="*/ 1228160 h 1983428"/>
              <a:gd name="connsiteX22" fmla="*/ 286715 w 1983218"/>
              <a:gd name="connsiteY22" fmla="*/ 1228160 h 1983428"/>
              <a:gd name="connsiteX23" fmla="*/ 260688 w 1983218"/>
              <a:gd name="connsiteY23" fmla="*/ 1328349 h 1983428"/>
              <a:gd name="connsiteX24" fmla="*/ 276221 w 1983218"/>
              <a:gd name="connsiteY24" fmla="*/ 1331847 h 1983428"/>
              <a:gd name="connsiteX25" fmla="*/ 280558 w 1983218"/>
              <a:gd name="connsiteY25" fmla="*/ 1323592 h 1983428"/>
              <a:gd name="connsiteX26" fmla="*/ 313092 w 1983218"/>
              <a:gd name="connsiteY26" fmla="*/ 1284901 h 1983428"/>
              <a:gd name="connsiteX27" fmla="*/ 345625 w 1983218"/>
              <a:gd name="connsiteY27" fmla="*/ 1271608 h 1983428"/>
              <a:gd name="connsiteX28" fmla="*/ 424825 w 1983218"/>
              <a:gd name="connsiteY28" fmla="*/ 1265451 h 1983428"/>
              <a:gd name="connsiteX29" fmla="*/ 453161 w 1983218"/>
              <a:gd name="connsiteY29" fmla="*/ 1265521 h 1983428"/>
              <a:gd name="connsiteX30" fmla="*/ 481777 w 1983218"/>
              <a:gd name="connsiteY30" fmla="*/ 1265451 h 1983428"/>
              <a:gd name="connsiteX31" fmla="*/ 218150 w 1983218"/>
              <a:gd name="connsiteY31" fmla="*/ 1611846 h 1983428"/>
              <a:gd name="connsiteX32" fmla="*/ 0 w 1983218"/>
              <a:gd name="connsiteY32" fmla="*/ 991609 h 1983428"/>
              <a:gd name="connsiteX33" fmla="*/ 991609 w 1983218"/>
              <a:gd name="connsiteY33" fmla="*/ 0 h 198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83218" h="1983428">
                <a:moveTo>
                  <a:pt x="991609" y="0"/>
                </a:moveTo>
                <a:cubicBezTo>
                  <a:pt x="1539293" y="0"/>
                  <a:pt x="1983218" y="443996"/>
                  <a:pt x="1983218" y="991609"/>
                </a:cubicBezTo>
                <a:cubicBezTo>
                  <a:pt x="1983218" y="1539293"/>
                  <a:pt x="1539293" y="1983218"/>
                  <a:pt x="991399" y="1983428"/>
                </a:cubicBezTo>
                <a:cubicBezTo>
                  <a:pt x="689502" y="1983428"/>
                  <a:pt x="419298" y="1848327"/>
                  <a:pt x="237390" y="1635494"/>
                </a:cubicBezTo>
                <a:cubicBezTo>
                  <a:pt x="256211" y="1627098"/>
                  <a:pt x="265516" y="1624370"/>
                  <a:pt x="287345" y="1620941"/>
                </a:cubicBezTo>
                <a:cubicBezTo>
                  <a:pt x="304696" y="1618073"/>
                  <a:pt x="321418" y="1616744"/>
                  <a:pt x="339399" y="1616744"/>
                </a:cubicBezTo>
                <a:cubicBezTo>
                  <a:pt x="366265" y="1616744"/>
                  <a:pt x="393481" y="1619542"/>
                  <a:pt x="446934" y="1627798"/>
                </a:cubicBezTo>
                <a:cubicBezTo>
                  <a:pt x="499548" y="1635844"/>
                  <a:pt x="516479" y="1637663"/>
                  <a:pt x="538448" y="1637663"/>
                </a:cubicBezTo>
                <a:lnTo>
                  <a:pt x="542996" y="1637593"/>
                </a:lnTo>
                <a:cubicBezTo>
                  <a:pt x="572661" y="1637103"/>
                  <a:pt x="597708" y="1628917"/>
                  <a:pt x="620377" y="1612126"/>
                </a:cubicBezTo>
                <a:cubicBezTo>
                  <a:pt x="642416" y="1595824"/>
                  <a:pt x="658437" y="1574555"/>
                  <a:pt x="672640" y="1542861"/>
                </a:cubicBezTo>
                <a:cubicBezTo>
                  <a:pt x="679707" y="1527189"/>
                  <a:pt x="682086" y="1520472"/>
                  <a:pt x="686703" y="1502981"/>
                </a:cubicBezTo>
                <a:lnTo>
                  <a:pt x="672570" y="1499413"/>
                </a:lnTo>
                <a:cubicBezTo>
                  <a:pt x="670681" y="1503681"/>
                  <a:pt x="668932" y="1506829"/>
                  <a:pt x="667883" y="1508928"/>
                </a:cubicBezTo>
                <a:cubicBezTo>
                  <a:pt x="657108" y="1529568"/>
                  <a:pt x="639057" y="1550067"/>
                  <a:pt x="620517" y="1562941"/>
                </a:cubicBezTo>
                <a:cubicBezTo>
                  <a:pt x="609882" y="1570077"/>
                  <a:pt x="598408" y="1575674"/>
                  <a:pt x="586304" y="1579382"/>
                </a:cubicBezTo>
                <a:cubicBezTo>
                  <a:pt x="570702" y="1584140"/>
                  <a:pt x="554960" y="1586029"/>
                  <a:pt x="530752" y="1586029"/>
                </a:cubicBezTo>
                <a:cubicBezTo>
                  <a:pt x="519907" y="1586029"/>
                  <a:pt x="505565" y="1585539"/>
                  <a:pt x="488703" y="1584560"/>
                </a:cubicBezTo>
                <a:lnTo>
                  <a:pt x="441757" y="1581621"/>
                </a:lnTo>
                <a:cubicBezTo>
                  <a:pt x="419998" y="1580362"/>
                  <a:pt x="403696" y="1579662"/>
                  <a:pt x="392992" y="1579662"/>
                </a:cubicBezTo>
                <a:cubicBezTo>
                  <a:pt x="379069" y="1579662"/>
                  <a:pt x="372142" y="1580012"/>
                  <a:pt x="355001" y="1581551"/>
                </a:cubicBezTo>
                <a:lnTo>
                  <a:pt x="619327" y="1228160"/>
                </a:lnTo>
                <a:lnTo>
                  <a:pt x="286715" y="1228160"/>
                </a:lnTo>
                <a:lnTo>
                  <a:pt x="260688" y="1328349"/>
                </a:lnTo>
                <a:lnTo>
                  <a:pt x="276221" y="1331847"/>
                </a:lnTo>
                <a:cubicBezTo>
                  <a:pt x="278110" y="1327999"/>
                  <a:pt x="279579" y="1325411"/>
                  <a:pt x="280558" y="1323592"/>
                </a:cubicBezTo>
                <a:cubicBezTo>
                  <a:pt x="289234" y="1308059"/>
                  <a:pt x="302527" y="1292317"/>
                  <a:pt x="313092" y="1284901"/>
                </a:cubicBezTo>
                <a:cubicBezTo>
                  <a:pt x="322117" y="1278534"/>
                  <a:pt x="333172" y="1274057"/>
                  <a:pt x="345625" y="1271608"/>
                </a:cubicBezTo>
                <a:cubicBezTo>
                  <a:pt x="366125" y="1267620"/>
                  <a:pt x="394531" y="1265451"/>
                  <a:pt x="424825" y="1265451"/>
                </a:cubicBezTo>
                <a:lnTo>
                  <a:pt x="453161" y="1265521"/>
                </a:lnTo>
                <a:lnTo>
                  <a:pt x="481777" y="1265451"/>
                </a:lnTo>
                <a:lnTo>
                  <a:pt x="218150" y="1611846"/>
                </a:lnTo>
                <a:cubicBezTo>
                  <a:pt x="81789" y="1441972"/>
                  <a:pt x="0" y="1226411"/>
                  <a:pt x="0" y="991609"/>
                </a:cubicBezTo>
                <a:cubicBezTo>
                  <a:pt x="0" y="443996"/>
                  <a:pt x="443996" y="0"/>
                  <a:pt x="991609" y="0"/>
                </a:cubicBezTo>
                <a:close/>
              </a:path>
            </a:pathLst>
          </a:custGeom>
        </p:spPr>
        <p:txBody>
          <a:bodyPr wrap="square">
            <a:noAutofit/>
          </a:bodyPr>
          <a:lstStyle>
            <a:lvl1pPr marL="0" indent="0" algn="ctr">
              <a:buNone/>
              <a:defRPr>
                <a:latin typeface="+mn-lt"/>
                <a:cs typeface="Arial" panose="020B0604020202020204" pitchFamily="34" charset="0"/>
              </a:defRPr>
            </a:lvl1pPr>
          </a:lstStyle>
          <a:p>
            <a:r>
              <a:rPr lang="en-US"/>
              <a:t>Click icon to add picture</a:t>
            </a:r>
          </a:p>
        </p:txBody>
      </p:sp>
      <p:sp>
        <p:nvSpPr>
          <p:cNvPr id="33" name="Slide Number Placeholder 5">
            <a:extLst>
              <a:ext uri="{FF2B5EF4-FFF2-40B4-BE49-F238E27FC236}">
                <a16:creationId xmlns:a16="http://schemas.microsoft.com/office/drawing/2014/main" id="{2940119E-5F10-4EB4-B937-FD54D145016C}"/>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5" name="Footer Placeholder 3">
            <a:extLst>
              <a:ext uri="{FF2B5EF4-FFF2-40B4-BE49-F238E27FC236}">
                <a16:creationId xmlns:a16="http://schemas.microsoft.com/office/drawing/2014/main" id="{40454D8E-1F3F-4D16-AA7F-FBF0AED1BC21}"/>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32" name="ZRS Logo Horozontal">
            <a:extLst>
              <a:ext uri="{FF2B5EF4-FFF2-40B4-BE49-F238E27FC236}">
                <a16:creationId xmlns:a16="http://schemas.microsoft.com/office/drawing/2014/main" id="{340DEFF4-BB02-4B54-99C6-B3543B63416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7446" y="325479"/>
            <a:ext cx="1501200" cy="498456"/>
          </a:xfrm>
          <a:prstGeom prst="rect">
            <a:avLst/>
          </a:prstGeom>
        </p:spPr>
      </p:pic>
    </p:spTree>
    <p:extLst>
      <p:ext uri="{BB962C8B-B14F-4D97-AF65-F5344CB8AC3E}">
        <p14:creationId xmlns:p14="http://schemas.microsoft.com/office/powerpoint/2010/main" val="24045618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text box, Safe Space image_2">
    <p:spTree>
      <p:nvGrpSpPr>
        <p:cNvPr id="1" name=""/>
        <p:cNvGrpSpPr/>
        <p:nvPr/>
      </p:nvGrpSpPr>
      <p:grpSpPr>
        <a:xfrm>
          <a:off x="0" y="0"/>
          <a:ext cx="0" cy="0"/>
          <a:chOff x="0" y="0"/>
          <a:chExt cx="0" cy="0"/>
        </a:xfrm>
      </p:grpSpPr>
      <p:sp>
        <p:nvSpPr>
          <p:cNvPr id="3" name="Content Placeholder 2"/>
          <p:cNvSpPr>
            <a:spLocks noGrp="1"/>
          </p:cNvSpPr>
          <p:nvPr>
            <p:ph idx="1"/>
          </p:nvPr>
        </p:nvSpPr>
        <p:spPr>
          <a:xfrm>
            <a:off x="250824" y="1206178"/>
            <a:ext cx="5700714"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itle 1">
            <a:extLst>
              <a:ext uri="{FF2B5EF4-FFF2-40B4-BE49-F238E27FC236}">
                <a16:creationId xmlns:a16="http://schemas.microsoft.com/office/drawing/2014/main" id="{C29EECA6-DA60-0545-94DA-DA2F8B81238E}"/>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en-US"/>
              <a:t>Click to edit Master title style</a:t>
            </a:r>
          </a:p>
        </p:txBody>
      </p:sp>
      <p:sp>
        <p:nvSpPr>
          <p:cNvPr id="21" name="Subtitle 2">
            <a:extLst>
              <a:ext uri="{FF2B5EF4-FFF2-40B4-BE49-F238E27FC236}">
                <a16:creationId xmlns:a16="http://schemas.microsoft.com/office/drawing/2014/main" id="{78EE7002-C39A-5A48-B25E-20539A4FFD23}"/>
              </a:ext>
            </a:extLst>
          </p:cNvPr>
          <p:cNvSpPr>
            <a:spLocks noGrp="1"/>
          </p:cNvSpPr>
          <p:nvPr>
            <p:ph type="subTitle" idx="14"/>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US"/>
              <a:t>Click to edit Master subtitle style</a:t>
            </a:r>
            <a:endParaRPr lang="en-GB" noProof="0"/>
          </a:p>
        </p:txBody>
      </p:sp>
      <p:sp>
        <p:nvSpPr>
          <p:cNvPr id="36" name="Picture Placeholder 22">
            <a:extLst>
              <a:ext uri="{FF2B5EF4-FFF2-40B4-BE49-F238E27FC236}">
                <a16:creationId xmlns:a16="http://schemas.microsoft.com/office/drawing/2014/main" id="{8A849791-6852-4C64-AE72-FB234CCCE27F}"/>
              </a:ext>
            </a:extLst>
          </p:cNvPr>
          <p:cNvSpPr>
            <a:spLocks noGrp="1" noChangeAspect="1"/>
          </p:cNvSpPr>
          <p:nvPr>
            <p:ph type="pic" sz="quarter" idx="18"/>
          </p:nvPr>
        </p:nvSpPr>
        <p:spPr>
          <a:xfrm>
            <a:off x="6813533" y="1274619"/>
            <a:ext cx="5040000" cy="5040000"/>
          </a:xfrm>
          <a:custGeom>
            <a:avLst/>
            <a:gdLst>
              <a:gd name="connsiteX0" fmla="*/ 991609 w 1983218"/>
              <a:gd name="connsiteY0" fmla="*/ 0 h 1983218"/>
              <a:gd name="connsiteX1" fmla="*/ 1983218 w 1983218"/>
              <a:gd name="connsiteY1" fmla="*/ 991609 h 1983218"/>
              <a:gd name="connsiteX2" fmla="*/ 991679 w 1983218"/>
              <a:gd name="connsiteY2" fmla="*/ 1983218 h 1983218"/>
              <a:gd name="connsiteX3" fmla="*/ 236970 w 1983218"/>
              <a:gd name="connsiteY3" fmla="*/ 1634445 h 1983218"/>
              <a:gd name="connsiteX4" fmla="*/ 303087 w 1983218"/>
              <a:gd name="connsiteY4" fmla="*/ 1615274 h 1983218"/>
              <a:gd name="connsiteX5" fmla="*/ 372492 w 1983218"/>
              <a:gd name="connsiteY5" fmla="*/ 1609677 h 1983218"/>
              <a:gd name="connsiteX6" fmla="*/ 515919 w 1983218"/>
              <a:gd name="connsiteY6" fmla="*/ 1624440 h 1983218"/>
              <a:gd name="connsiteX7" fmla="*/ 637938 w 1983218"/>
              <a:gd name="connsiteY7" fmla="*/ 1637593 h 1983218"/>
              <a:gd name="connsiteX8" fmla="*/ 643955 w 1983218"/>
              <a:gd name="connsiteY8" fmla="*/ 1637523 h 1983218"/>
              <a:gd name="connsiteX9" fmla="*/ 747083 w 1983218"/>
              <a:gd name="connsiteY9" fmla="*/ 1603520 h 1983218"/>
              <a:gd name="connsiteX10" fmla="*/ 816768 w 1983218"/>
              <a:gd name="connsiteY10" fmla="*/ 1511167 h 1983218"/>
              <a:gd name="connsiteX11" fmla="*/ 835448 w 1983218"/>
              <a:gd name="connsiteY11" fmla="*/ 1457994 h 1983218"/>
              <a:gd name="connsiteX12" fmla="*/ 816558 w 1983218"/>
              <a:gd name="connsiteY12" fmla="*/ 1453166 h 1983218"/>
              <a:gd name="connsiteX13" fmla="*/ 810261 w 1983218"/>
              <a:gd name="connsiteY13" fmla="*/ 1465830 h 1983218"/>
              <a:gd name="connsiteX14" fmla="*/ 747083 w 1983218"/>
              <a:gd name="connsiteY14" fmla="*/ 1537893 h 1983218"/>
              <a:gd name="connsiteX15" fmla="*/ 701466 w 1983218"/>
              <a:gd name="connsiteY15" fmla="*/ 1559862 h 1983218"/>
              <a:gd name="connsiteX16" fmla="*/ 627303 w 1983218"/>
              <a:gd name="connsiteY16" fmla="*/ 1568748 h 1983218"/>
              <a:gd name="connsiteX17" fmla="*/ 571192 w 1983218"/>
              <a:gd name="connsiteY17" fmla="*/ 1566789 h 1983218"/>
              <a:gd name="connsiteX18" fmla="*/ 508573 w 1983218"/>
              <a:gd name="connsiteY18" fmla="*/ 1562941 h 1983218"/>
              <a:gd name="connsiteX19" fmla="*/ 443576 w 1983218"/>
              <a:gd name="connsiteY19" fmla="*/ 1560352 h 1983218"/>
              <a:gd name="connsiteX20" fmla="*/ 392922 w 1983218"/>
              <a:gd name="connsiteY20" fmla="*/ 1562871 h 1983218"/>
              <a:gd name="connsiteX21" fmla="*/ 745334 w 1983218"/>
              <a:gd name="connsiteY21" fmla="*/ 1091659 h 1983218"/>
              <a:gd name="connsiteX22" fmla="*/ 301828 w 1983218"/>
              <a:gd name="connsiteY22" fmla="*/ 1091659 h 1983218"/>
              <a:gd name="connsiteX23" fmla="*/ 267125 w 1983218"/>
              <a:gd name="connsiteY23" fmla="*/ 1225291 h 1983218"/>
              <a:gd name="connsiteX24" fmla="*/ 287835 w 1983218"/>
              <a:gd name="connsiteY24" fmla="*/ 1229979 h 1983218"/>
              <a:gd name="connsiteX25" fmla="*/ 293572 w 1983218"/>
              <a:gd name="connsiteY25" fmla="*/ 1218924 h 1983218"/>
              <a:gd name="connsiteX26" fmla="*/ 336950 w 1983218"/>
              <a:gd name="connsiteY26" fmla="*/ 1167361 h 1983218"/>
              <a:gd name="connsiteX27" fmla="*/ 380328 w 1983218"/>
              <a:gd name="connsiteY27" fmla="*/ 1149659 h 1983218"/>
              <a:gd name="connsiteX28" fmla="*/ 485975 w 1983218"/>
              <a:gd name="connsiteY28" fmla="*/ 1141474 h 1983218"/>
              <a:gd name="connsiteX29" fmla="*/ 523755 w 1983218"/>
              <a:gd name="connsiteY29" fmla="*/ 1141544 h 1983218"/>
              <a:gd name="connsiteX30" fmla="*/ 561886 w 1983218"/>
              <a:gd name="connsiteY30" fmla="*/ 1141474 h 1983218"/>
              <a:gd name="connsiteX31" fmla="*/ 210943 w 1983218"/>
              <a:gd name="connsiteY31" fmla="*/ 1602681 h 1983218"/>
              <a:gd name="connsiteX32" fmla="*/ 0 w 1983218"/>
              <a:gd name="connsiteY32" fmla="*/ 991609 h 1983218"/>
              <a:gd name="connsiteX33" fmla="*/ 991609 w 1983218"/>
              <a:gd name="connsiteY33" fmla="*/ 0 h 198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83218" h="1983218">
                <a:moveTo>
                  <a:pt x="991609" y="0"/>
                </a:moveTo>
                <a:cubicBezTo>
                  <a:pt x="1539293" y="0"/>
                  <a:pt x="1983218" y="443996"/>
                  <a:pt x="1983218" y="991609"/>
                </a:cubicBezTo>
                <a:cubicBezTo>
                  <a:pt x="1983218" y="1539293"/>
                  <a:pt x="1539293" y="1983218"/>
                  <a:pt x="991679" y="1983218"/>
                </a:cubicBezTo>
                <a:cubicBezTo>
                  <a:pt x="689362" y="1983218"/>
                  <a:pt x="418878" y="1847767"/>
                  <a:pt x="236970" y="1634445"/>
                </a:cubicBezTo>
                <a:cubicBezTo>
                  <a:pt x="261668" y="1623390"/>
                  <a:pt x="274122" y="1619822"/>
                  <a:pt x="303087" y="1615274"/>
                </a:cubicBezTo>
                <a:cubicBezTo>
                  <a:pt x="326245" y="1611496"/>
                  <a:pt x="348494" y="1609677"/>
                  <a:pt x="372492" y="1609677"/>
                </a:cubicBezTo>
                <a:cubicBezTo>
                  <a:pt x="408314" y="1609677"/>
                  <a:pt x="444625" y="1613455"/>
                  <a:pt x="515919" y="1624440"/>
                </a:cubicBezTo>
                <a:cubicBezTo>
                  <a:pt x="586024" y="1635144"/>
                  <a:pt x="608693" y="1637593"/>
                  <a:pt x="637938" y="1637593"/>
                </a:cubicBezTo>
                <a:lnTo>
                  <a:pt x="643955" y="1637523"/>
                </a:lnTo>
                <a:cubicBezTo>
                  <a:pt x="683485" y="1636823"/>
                  <a:pt x="716858" y="1625909"/>
                  <a:pt x="747083" y="1603520"/>
                </a:cubicBezTo>
                <a:cubicBezTo>
                  <a:pt x="776468" y="1581831"/>
                  <a:pt x="797807" y="1553425"/>
                  <a:pt x="816768" y="1511167"/>
                </a:cubicBezTo>
                <a:cubicBezTo>
                  <a:pt x="826073" y="1490317"/>
                  <a:pt x="829291" y="1481362"/>
                  <a:pt x="835448" y="1457994"/>
                </a:cubicBezTo>
                <a:lnTo>
                  <a:pt x="816558" y="1453166"/>
                </a:lnTo>
                <a:cubicBezTo>
                  <a:pt x="813969" y="1458763"/>
                  <a:pt x="811660" y="1463031"/>
                  <a:pt x="810261" y="1465830"/>
                </a:cubicBezTo>
                <a:cubicBezTo>
                  <a:pt x="795918" y="1493326"/>
                  <a:pt x="771850" y="1520752"/>
                  <a:pt x="747083" y="1537893"/>
                </a:cubicBezTo>
                <a:cubicBezTo>
                  <a:pt x="732950" y="1547478"/>
                  <a:pt x="717628" y="1554895"/>
                  <a:pt x="701466" y="1559862"/>
                </a:cubicBezTo>
                <a:cubicBezTo>
                  <a:pt x="680546" y="1566229"/>
                  <a:pt x="659557" y="1568748"/>
                  <a:pt x="627303" y="1568748"/>
                </a:cubicBezTo>
                <a:cubicBezTo>
                  <a:pt x="612821" y="1568748"/>
                  <a:pt x="593720" y="1568048"/>
                  <a:pt x="571192" y="1566789"/>
                </a:cubicBezTo>
                <a:lnTo>
                  <a:pt x="508573" y="1562941"/>
                </a:lnTo>
                <a:cubicBezTo>
                  <a:pt x="479608" y="1561262"/>
                  <a:pt x="457849" y="1560352"/>
                  <a:pt x="443576" y="1560352"/>
                </a:cubicBezTo>
                <a:cubicBezTo>
                  <a:pt x="425035" y="1560352"/>
                  <a:pt x="415800" y="1560842"/>
                  <a:pt x="392922" y="1562871"/>
                </a:cubicBezTo>
                <a:lnTo>
                  <a:pt x="745334" y="1091659"/>
                </a:lnTo>
                <a:lnTo>
                  <a:pt x="301828" y="1091659"/>
                </a:lnTo>
                <a:lnTo>
                  <a:pt x="267125" y="1225291"/>
                </a:lnTo>
                <a:lnTo>
                  <a:pt x="287835" y="1229979"/>
                </a:lnTo>
                <a:cubicBezTo>
                  <a:pt x="290283" y="1224871"/>
                  <a:pt x="292242" y="1221303"/>
                  <a:pt x="293572" y="1218924"/>
                </a:cubicBezTo>
                <a:cubicBezTo>
                  <a:pt x="305116" y="1198285"/>
                  <a:pt x="322817" y="1177225"/>
                  <a:pt x="336950" y="1167361"/>
                </a:cubicBezTo>
                <a:cubicBezTo>
                  <a:pt x="348984" y="1158895"/>
                  <a:pt x="363746" y="1152948"/>
                  <a:pt x="380328" y="1149659"/>
                </a:cubicBezTo>
                <a:cubicBezTo>
                  <a:pt x="407684" y="1144342"/>
                  <a:pt x="445605" y="1141474"/>
                  <a:pt x="485975" y="1141474"/>
                </a:cubicBezTo>
                <a:lnTo>
                  <a:pt x="523755" y="1141544"/>
                </a:lnTo>
                <a:lnTo>
                  <a:pt x="561886" y="1141474"/>
                </a:lnTo>
                <a:lnTo>
                  <a:pt x="210943" y="1602681"/>
                </a:lnTo>
                <a:cubicBezTo>
                  <a:pt x="78920" y="1434276"/>
                  <a:pt x="0" y="1222213"/>
                  <a:pt x="0" y="991609"/>
                </a:cubicBezTo>
                <a:cubicBezTo>
                  <a:pt x="0" y="443996"/>
                  <a:pt x="443996" y="0"/>
                  <a:pt x="991609" y="0"/>
                </a:cubicBezTo>
                <a:close/>
              </a:path>
            </a:pathLst>
          </a:custGeom>
        </p:spPr>
        <p:txBody>
          <a:bodyPr wrap="square">
            <a:noAutofit/>
          </a:bodyPr>
          <a:lstStyle>
            <a:lvl1pPr marL="0" indent="0" algn="ctr">
              <a:buNone/>
              <a:defRPr>
                <a:latin typeface="+mn-lt"/>
                <a:cs typeface="Arial" panose="020B0604020202020204" pitchFamily="34" charset="0"/>
              </a:defRPr>
            </a:lvl1pPr>
          </a:lstStyle>
          <a:p>
            <a:r>
              <a:rPr lang="en-US"/>
              <a:t>Click icon to add picture</a:t>
            </a:r>
          </a:p>
        </p:txBody>
      </p:sp>
      <p:sp>
        <p:nvSpPr>
          <p:cNvPr id="32" name="Slide Number Placeholder 5">
            <a:extLst>
              <a:ext uri="{FF2B5EF4-FFF2-40B4-BE49-F238E27FC236}">
                <a16:creationId xmlns:a16="http://schemas.microsoft.com/office/drawing/2014/main" id="{93FBEF06-3376-4805-93CA-9F93395D9603}"/>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84B6CFBF-971A-45D4-9A48-C535D13B975C}"/>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33" name="ZRS Logo Horozontal">
            <a:extLst>
              <a:ext uri="{FF2B5EF4-FFF2-40B4-BE49-F238E27FC236}">
                <a16:creationId xmlns:a16="http://schemas.microsoft.com/office/drawing/2014/main" id="{B8B0A329-2F2D-4DA1-B6CD-13CFB89F2A3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7446" y="325479"/>
            <a:ext cx="1501200" cy="498456"/>
          </a:xfrm>
          <a:prstGeom prst="rect">
            <a:avLst/>
          </a:prstGeom>
        </p:spPr>
      </p:pic>
    </p:spTree>
    <p:extLst>
      <p:ext uri="{BB962C8B-B14F-4D97-AF65-F5344CB8AC3E}">
        <p14:creationId xmlns:p14="http://schemas.microsoft.com/office/powerpoint/2010/main" val="32357760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text box and 3 images ">
    <p:spTree>
      <p:nvGrpSpPr>
        <p:cNvPr id="1" name=""/>
        <p:cNvGrpSpPr/>
        <p:nvPr/>
      </p:nvGrpSpPr>
      <p:grpSpPr>
        <a:xfrm>
          <a:off x="0" y="0"/>
          <a:ext cx="0" cy="0"/>
          <a:chOff x="0" y="0"/>
          <a:chExt cx="0" cy="0"/>
        </a:xfrm>
      </p:grpSpPr>
      <p:sp>
        <p:nvSpPr>
          <p:cNvPr id="16" name="Picture Placeholder 3">
            <a:extLst>
              <a:ext uri="{FF2B5EF4-FFF2-40B4-BE49-F238E27FC236}">
                <a16:creationId xmlns:a16="http://schemas.microsoft.com/office/drawing/2014/main" id="{240E76D1-56AB-41F8-8334-371CEAB4738C}"/>
              </a:ext>
            </a:extLst>
          </p:cNvPr>
          <p:cNvSpPr>
            <a:spLocks noGrp="1"/>
          </p:cNvSpPr>
          <p:nvPr>
            <p:ph type="pic" sz="quarter" idx="28" hasCustomPrompt="1"/>
          </p:nvPr>
        </p:nvSpPr>
        <p:spPr>
          <a:xfrm>
            <a:off x="1079656" y="1436992"/>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en-GB"/>
              <a:t>Add picture here</a:t>
            </a:r>
          </a:p>
        </p:txBody>
      </p:sp>
      <p:sp>
        <p:nvSpPr>
          <p:cNvPr id="17" name="Picture Placeholder 3">
            <a:extLst>
              <a:ext uri="{FF2B5EF4-FFF2-40B4-BE49-F238E27FC236}">
                <a16:creationId xmlns:a16="http://schemas.microsoft.com/office/drawing/2014/main" id="{BFDFBA93-64DC-4F26-953C-E4271D7A5F2C}"/>
              </a:ext>
            </a:extLst>
          </p:cNvPr>
          <p:cNvSpPr>
            <a:spLocks noGrp="1"/>
          </p:cNvSpPr>
          <p:nvPr>
            <p:ph type="pic" sz="quarter" idx="29" hasCustomPrompt="1"/>
          </p:nvPr>
        </p:nvSpPr>
        <p:spPr>
          <a:xfrm>
            <a:off x="4871864" y="1436992"/>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en-GB"/>
              <a:t>Add picture here</a:t>
            </a:r>
          </a:p>
        </p:txBody>
      </p:sp>
      <p:sp>
        <p:nvSpPr>
          <p:cNvPr id="18" name="Picture Placeholder 3">
            <a:extLst>
              <a:ext uri="{FF2B5EF4-FFF2-40B4-BE49-F238E27FC236}">
                <a16:creationId xmlns:a16="http://schemas.microsoft.com/office/drawing/2014/main" id="{33BE1813-D5B5-4415-BB63-F6AD5397276E}"/>
              </a:ext>
            </a:extLst>
          </p:cNvPr>
          <p:cNvSpPr>
            <a:spLocks noGrp="1"/>
          </p:cNvSpPr>
          <p:nvPr>
            <p:ph type="pic" sz="quarter" idx="30" hasCustomPrompt="1"/>
          </p:nvPr>
        </p:nvSpPr>
        <p:spPr>
          <a:xfrm>
            <a:off x="8688288" y="1436992"/>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en-GB"/>
              <a:t>Add picture here</a:t>
            </a:r>
          </a:p>
        </p:txBody>
      </p:sp>
      <p:sp>
        <p:nvSpPr>
          <p:cNvPr id="20" name="Title 1">
            <a:extLst>
              <a:ext uri="{FF2B5EF4-FFF2-40B4-BE49-F238E27FC236}">
                <a16:creationId xmlns:a16="http://schemas.microsoft.com/office/drawing/2014/main" id="{6E310D89-47FE-194B-8632-078ED6BD782F}"/>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en-US"/>
              <a:t>Click to edit Master title style</a:t>
            </a:r>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US"/>
              <a:t>Click to edit Master subtitle style</a:t>
            </a:r>
            <a:endParaRPr lang="en-GB" noProof="0"/>
          </a:p>
        </p:txBody>
      </p:sp>
      <p:sp>
        <p:nvSpPr>
          <p:cNvPr id="33" name="Slide Number Placeholder 5">
            <a:extLst>
              <a:ext uri="{FF2B5EF4-FFF2-40B4-BE49-F238E27FC236}">
                <a16:creationId xmlns:a16="http://schemas.microsoft.com/office/drawing/2014/main" id="{714EC8C7-A133-478F-BF8B-66FEF67BC793}"/>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5" name="Footer Placeholder 3">
            <a:extLst>
              <a:ext uri="{FF2B5EF4-FFF2-40B4-BE49-F238E27FC236}">
                <a16:creationId xmlns:a16="http://schemas.microsoft.com/office/drawing/2014/main" id="{E5C41A63-DFB8-45B3-BA91-86A5B9928FC9}"/>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34" name="ZRS Logo Horozontal">
            <a:extLst>
              <a:ext uri="{FF2B5EF4-FFF2-40B4-BE49-F238E27FC236}">
                <a16:creationId xmlns:a16="http://schemas.microsoft.com/office/drawing/2014/main" id="{6EC7F1FE-0665-4DAB-989B-C24A4769345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7446" y="325479"/>
            <a:ext cx="1501200" cy="498456"/>
          </a:xfrm>
          <a:prstGeom prst="rect">
            <a:avLst/>
          </a:prstGeom>
        </p:spPr>
      </p:pic>
    </p:spTree>
    <p:extLst>
      <p:ext uri="{BB962C8B-B14F-4D97-AF65-F5344CB8AC3E}">
        <p14:creationId xmlns:p14="http://schemas.microsoft.com/office/powerpoint/2010/main" val="9725224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V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660FE9-7058-445A-A87D-587C9395E97C}"/>
              </a:ext>
            </a:extLst>
          </p:cNvPr>
          <p:cNvSpPr/>
          <p:nvPr userDrawn="1"/>
        </p:nvSpPr>
        <p:spPr>
          <a:xfrm>
            <a:off x="8234008" y="0"/>
            <a:ext cx="3960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000">
              <a:latin typeface="+mn-lt"/>
              <a:cs typeface="Arial" panose="020B0604020202020204" pitchFamily="34" charset="0"/>
            </a:endParaRPr>
          </a:p>
        </p:txBody>
      </p:sp>
      <p:sp>
        <p:nvSpPr>
          <p:cNvPr id="18" name="Picture Placeholder 3">
            <a:extLst>
              <a:ext uri="{FF2B5EF4-FFF2-40B4-BE49-F238E27FC236}">
                <a16:creationId xmlns:a16="http://schemas.microsoft.com/office/drawing/2014/main" id="{33BE1813-D5B5-4415-BB63-F6AD5397276E}"/>
              </a:ext>
            </a:extLst>
          </p:cNvPr>
          <p:cNvSpPr>
            <a:spLocks noGrp="1"/>
          </p:cNvSpPr>
          <p:nvPr>
            <p:ph type="pic" sz="quarter" idx="30" hasCustomPrompt="1"/>
          </p:nvPr>
        </p:nvSpPr>
        <p:spPr>
          <a:xfrm>
            <a:off x="9413053" y="1509000"/>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en-GB"/>
              <a:t>Add picture here</a:t>
            </a:r>
          </a:p>
        </p:txBody>
      </p:sp>
      <p:sp>
        <p:nvSpPr>
          <p:cNvPr id="20" name="Title 1">
            <a:extLst>
              <a:ext uri="{FF2B5EF4-FFF2-40B4-BE49-F238E27FC236}">
                <a16:creationId xmlns:a16="http://schemas.microsoft.com/office/drawing/2014/main" id="{6E310D89-47FE-194B-8632-078ED6BD782F}"/>
              </a:ext>
            </a:extLst>
          </p:cNvPr>
          <p:cNvSpPr>
            <a:spLocks noGrp="1"/>
          </p:cNvSpPr>
          <p:nvPr>
            <p:ph type="title"/>
          </p:nvPr>
        </p:nvSpPr>
        <p:spPr>
          <a:xfrm>
            <a:off x="252659" y="260268"/>
            <a:ext cx="7621515" cy="332399"/>
          </a:xfrm>
        </p:spPr>
        <p:txBody>
          <a:bodyPr wrap="square">
            <a:spAutoFit/>
          </a:bodyPr>
          <a:lstStyle>
            <a:lvl1pPr>
              <a:defRPr>
                <a:latin typeface="+mj-lt"/>
                <a:cs typeface="Arial" panose="020B0604020202020204" pitchFamily="34" charset="0"/>
              </a:defRPr>
            </a:lvl1pPr>
          </a:lstStyle>
          <a:p>
            <a:r>
              <a:rPr lang="en-US"/>
              <a:t>Click to edit Master title style</a:t>
            </a:r>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p:nvPr>
        </p:nvSpPr>
        <p:spPr>
          <a:xfrm>
            <a:off x="252658" y="610597"/>
            <a:ext cx="76215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US"/>
              <a:t>Click to edit Master subtitle style</a:t>
            </a:r>
            <a:endParaRPr lang="en-GB" noProof="0"/>
          </a:p>
        </p:txBody>
      </p:sp>
      <p:sp>
        <p:nvSpPr>
          <p:cNvPr id="33" name="Content Placeholder 2">
            <a:extLst>
              <a:ext uri="{FF2B5EF4-FFF2-40B4-BE49-F238E27FC236}">
                <a16:creationId xmlns:a16="http://schemas.microsoft.com/office/drawing/2014/main" id="{22F76E53-ED3E-4712-828A-462700FD54D1}"/>
              </a:ext>
            </a:extLst>
          </p:cNvPr>
          <p:cNvSpPr>
            <a:spLocks noGrp="1"/>
          </p:cNvSpPr>
          <p:nvPr>
            <p:ph idx="1"/>
          </p:nvPr>
        </p:nvSpPr>
        <p:spPr>
          <a:xfrm>
            <a:off x="250824" y="1206178"/>
            <a:ext cx="7621515"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Slide Number Placeholder 5">
            <a:extLst>
              <a:ext uri="{FF2B5EF4-FFF2-40B4-BE49-F238E27FC236}">
                <a16:creationId xmlns:a16="http://schemas.microsoft.com/office/drawing/2014/main" id="{3E83A98D-348B-40D1-B8DE-954D062DE5ED}"/>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5" name="TextBox 34">
            <a:extLst>
              <a:ext uri="{FF2B5EF4-FFF2-40B4-BE49-F238E27FC236}">
                <a16:creationId xmlns:a16="http://schemas.microsoft.com/office/drawing/2014/main" id="{20454A9A-E833-4775-8C2D-33EB42BCE6B5}"/>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37" name="ZRS Logo Horozontal">
            <a:extLst>
              <a:ext uri="{FF2B5EF4-FFF2-40B4-BE49-F238E27FC236}">
                <a16:creationId xmlns:a16="http://schemas.microsoft.com/office/drawing/2014/main" id="{A47A6FEC-CE05-498E-B690-ED614552D0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7446" y="325479"/>
            <a:ext cx="1501200" cy="498456"/>
          </a:xfrm>
          <a:prstGeom prst="rect">
            <a:avLst/>
          </a:prstGeom>
        </p:spPr>
      </p:pic>
    </p:spTree>
    <p:extLst>
      <p:ext uri="{BB962C8B-B14F-4D97-AF65-F5344CB8AC3E}">
        <p14:creationId xmlns:p14="http://schemas.microsoft.com/office/powerpoint/2010/main" val="14402169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with Numbers">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11457A8-B05F-D52B-FBFB-879115B83C2E}"/>
              </a:ext>
            </a:extLst>
          </p:cNvPr>
          <p:cNvGraphicFramePr>
            <a:graphicFrameLocks noChangeAspect="1"/>
          </p:cNvGraphicFramePr>
          <p:nvPr userDrawn="1">
            <p:custDataLst>
              <p:tags r:id="rId1"/>
            </p:custDataLst>
            <p:extLst>
              <p:ext uri="{D42A27DB-BD31-4B8C-83A1-F6EECF244321}">
                <p14:modId xmlns:p14="http://schemas.microsoft.com/office/powerpoint/2010/main" val="1362604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911457A8-B05F-D52B-FBFB-879115B83C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34800" y="260268"/>
            <a:ext cx="9485137" cy="332399"/>
          </a:xfrm>
        </p:spPr>
        <p:txBody>
          <a:bodyPr vert="horz" wrap="square">
            <a:spAutoFit/>
          </a:bodyPr>
          <a:lstStyle>
            <a:lvl1pPr rtl="0">
              <a:defRPr>
                <a:latin typeface="+mj-lt"/>
                <a:cs typeface="Arial" panose="020B0604020202020204" pitchFamily="34" charset="0"/>
              </a:defRPr>
            </a:lvl1pPr>
          </a:lstStyle>
          <a:p>
            <a:r>
              <a:rPr lang="de-DE"/>
              <a:t>Click to edit Master title style</a:t>
            </a:r>
          </a:p>
        </p:txBody>
      </p:sp>
      <p:sp>
        <p:nvSpPr>
          <p:cNvPr id="3" name="Content Placeholder 2"/>
          <p:cNvSpPr>
            <a:spLocks noGrp="1"/>
          </p:cNvSpPr>
          <p:nvPr>
            <p:ph idx="1" hasCustomPrompt="1"/>
          </p:nvPr>
        </p:nvSpPr>
        <p:spPr>
          <a:xfrm>
            <a:off x="334964" y="1208576"/>
            <a:ext cx="11522074" cy="5040145"/>
          </a:xfrm>
        </p:spPr>
        <p:txBody>
          <a:bodyPr/>
          <a:lstStyle>
            <a:lvl1pPr marL="269875" indent="-269875" rtl="0">
              <a:buFont typeface="+mj-lt"/>
              <a:buAutoNum type="arabicPeriod"/>
              <a:defRPr sz="1800">
                <a:latin typeface="+mn-lt"/>
                <a:cs typeface="Arial" panose="020B0604020202020204" pitchFamily="34" charset="0"/>
              </a:defRPr>
            </a:lvl1pPr>
            <a:lvl2pPr marL="539750" indent="-269875" rtl="0">
              <a:buFont typeface="+mj-lt"/>
              <a:buAutoNum type="arabicPeriod"/>
              <a:defRPr sz="1600">
                <a:latin typeface="+mn-lt"/>
                <a:cs typeface="Arial" panose="020B0604020202020204" pitchFamily="34" charset="0"/>
              </a:defRPr>
            </a:lvl2pPr>
            <a:lvl3pPr marL="717550" indent="-177800" rtl="0">
              <a:buFont typeface="+mj-lt"/>
              <a:buAutoNum type="arabicPeriod"/>
              <a:tabLst/>
              <a:defRPr sz="1400">
                <a:latin typeface="+mn-lt"/>
                <a:cs typeface="Arial" panose="020B0604020202020204" pitchFamily="34" charset="0"/>
              </a:defRPr>
            </a:lvl3pPr>
            <a:lvl4pPr marL="898525" indent="-180975" rtl="0">
              <a:buFont typeface="+mj-lt"/>
              <a:buAutoNum type="arabicPeriod"/>
              <a:defRPr sz="1200">
                <a:latin typeface="+mn-lt"/>
                <a:cs typeface="Arial" panose="020B0604020202020204" pitchFamily="34" charset="0"/>
              </a:defRPr>
            </a:lvl4pPr>
            <a:lvl5pPr marL="1074738" indent="-176213" rtl="0">
              <a:buFont typeface="+mj-lt"/>
              <a:buAutoNum type="arabicPeriod"/>
              <a:defRPr sz="1200">
                <a:latin typeface="+mn-lt"/>
                <a:cs typeface="Arial" panose="020B0604020202020204" pitchFamily="34" charset="0"/>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21" name="Subtitle 2">
            <a:extLst>
              <a:ext uri="{FF2B5EF4-FFF2-40B4-BE49-F238E27FC236}">
                <a16:creationId xmlns:a16="http://schemas.microsoft.com/office/drawing/2014/main" id="{29817F0A-3E21-4700-B3FF-0F0F0F4AA75C}"/>
              </a:ext>
            </a:extLst>
          </p:cNvPr>
          <p:cNvSpPr>
            <a:spLocks noGrp="1"/>
          </p:cNvSpPr>
          <p:nvPr>
            <p:ph type="subTitle" idx="13" hasCustomPrompt="1"/>
          </p:nvPr>
        </p:nvSpPr>
        <p:spPr>
          <a:xfrm>
            <a:off x="334800" y="610597"/>
            <a:ext cx="9485138" cy="332399"/>
          </a:xfrm>
          <a:prstGeom prst="rect">
            <a:avLst/>
          </a:prstGeom>
        </p:spPr>
        <p:txBody>
          <a:bodyPr anchor="t">
            <a:normAutofit/>
          </a:bodyPr>
          <a:lstStyle>
            <a:lvl1pPr marL="0" indent="0" algn="l" rtl="0">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Click to edit Master subtitle style</a:t>
            </a:r>
            <a:endParaRPr lang="de-DE" noProof="0"/>
          </a:p>
        </p:txBody>
      </p:sp>
      <p:sp>
        <p:nvSpPr>
          <p:cNvPr id="18" name="Slide Number Placeholder 5">
            <a:extLst>
              <a:ext uri="{FF2B5EF4-FFF2-40B4-BE49-F238E27FC236}">
                <a16:creationId xmlns:a16="http://schemas.microsoft.com/office/drawing/2014/main" id="{8031B39C-DF70-43CD-94D0-81EF6CC024A6}"/>
              </a:ext>
            </a:extLst>
          </p:cNvPr>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33" name="Footer Placeholder 3">
            <a:extLst>
              <a:ext uri="{FF2B5EF4-FFF2-40B4-BE49-F238E27FC236}">
                <a16:creationId xmlns:a16="http://schemas.microsoft.com/office/drawing/2014/main" id="{4ED371B5-D44C-4D74-B5F8-F89D42D71670}"/>
              </a:ext>
            </a:extLst>
          </p:cNvPr>
          <p:cNvSpPr>
            <a:spLocks noGrp="1"/>
          </p:cNvSpPr>
          <p:nvPr>
            <p:ph type="ftr" sz="quarter" idx="3"/>
          </p:nvPr>
        </p:nvSpPr>
        <p:spPr>
          <a:xfrm>
            <a:off x="2261053" y="6531715"/>
            <a:ext cx="8112000" cy="181960"/>
          </a:xfrm>
          <a:prstGeom prst="rect">
            <a:avLst/>
          </a:prstGeom>
        </p:spPr>
        <p:txBody>
          <a:bodyPr lIns="0" tIns="0" rIns="0" bIns="0"/>
          <a:lstStyle>
            <a:lvl1pPr algn="r" rtl="0">
              <a:defRPr sz="900">
                <a:solidFill>
                  <a:schemeClr val="accent1"/>
                </a:solidFill>
                <a:latin typeface="+mn-lt"/>
                <a:cs typeface="Arial" panose="020B0604020202020204" pitchFamily="34" charset="0"/>
              </a:defRPr>
            </a:lvl1pPr>
          </a:lstStyle>
          <a:p>
            <a:endParaRPr lang="de-DE"/>
          </a:p>
        </p:txBody>
      </p:sp>
    </p:spTree>
    <p:extLst>
      <p:ext uri="{BB962C8B-B14F-4D97-AF65-F5344CB8AC3E}">
        <p14:creationId xmlns:p14="http://schemas.microsoft.com/office/powerpoint/2010/main" val="24611766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9979B0B5-DCB0-844D-8724-1DB31C8A8C0B}"/>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en-US"/>
              <a:t>Click to edit Master title style</a:t>
            </a:r>
          </a:p>
        </p:txBody>
      </p:sp>
      <p:sp>
        <p:nvSpPr>
          <p:cNvPr id="28" name="Slide Number Placeholder 5">
            <a:extLst>
              <a:ext uri="{FF2B5EF4-FFF2-40B4-BE49-F238E27FC236}">
                <a16:creationId xmlns:a16="http://schemas.microsoft.com/office/drawing/2014/main" id="{54613BA4-3F37-477A-9F83-816FFC37569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0" name="Footer Placeholder 3">
            <a:extLst>
              <a:ext uri="{FF2B5EF4-FFF2-40B4-BE49-F238E27FC236}">
                <a16:creationId xmlns:a16="http://schemas.microsoft.com/office/drawing/2014/main" id="{3866945B-F4D3-4972-8A47-C02C9E2AC957}"/>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29" name="ZRS Logo Horozontal">
            <a:extLst>
              <a:ext uri="{FF2B5EF4-FFF2-40B4-BE49-F238E27FC236}">
                <a16:creationId xmlns:a16="http://schemas.microsoft.com/office/drawing/2014/main" id="{9CC93537-8327-4669-89B8-B3AD6ACE043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7446" y="325479"/>
            <a:ext cx="1501200" cy="498456"/>
          </a:xfrm>
          <a:prstGeom prst="rect">
            <a:avLst/>
          </a:prstGeom>
        </p:spPr>
      </p:pic>
    </p:spTree>
    <p:extLst>
      <p:ext uri="{BB962C8B-B14F-4D97-AF65-F5344CB8AC3E}">
        <p14:creationId xmlns:p14="http://schemas.microsoft.com/office/powerpoint/2010/main" val="8614632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no Logo">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9979B0B5-DCB0-844D-8724-1DB31C8A8C0B}"/>
              </a:ext>
            </a:extLst>
          </p:cNvPr>
          <p:cNvSpPr>
            <a:spLocks noGrp="1"/>
          </p:cNvSpPr>
          <p:nvPr>
            <p:ph type="title"/>
          </p:nvPr>
        </p:nvSpPr>
        <p:spPr>
          <a:xfrm>
            <a:off x="252659" y="260268"/>
            <a:ext cx="9586415" cy="332399"/>
          </a:xfrm>
        </p:spPr>
        <p:txBody>
          <a:bodyPr>
            <a:spAutoFit/>
          </a:bodyPr>
          <a:lstStyle>
            <a:lvl1pPr>
              <a:defRPr>
                <a:latin typeface="+mj-lt"/>
              </a:defRPr>
            </a:lvl1pPr>
          </a:lstStyle>
          <a:p>
            <a:r>
              <a:rPr lang="en-US"/>
              <a:t>Click to edit Master title style</a:t>
            </a:r>
          </a:p>
        </p:txBody>
      </p:sp>
      <p:sp>
        <p:nvSpPr>
          <p:cNvPr id="6" name="Slide Number Placeholder 5">
            <a:extLst>
              <a:ext uri="{FF2B5EF4-FFF2-40B4-BE49-F238E27FC236}">
                <a16:creationId xmlns:a16="http://schemas.microsoft.com/office/drawing/2014/main" id="{6E1B8922-F046-4949-89A1-82828F430E98}"/>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defRPr>
            </a:lvl1pPr>
          </a:lstStyle>
          <a:p>
            <a:fld id="{FA58F0B4-6BC7-4BFB-804F-EE9B892902C7}" type="slidenum">
              <a:rPr lang="en-US" smtClean="0"/>
              <a:pPr/>
              <a:t>‹nr.›</a:t>
            </a:fld>
            <a:endParaRPr lang="en-US"/>
          </a:p>
        </p:txBody>
      </p:sp>
      <p:sp>
        <p:nvSpPr>
          <p:cNvPr id="8" name="Footer Placeholder 3">
            <a:extLst>
              <a:ext uri="{FF2B5EF4-FFF2-40B4-BE49-F238E27FC236}">
                <a16:creationId xmlns:a16="http://schemas.microsoft.com/office/drawing/2014/main" id="{A51A83C0-E586-4207-B521-E42A4141A04B}"/>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defRPr>
            </a:lvl1pPr>
          </a:lstStyle>
          <a:p>
            <a:endParaRPr lang="en-US"/>
          </a:p>
        </p:txBody>
      </p:sp>
      <p:pic>
        <p:nvPicPr>
          <p:cNvPr id="5" name="ZRS Logo Horozontal">
            <a:extLst>
              <a:ext uri="{FF2B5EF4-FFF2-40B4-BE49-F238E27FC236}">
                <a16:creationId xmlns:a16="http://schemas.microsoft.com/office/drawing/2014/main" id="{49C005F0-7195-4786-88EE-F61441ACEB8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7446" y="325479"/>
            <a:ext cx="1501200" cy="498456"/>
          </a:xfrm>
          <a:prstGeom prst="rect">
            <a:avLst/>
          </a:prstGeom>
        </p:spPr>
      </p:pic>
    </p:spTree>
    <p:extLst>
      <p:ext uri="{BB962C8B-B14F-4D97-AF65-F5344CB8AC3E}">
        <p14:creationId xmlns:p14="http://schemas.microsoft.com/office/powerpoint/2010/main" val="29846623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Image">
    <p:bg>
      <p:bgPr>
        <a:solidFill>
          <a:schemeClr val="bg1"/>
        </a:solidFill>
        <a:effectLst/>
      </p:bgPr>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E1605E3C-D76A-4678-9277-BF9E20857561}"/>
              </a:ext>
            </a:extLst>
          </p:cNvPr>
          <p:cNvSpPr>
            <a:spLocks noGrp="1" noChangeAspect="1"/>
          </p:cNvSpPr>
          <p:nvPr>
            <p:ph type="pic" sz="quarter" idx="13" hasCustomPrompt="1"/>
          </p:nvPr>
        </p:nvSpPr>
        <p:spPr>
          <a:xfrm>
            <a:off x="7248128" y="1442037"/>
            <a:ext cx="4320000" cy="4320000"/>
          </a:xfrm>
          <a:prstGeom prst="ellipse">
            <a:avLst/>
          </a:prstGeom>
        </p:spPr>
        <p:txBody>
          <a:bodyPr/>
          <a:lstStyle>
            <a:lvl1pPr algn="ctr">
              <a:buNone/>
              <a:defRPr b="0" i="0">
                <a:solidFill>
                  <a:srgbClr val="1C67AF"/>
                </a:solidFill>
                <a:latin typeface="+mn-lt"/>
                <a:cs typeface="Arial" panose="020B0604020202020204" pitchFamily="34" charset="0"/>
              </a:defRPr>
            </a:lvl1pPr>
          </a:lstStyle>
          <a:p>
            <a:r>
              <a:rPr lang="en-US" noProof="0"/>
              <a:t>Add a picture here</a:t>
            </a:r>
          </a:p>
        </p:txBody>
      </p:sp>
      <p:sp>
        <p:nvSpPr>
          <p:cNvPr id="22" name="Slide Number Placeholder 5">
            <a:extLst>
              <a:ext uri="{FF2B5EF4-FFF2-40B4-BE49-F238E27FC236}">
                <a16:creationId xmlns:a16="http://schemas.microsoft.com/office/drawing/2014/main" id="{A6366AC5-1BE2-4E7D-B883-89CAF96B327D}"/>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23" name="Title 1">
            <a:extLst>
              <a:ext uri="{FF2B5EF4-FFF2-40B4-BE49-F238E27FC236}">
                <a16:creationId xmlns:a16="http://schemas.microsoft.com/office/drawing/2014/main" id="{FC885360-8473-4699-801C-9B04E3D233C8}"/>
              </a:ext>
            </a:extLst>
          </p:cNvPr>
          <p:cNvSpPr>
            <a:spLocks noGrp="1"/>
          </p:cNvSpPr>
          <p:nvPr>
            <p:ph type="ctrTitle" hasCustomPrompt="1"/>
          </p:nvPr>
        </p:nvSpPr>
        <p:spPr>
          <a:xfrm>
            <a:off x="250825" y="2490259"/>
            <a:ext cx="6722148" cy="2242079"/>
          </a:xfrm>
        </p:spPr>
        <p:txBody>
          <a:bodyPr anchor="b">
            <a:noAutofit/>
          </a:bodyPr>
          <a:lstStyle>
            <a:lvl1pPr algn="l">
              <a:defRPr sz="3600">
                <a:solidFill>
                  <a:schemeClr val="accent1"/>
                </a:solidFill>
                <a:latin typeface="+mj-lt"/>
                <a:cs typeface="Arial" panose="020B0604020202020204" pitchFamily="34" charset="0"/>
              </a:defRPr>
            </a:lvl1pPr>
          </a:lstStyle>
          <a:p>
            <a:r>
              <a:rPr lang="en-US"/>
              <a:t>Click to edit section title</a:t>
            </a:r>
          </a:p>
        </p:txBody>
      </p:sp>
      <p:sp>
        <p:nvSpPr>
          <p:cNvPr id="24" name="Subtitle 2">
            <a:extLst>
              <a:ext uri="{FF2B5EF4-FFF2-40B4-BE49-F238E27FC236}">
                <a16:creationId xmlns:a16="http://schemas.microsoft.com/office/drawing/2014/main" id="{A57272B1-D4B7-4B27-9A7A-1EB4697DECEC}"/>
              </a:ext>
            </a:extLst>
          </p:cNvPr>
          <p:cNvSpPr>
            <a:spLocks noGrp="1"/>
          </p:cNvSpPr>
          <p:nvPr>
            <p:ph type="subTitle" idx="14" hasCustomPrompt="1"/>
          </p:nvPr>
        </p:nvSpPr>
        <p:spPr>
          <a:xfrm>
            <a:off x="250825" y="4911725"/>
            <a:ext cx="6719063" cy="1283999"/>
          </a:xfrm>
        </p:spPr>
        <p:txBody>
          <a:bodyPr>
            <a:normAutofit/>
          </a:bodyPr>
          <a:lstStyle>
            <a:lvl1pPr marL="0" indent="0" algn="l">
              <a:buNone/>
              <a:defRPr sz="2000">
                <a:solidFill>
                  <a:schemeClr val="accent1"/>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section subtitle </a:t>
            </a:r>
          </a:p>
        </p:txBody>
      </p:sp>
      <p:pic>
        <p:nvPicPr>
          <p:cNvPr id="20" name="ZRS Logo Horozontal">
            <a:extLst>
              <a:ext uri="{FF2B5EF4-FFF2-40B4-BE49-F238E27FC236}">
                <a16:creationId xmlns:a16="http://schemas.microsoft.com/office/drawing/2014/main" id="{5FAEDBF8-2811-4A20-A7B3-B148968DCE3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016" y="325479"/>
            <a:ext cx="1501200" cy="498456"/>
          </a:xfrm>
          <a:prstGeom prst="rect">
            <a:avLst/>
          </a:prstGeom>
        </p:spPr>
      </p:pic>
    </p:spTree>
    <p:extLst>
      <p:ext uri="{BB962C8B-B14F-4D97-AF65-F5344CB8AC3E}">
        <p14:creationId xmlns:p14="http://schemas.microsoft.com/office/powerpoint/2010/main" val="36566173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p:bg>
      <p:bgPr>
        <a:solidFill>
          <a:schemeClr val="accent6"/>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250825" y="2490259"/>
            <a:ext cx="6722148" cy="2242079"/>
          </a:xfrm>
        </p:spPr>
        <p:txBody>
          <a:bodyPr anchor="b">
            <a:noAutofit/>
          </a:bodyPr>
          <a:lstStyle>
            <a:lvl1pPr algn="l">
              <a:defRPr sz="3600">
                <a:solidFill>
                  <a:schemeClr val="accent1"/>
                </a:solidFill>
                <a:latin typeface="+mj-lt"/>
                <a:cs typeface="Arial" panose="020B0604020202020204" pitchFamily="34" charset="0"/>
              </a:defRPr>
            </a:lvl1pPr>
          </a:lstStyle>
          <a:p>
            <a:r>
              <a:rPr lang="en-US"/>
              <a:t>Click to edit section title</a:t>
            </a:r>
          </a:p>
        </p:txBody>
      </p:sp>
      <p:sp>
        <p:nvSpPr>
          <p:cNvPr id="9" name="Subtitle 2">
            <a:extLst>
              <a:ext uri="{FF2B5EF4-FFF2-40B4-BE49-F238E27FC236}">
                <a16:creationId xmlns:a16="http://schemas.microsoft.com/office/drawing/2014/main" id="{5D52D574-4430-4847-B932-BA1C1DC56322}"/>
              </a:ext>
            </a:extLst>
          </p:cNvPr>
          <p:cNvSpPr>
            <a:spLocks noGrp="1"/>
          </p:cNvSpPr>
          <p:nvPr>
            <p:ph type="subTitle" idx="13" hasCustomPrompt="1"/>
          </p:nvPr>
        </p:nvSpPr>
        <p:spPr>
          <a:xfrm>
            <a:off x="250825" y="4911725"/>
            <a:ext cx="6719063" cy="1283999"/>
          </a:xfrm>
        </p:spPr>
        <p:txBody>
          <a:bodyPr>
            <a:normAutofit/>
          </a:bodyPr>
          <a:lstStyle>
            <a:lvl1pPr marL="0" indent="0" algn="l">
              <a:buNone/>
              <a:defRPr sz="2000">
                <a:solidFill>
                  <a:schemeClr val="accent1"/>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section subtitle </a:t>
            </a:r>
          </a:p>
        </p:txBody>
      </p:sp>
      <p:sp>
        <p:nvSpPr>
          <p:cNvPr id="18" name="Slide Number Placeholder 5">
            <a:extLst>
              <a:ext uri="{FF2B5EF4-FFF2-40B4-BE49-F238E27FC236}">
                <a16:creationId xmlns:a16="http://schemas.microsoft.com/office/drawing/2014/main" id="{6C2690B3-34BA-4DEA-AD15-F9112DF4223E}"/>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pic>
        <p:nvPicPr>
          <p:cNvPr id="16" name="ZRS Logo Horozontal">
            <a:extLst>
              <a:ext uri="{FF2B5EF4-FFF2-40B4-BE49-F238E27FC236}">
                <a16:creationId xmlns:a16="http://schemas.microsoft.com/office/drawing/2014/main" id="{28BAA2E4-F723-4622-8701-96C77368DCB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016" y="325479"/>
            <a:ext cx="1501200" cy="498456"/>
          </a:xfrm>
          <a:prstGeom prst="rect">
            <a:avLst/>
          </a:prstGeom>
        </p:spPr>
      </p:pic>
    </p:spTree>
    <p:extLst>
      <p:ext uri="{BB962C8B-B14F-4D97-AF65-F5344CB8AC3E}">
        <p14:creationId xmlns:p14="http://schemas.microsoft.com/office/powerpoint/2010/main" val="13466426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250825" y="2490259"/>
            <a:ext cx="6722148" cy="2242079"/>
          </a:xfrm>
        </p:spPr>
        <p:txBody>
          <a:bodyPr anchor="b">
            <a:noAutofit/>
          </a:bodyPr>
          <a:lstStyle>
            <a:lvl1pPr algn="l">
              <a:defRPr sz="3600">
                <a:solidFill>
                  <a:schemeClr val="accent6"/>
                </a:solidFill>
                <a:latin typeface="+mj-lt"/>
                <a:cs typeface="Arial" panose="020B0604020202020204" pitchFamily="34" charset="0"/>
              </a:defRPr>
            </a:lvl1pPr>
          </a:lstStyle>
          <a:p>
            <a:r>
              <a:rPr lang="en-US"/>
              <a:t>Click to edit title</a:t>
            </a:r>
          </a:p>
        </p:txBody>
      </p:sp>
      <p:sp>
        <p:nvSpPr>
          <p:cNvPr id="9" name="Subtitle 2">
            <a:extLst>
              <a:ext uri="{FF2B5EF4-FFF2-40B4-BE49-F238E27FC236}">
                <a16:creationId xmlns:a16="http://schemas.microsoft.com/office/drawing/2014/main" id="{5D52D574-4430-4847-B932-BA1C1DC56322}"/>
              </a:ext>
            </a:extLst>
          </p:cNvPr>
          <p:cNvSpPr>
            <a:spLocks noGrp="1"/>
          </p:cNvSpPr>
          <p:nvPr>
            <p:ph type="subTitle" idx="13" hasCustomPrompt="1"/>
          </p:nvPr>
        </p:nvSpPr>
        <p:spPr>
          <a:xfrm>
            <a:off x="250825" y="4911725"/>
            <a:ext cx="6719063" cy="1283999"/>
          </a:xfrm>
        </p:spPr>
        <p:txBody>
          <a:bodyPr>
            <a:normAutofit/>
          </a:bodyPr>
          <a:lstStyle>
            <a:lvl1pPr marL="0" indent="0" algn="l">
              <a:buNone/>
              <a:defRPr sz="2000">
                <a:solidFill>
                  <a:schemeClr val="accent6"/>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subtitle</a:t>
            </a:r>
          </a:p>
        </p:txBody>
      </p:sp>
      <p:sp>
        <p:nvSpPr>
          <p:cNvPr id="15" name="Picture Placeholder 2">
            <a:extLst>
              <a:ext uri="{FF2B5EF4-FFF2-40B4-BE49-F238E27FC236}">
                <a16:creationId xmlns:a16="http://schemas.microsoft.com/office/drawing/2014/main" id="{207E0EDD-CE7D-485D-90AA-EB92659F4C2E}"/>
              </a:ext>
            </a:extLst>
          </p:cNvPr>
          <p:cNvSpPr>
            <a:spLocks noGrp="1" noChangeAspect="1"/>
          </p:cNvSpPr>
          <p:nvPr>
            <p:ph type="pic" sz="quarter" idx="14" hasCustomPrompt="1"/>
          </p:nvPr>
        </p:nvSpPr>
        <p:spPr>
          <a:xfrm>
            <a:off x="9061251" y="1902437"/>
            <a:ext cx="3120000" cy="3120000"/>
          </a:xfrm>
          <a:prstGeom prst="ellipse">
            <a:avLst/>
          </a:prstGeom>
        </p:spPr>
        <p:txBody>
          <a:bodyPr/>
          <a:lstStyle>
            <a:lvl1pPr algn="ctr">
              <a:buNone/>
              <a:defRPr b="0" i="0">
                <a:solidFill>
                  <a:schemeClr val="accent6"/>
                </a:solidFill>
                <a:latin typeface="+mn-lt"/>
                <a:cs typeface="Arial" panose="020B0604020202020204" pitchFamily="34" charset="0"/>
              </a:defRPr>
            </a:lvl1pPr>
          </a:lstStyle>
          <a:p>
            <a:r>
              <a:rPr lang="en-GB"/>
              <a:t>Add a picture here</a:t>
            </a:r>
          </a:p>
        </p:txBody>
      </p:sp>
      <p:sp>
        <p:nvSpPr>
          <p:cNvPr id="16" name="Freeform 12">
            <a:extLst>
              <a:ext uri="{FF2B5EF4-FFF2-40B4-BE49-F238E27FC236}">
                <a16:creationId xmlns:a16="http://schemas.microsoft.com/office/drawing/2014/main" id="{CDD94F9F-17AF-4158-8273-144D6BB8BFBA}"/>
              </a:ext>
            </a:extLst>
          </p:cNvPr>
          <p:cNvSpPr/>
          <p:nvPr userDrawn="1"/>
        </p:nvSpPr>
        <p:spPr bwMode="auto">
          <a:xfrm rot="735038">
            <a:off x="9719774" y="4974386"/>
            <a:ext cx="933047" cy="469973"/>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7" name="Freeform 17">
            <a:extLst>
              <a:ext uri="{FF2B5EF4-FFF2-40B4-BE49-F238E27FC236}">
                <a16:creationId xmlns:a16="http://schemas.microsoft.com/office/drawing/2014/main" id="{03EA52F0-9F47-4C1A-A653-1F060850BB16}"/>
              </a:ext>
            </a:extLst>
          </p:cNvPr>
          <p:cNvSpPr/>
          <p:nvPr userDrawn="1"/>
        </p:nvSpPr>
        <p:spPr bwMode="auto">
          <a:xfrm rot="8315714" flipH="1">
            <a:off x="9180227" y="5547933"/>
            <a:ext cx="1677271" cy="86330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8" name="Oval 17">
            <a:extLst>
              <a:ext uri="{FF2B5EF4-FFF2-40B4-BE49-F238E27FC236}">
                <a16:creationId xmlns:a16="http://schemas.microsoft.com/office/drawing/2014/main" id="{6AED791D-1518-403F-BA5A-79F94E7CDCCB}"/>
              </a:ext>
            </a:extLst>
          </p:cNvPr>
          <p:cNvSpPr>
            <a:spLocks noChangeAspect="1"/>
          </p:cNvSpPr>
          <p:nvPr userDrawn="1"/>
        </p:nvSpPr>
        <p:spPr bwMode="auto">
          <a:xfrm rot="5400000">
            <a:off x="10403602" y="5983124"/>
            <a:ext cx="875301" cy="874456"/>
          </a:xfrm>
          <a:prstGeom prst="ellips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26" name="TextBox 25">
            <a:extLst>
              <a:ext uri="{FF2B5EF4-FFF2-40B4-BE49-F238E27FC236}">
                <a16:creationId xmlns:a16="http://schemas.microsoft.com/office/drawing/2014/main" id="{964649C4-0FE0-4E4D-B386-F39D40C28AE9}"/>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mn-lt"/>
                <a:cs typeface="Arial" panose="020B0604020202020204" pitchFamily="34" charset="0"/>
              </a:rPr>
              <a:t>© Zurich</a:t>
            </a:r>
          </a:p>
        </p:txBody>
      </p:sp>
      <p:pic>
        <p:nvPicPr>
          <p:cNvPr id="11" name="ZRS Logo Horozontal">
            <a:extLst>
              <a:ext uri="{FF2B5EF4-FFF2-40B4-BE49-F238E27FC236}">
                <a16:creationId xmlns:a16="http://schemas.microsoft.com/office/drawing/2014/main" id="{D2B33BE5-EB34-483C-92C0-DCBF73E42AA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016" y="325479"/>
            <a:ext cx="1501200" cy="498456"/>
          </a:xfrm>
          <a:prstGeom prst="rect">
            <a:avLst/>
          </a:prstGeom>
        </p:spPr>
      </p:pic>
    </p:spTree>
    <p:extLst>
      <p:ext uri="{BB962C8B-B14F-4D97-AF65-F5344CB8AC3E}">
        <p14:creationId xmlns:p14="http://schemas.microsoft.com/office/powerpoint/2010/main" val="897247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sclaimer light">
    <p:bg>
      <p:bgPr>
        <a:solidFill>
          <a:schemeClr val="accent6"/>
        </a:solidFill>
        <a:effectLst/>
      </p:bgPr>
    </p:bg>
    <p:spTree>
      <p:nvGrpSpPr>
        <p:cNvPr id="1" name=""/>
        <p:cNvGrpSpPr/>
        <p:nvPr/>
      </p:nvGrpSpPr>
      <p:grpSpPr>
        <a:xfrm>
          <a:off x="0" y="0"/>
          <a:ext cx="0" cy="0"/>
          <a:chOff x="0" y="0"/>
          <a:chExt cx="0" cy="0"/>
        </a:xfrm>
      </p:grpSpPr>
      <p:pic>
        <p:nvPicPr>
          <p:cNvPr id="16" name="ZRS Logo Horozontal">
            <a:extLst>
              <a:ext uri="{FF2B5EF4-FFF2-40B4-BE49-F238E27FC236}">
                <a16:creationId xmlns:a16="http://schemas.microsoft.com/office/drawing/2014/main" id="{28BAA2E4-F723-4622-8701-96C77368DCB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016" y="325479"/>
            <a:ext cx="1501200" cy="498456"/>
          </a:xfrm>
          <a:prstGeom prst="rect">
            <a:avLst/>
          </a:prstGeom>
        </p:spPr>
      </p:pic>
      <p:sp>
        <p:nvSpPr>
          <p:cNvPr id="6" name="Picture Placeholder 2">
            <a:extLst>
              <a:ext uri="{FF2B5EF4-FFF2-40B4-BE49-F238E27FC236}">
                <a16:creationId xmlns:a16="http://schemas.microsoft.com/office/drawing/2014/main" id="{391E41AF-1762-4EB0-80B3-3AA1F147807A}"/>
              </a:ext>
            </a:extLst>
          </p:cNvPr>
          <p:cNvSpPr>
            <a:spLocks noGrp="1" noChangeAspect="1"/>
          </p:cNvSpPr>
          <p:nvPr>
            <p:ph type="pic" sz="quarter" idx="14" hasCustomPrompt="1"/>
          </p:nvPr>
        </p:nvSpPr>
        <p:spPr>
          <a:xfrm>
            <a:off x="9061251" y="1902437"/>
            <a:ext cx="3120000" cy="3120000"/>
          </a:xfrm>
          <a:prstGeom prst="ellipse">
            <a:avLst/>
          </a:prstGeom>
        </p:spPr>
        <p:txBody>
          <a:bodyPr/>
          <a:lstStyle>
            <a:lvl1pPr algn="ctr">
              <a:buNone/>
              <a:defRPr b="0" i="0">
                <a:solidFill>
                  <a:schemeClr val="accent6"/>
                </a:solidFill>
                <a:latin typeface="+mn-lt"/>
                <a:cs typeface="Arial" panose="020B0604020202020204" pitchFamily="34" charset="0"/>
              </a:defRPr>
            </a:lvl1pPr>
          </a:lstStyle>
          <a:p>
            <a:r>
              <a:rPr lang="en-GB"/>
              <a:t>Add a picture here</a:t>
            </a:r>
          </a:p>
        </p:txBody>
      </p:sp>
      <p:sp>
        <p:nvSpPr>
          <p:cNvPr id="8" name="Freeform 12">
            <a:extLst>
              <a:ext uri="{FF2B5EF4-FFF2-40B4-BE49-F238E27FC236}">
                <a16:creationId xmlns:a16="http://schemas.microsoft.com/office/drawing/2014/main" id="{EC618BE2-CC9E-47D7-9EA9-EF85321C978E}"/>
              </a:ext>
            </a:extLst>
          </p:cNvPr>
          <p:cNvSpPr/>
          <p:nvPr userDrawn="1"/>
        </p:nvSpPr>
        <p:spPr bwMode="auto">
          <a:xfrm rot="735038">
            <a:off x="9719774" y="4974386"/>
            <a:ext cx="933047" cy="469973"/>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0" name="Freeform 17">
            <a:extLst>
              <a:ext uri="{FF2B5EF4-FFF2-40B4-BE49-F238E27FC236}">
                <a16:creationId xmlns:a16="http://schemas.microsoft.com/office/drawing/2014/main" id="{89FAA73E-3E27-4C2C-9330-778A387FE41D}"/>
              </a:ext>
            </a:extLst>
          </p:cNvPr>
          <p:cNvSpPr/>
          <p:nvPr userDrawn="1"/>
        </p:nvSpPr>
        <p:spPr bwMode="auto">
          <a:xfrm rot="8315714" flipH="1">
            <a:off x="9180227" y="5547933"/>
            <a:ext cx="1677271" cy="86330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1" name="Oval 10">
            <a:extLst>
              <a:ext uri="{FF2B5EF4-FFF2-40B4-BE49-F238E27FC236}">
                <a16:creationId xmlns:a16="http://schemas.microsoft.com/office/drawing/2014/main" id="{046432B8-B051-4FDE-AEAA-43ED0B620A7B}"/>
              </a:ext>
            </a:extLst>
          </p:cNvPr>
          <p:cNvSpPr>
            <a:spLocks noChangeAspect="1"/>
          </p:cNvSpPr>
          <p:nvPr userDrawn="1"/>
        </p:nvSpPr>
        <p:spPr bwMode="auto">
          <a:xfrm rot="5400000">
            <a:off x="10403602" y="5983124"/>
            <a:ext cx="875301" cy="874456"/>
          </a:xfrm>
          <a:prstGeom prst="ellips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2" name="Title 1">
            <a:extLst>
              <a:ext uri="{FF2B5EF4-FFF2-40B4-BE49-F238E27FC236}">
                <a16:creationId xmlns:a16="http://schemas.microsoft.com/office/drawing/2014/main" id="{25E733FB-3698-49A8-A927-20FF9A82314F}"/>
              </a:ext>
            </a:extLst>
          </p:cNvPr>
          <p:cNvSpPr>
            <a:spLocks noGrp="1"/>
          </p:cNvSpPr>
          <p:nvPr>
            <p:ph type="ctrTitle" hasCustomPrompt="1"/>
          </p:nvPr>
        </p:nvSpPr>
        <p:spPr>
          <a:xfrm>
            <a:off x="274890" y="6401514"/>
            <a:ext cx="6028129" cy="123111"/>
          </a:xfrm>
        </p:spPr>
        <p:txBody>
          <a:bodyPr vert="horz" wrap="square" lIns="0" tIns="0" rIns="0" bIns="0" rtlCol="0" anchor="b" anchorCtr="0">
            <a:spAutoFit/>
          </a:bodyPr>
          <a:lstStyle>
            <a:lvl1pPr>
              <a:defRPr lang="en-US" sz="800" dirty="0">
                <a:solidFill>
                  <a:schemeClr val="accent1"/>
                </a:solidFill>
                <a:latin typeface="+mn-lt"/>
                <a:ea typeface="+mn-ea"/>
              </a:defRPr>
            </a:lvl1pPr>
          </a:lstStyle>
          <a:p>
            <a:pPr marL="0" lvl="0" indent="0">
              <a:lnSpc>
                <a:spcPct val="100000"/>
              </a:lnSpc>
              <a:spcBef>
                <a:spcPts val="0"/>
              </a:spcBef>
              <a:spcAft>
                <a:spcPts val="600"/>
              </a:spcAft>
              <a:buFont typeface="Arial" panose="020B0604020202020204" pitchFamily="34" charset="0"/>
            </a:pPr>
            <a:r>
              <a:rPr lang="en-US"/>
              <a:t>Job number</a:t>
            </a:r>
          </a:p>
        </p:txBody>
      </p:sp>
      <p:sp>
        <p:nvSpPr>
          <p:cNvPr id="14" name="Disclaimer">
            <a:extLst>
              <a:ext uri="{FF2B5EF4-FFF2-40B4-BE49-F238E27FC236}">
                <a16:creationId xmlns:a16="http://schemas.microsoft.com/office/drawing/2014/main" id="{F832E29E-82E5-4510-8540-CB0374252E0B}"/>
              </a:ext>
            </a:extLst>
          </p:cNvPr>
          <p:cNvSpPr txBox="1">
            <a:spLocks/>
          </p:cNvSpPr>
          <p:nvPr userDrawn="1"/>
        </p:nvSpPr>
        <p:spPr>
          <a:xfrm>
            <a:off x="274889" y="1117411"/>
            <a:ext cx="6028130" cy="5078313"/>
          </a:xfrm>
          <a:prstGeom prst="rect">
            <a:avLst/>
          </a:prstGeom>
        </p:spPr>
        <p:txBody>
          <a:bodyPr vert="horz" lIns="0" tIns="0" rIns="0" bIns="0" rtlCol="0" anchor="b" anchorCtr="0">
            <a:spAutoFit/>
          </a:bodyPr>
          <a:lstStyle>
            <a:lvl1pPr marL="268288" indent="-268288" algn="l" defTabSz="914377" rtl="0" eaLnBrk="1" latinLnBrk="0" hangingPunct="1">
              <a:lnSpc>
                <a:spcPct val="100000"/>
              </a:lnSpc>
              <a:spcBef>
                <a:spcPts val="0"/>
              </a:spcBef>
              <a:spcAft>
                <a:spcPts val="600"/>
              </a:spcAft>
              <a:buFont typeface="Arial" panose="020B0604020202020204" pitchFamily="34" charset="0"/>
              <a:buChar char="•"/>
              <a:defRPr sz="1800" kern="1200">
                <a:solidFill>
                  <a:schemeClr val="accent5"/>
                </a:solidFill>
                <a:latin typeface="+mn-lt"/>
                <a:ea typeface="+mn-ea"/>
                <a:cs typeface="Arial" panose="020B0604020202020204" pitchFamily="34" charset="0"/>
              </a:defRPr>
            </a:lvl1pPr>
            <a:lvl2pPr marL="447675" indent="-207963" algn="l" defTabSz="914377"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Arial" panose="020B0604020202020204" pitchFamily="34" charset="0"/>
              </a:defRPr>
            </a:lvl2pPr>
            <a:lvl3pPr marL="719138" indent="-180975" algn="l" defTabSz="914377"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Arial" panose="020B0604020202020204" pitchFamily="34" charset="0"/>
              </a:defRPr>
            </a:lvl3pPr>
            <a:lvl4pPr marL="896938" indent="-177800"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4pPr>
            <a:lvl5pPr marL="1165225" indent="-179388"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000">
                <a:solidFill>
                  <a:schemeClr val="accent1"/>
                </a:solidFill>
              </a:rPr>
              <a:t>This is a general description of (insurance) services such as risk engineering or risk management services by Zurich Resilience Solutions, which is part of the Commercial Insurance business of Zurich Insurance Group, and does not represent or alter any insurance policy or service agreement. Such (insurance) services are provided to qualified customers by affiliated companies of Zurich Insurance Company Ltd, including but not limited to: Zurich American Insurance Company, 1299 Zurich Way, Schaumburg, IL 60196, USA; The Zurich Services Corporation, 1299 Zurich Way, Schaumburg, IL 60196, USA; Zurich Insurance plc, Zurich House, Ballsbridge Park, Dublin 4, Ireland; Zurich Commercial Services (Europe) GmbH, Platz der Einheit, 2, 60327 Germany; Zurich Management Services Limited, The Zurich Centre, 3000b Parkway, </a:t>
            </a:r>
            <a:r>
              <a:rPr lang="en-US" sz="1000" err="1">
                <a:solidFill>
                  <a:schemeClr val="accent1"/>
                </a:solidFill>
              </a:rPr>
              <a:t>Whiteley</a:t>
            </a:r>
            <a:r>
              <a:rPr lang="en-US" sz="1000">
                <a:solidFill>
                  <a:schemeClr val="accent1"/>
                </a:solidFill>
              </a:rPr>
              <a:t>, </a:t>
            </a:r>
            <a:r>
              <a:rPr lang="en-US" sz="1000" err="1">
                <a:solidFill>
                  <a:schemeClr val="accent1"/>
                </a:solidFill>
              </a:rPr>
              <a:t>Fareham</a:t>
            </a:r>
            <a:r>
              <a:rPr lang="en-US" sz="1000">
                <a:solidFill>
                  <a:schemeClr val="accent1"/>
                </a:solidFill>
              </a:rPr>
              <a:t>, Hampshire, PO15 7JZ, UK; Zurich Insurance Company Ltd, </a:t>
            </a:r>
            <a:r>
              <a:rPr lang="en-US" sz="1000" err="1">
                <a:solidFill>
                  <a:schemeClr val="accent1"/>
                </a:solidFill>
              </a:rPr>
              <a:t>Mythenquai</a:t>
            </a:r>
            <a:r>
              <a:rPr lang="en-US" sz="1000">
                <a:solidFill>
                  <a:schemeClr val="accent1"/>
                </a:solidFill>
              </a:rPr>
              <a:t> 2, 8002 Zurich, Switzerland; Zurich Australian Insurance Limited, ABN 13 000 296 640, Australia.</a:t>
            </a:r>
          </a:p>
          <a:p>
            <a:pPr marL="0" indent="0">
              <a:buFont typeface="Arial" panose="020B0604020202020204" pitchFamily="34" charset="0"/>
              <a:buNone/>
            </a:pPr>
            <a:r>
              <a:rPr lang="en-US" sz="1000">
                <a:solidFill>
                  <a:schemeClr val="accent1"/>
                </a:solidFill>
              </a:rPr>
              <a:t>The opinions expressed herein are those of Zurich Resilience Solutions as of the date of the release and </a:t>
            </a:r>
            <a:br>
              <a:rPr lang="en-US" sz="1000">
                <a:solidFill>
                  <a:schemeClr val="accent1"/>
                </a:solidFill>
              </a:rPr>
            </a:br>
            <a:r>
              <a:rPr lang="en-US" sz="1000">
                <a:solidFill>
                  <a:schemeClr val="accent1"/>
                </a:solidFill>
              </a:rPr>
              <a:t>are subject to change without notice. This document has been produced solely for informational purposes. All information contained in this document has been compiled and obtained from sources believed to be reliable and credible, but no representation or warranty, express or implied, is made by Zurich Insurance Company Ltd or any of its affiliated companies (Zurich Insurance Group) as to their accuracy or completeness. This document is not intended to be legal, underwriting, financial, investment, or any other type of professional advice. Zurich Insurance Group disclaims any and all liability whatsoever resulting from the use of or reliance upon this document. Nothing express or implied in this document is intended to create legal relations between the reader and any member of Zurich Insurance Group.</a:t>
            </a:r>
          </a:p>
          <a:p>
            <a:pPr marL="0" indent="0">
              <a:buFont typeface="Arial" panose="020B0604020202020204" pitchFamily="34" charset="0"/>
              <a:buNone/>
            </a:pPr>
            <a:r>
              <a:rPr lang="en-US" sz="1000">
                <a:solidFill>
                  <a:schemeClr val="accent1"/>
                </a:solidFill>
              </a:rPr>
              <a:t>Certain statements in this document are forward-looking statements, including, but not limited to, statements that are predictions of or indicate future events, trends, plans, developments or objectives. Undue reliance should not be placed on such statements because, by their nature, they are subject to known and unknown risks and uncertainties, and can be affected by numerous unforeseeable factors. The subject matter of this document is also not tied to any specific service offering or an insurance product, nor will it ensure coverage under any insurance policy.</a:t>
            </a:r>
          </a:p>
          <a:p>
            <a:pPr marL="0" indent="0">
              <a:buFont typeface="Arial" panose="020B0604020202020204" pitchFamily="34" charset="0"/>
              <a:buNone/>
            </a:pPr>
            <a:r>
              <a:rPr lang="en-US" sz="1000">
                <a:solidFill>
                  <a:schemeClr val="accent1"/>
                </a:solidFill>
              </a:rPr>
              <a:t>This document may not be distributed or reproduced, either in whole or in part, without prior written permission of Zurich Insurance Company Ltd, </a:t>
            </a:r>
            <a:r>
              <a:rPr lang="en-US" sz="1000" err="1">
                <a:solidFill>
                  <a:schemeClr val="accent1"/>
                </a:solidFill>
              </a:rPr>
              <a:t>Mythenquai</a:t>
            </a:r>
            <a:r>
              <a:rPr lang="en-US" sz="1000">
                <a:solidFill>
                  <a:schemeClr val="accent1"/>
                </a:solidFill>
              </a:rPr>
              <a:t> 2, 8002 Zurich, Switzerland. No member of Zurich Insurance Group accepts any liability for any loss arising from the use or distribution of this document. This document does not constitute an offer or an invitation for the sale or purchase of securities in any jurisdiction. </a:t>
            </a:r>
          </a:p>
          <a:p>
            <a:pPr marL="0" indent="0">
              <a:buFont typeface="Arial" panose="020B0604020202020204" pitchFamily="34" charset="0"/>
              <a:buNone/>
            </a:pPr>
            <a:r>
              <a:rPr lang="en-US" sz="1000">
                <a:solidFill>
                  <a:schemeClr val="accent1"/>
                </a:solidFill>
                <a:latin typeface="+mj-lt"/>
              </a:rPr>
              <a:t>Zurich Resilience Solutions </a:t>
            </a:r>
          </a:p>
        </p:txBody>
      </p:sp>
    </p:spTree>
    <p:extLst>
      <p:ext uri="{BB962C8B-B14F-4D97-AF65-F5344CB8AC3E}">
        <p14:creationId xmlns:p14="http://schemas.microsoft.com/office/powerpoint/2010/main" val="7496118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sclaimer dark">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274890" y="6401514"/>
            <a:ext cx="6028129" cy="123111"/>
          </a:xfrm>
        </p:spPr>
        <p:txBody>
          <a:bodyPr vert="horz" wrap="square" lIns="0" tIns="0" rIns="0" bIns="0" rtlCol="0" anchor="b" anchorCtr="0">
            <a:spAutoFit/>
          </a:bodyPr>
          <a:lstStyle>
            <a:lvl1pPr>
              <a:defRPr lang="en-US" sz="800" dirty="0">
                <a:solidFill>
                  <a:schemeClr val="accent5"/>
                </a:solidFill>
                <a:latin typeface="+mn-lt"/>
                <a:ea typeface="+mn-ea"/>
              </a:defRPr>
            </a:lvl1pPr>
          </a:lstStyle>
          <a:p>
            <a:pPr marL="0" lvl="0" indent="0">
              <a:lnSpc>
                <a:spcPct val="100000"/>
              </a:lnSpc>
              <a:spcBef>
                <a:spcPts val="0"/>
              </a:spcBef>
              <a:spcAft>
                <a:spcPts val="600"/>
              </a:spcAft>
              <a:buFont typeface="Arial" panose="020B0604020202020204" pitchFamily="34" charset="0"/>
            </a:pPr>
            <a:r>
              <a:rPr lang="en-US"/>
              <a:t>Job number</a:t>
            </a:r>
          </a:p>
        </p:txBody>
      </p:sp>
      <p:sp>
        <p:nvSpPr>
          <p:cNvPr id="15" name="Picture Placeholder 2">
            <a:extLst>
              <a:ext uri="{FF2B5EF4-FFF2-40B4-BE49-F238E27FC236}">
                <a16:creationId xmlns:a16="http://schemas.microsoft.com/office/drawing/2014/main" id="{207E0EDD-CE7D-485D-90AA-EB92659F4C2E}"/>
              </a:ext>
            </a:extLst>
          </p:cNvPr>
          <p:cNvSpPr>
            <a:spLocks noGrp="1" noChangeAspect="1"/>
          </p:cNvSpPr>
          <p:nvPr>
            <p:ph type="pic" sz="quarter" idx="14" hasCustomPrompt="1"/>
          </p:nvPr>
        </p:nvSpPr>
        <p:spPr>
          <a:xfrm>
            <a:off x="9061251" y="1902437"/>
            <a:ext cx="3120000" cy="3120000"/>
          </a:xfrm>
          <a:prstGeom prst="ellipse">
            <a:avLst/>
          </a:prstGeom>
        </p:spPr>
        <p:txBody>
          <a:bodyPr/>
          <a:lstStyle>
            <a:lvl1pPr algn="ctr">
              <a:buNone/>
              <a:defRPr b="0" i="0">
                <a:solidFill>
                  <a:schemeClr val="accent6"/>
                </a:solidFill>
                <a:latin typeface="+mn-lt"/>
                <a:cs typeface="Arial" panose="020B0604020202020204" pitchFamily="34" charset="0"/>
              </a:defRPr>
            </a:lvl1pPr>
          </a:lstStyle>
          <a:p>
            <a:r>
              <a:rPr lang="en-GB"/>
              <a:t>Add a picture here</a:t>
            </a:r>
          </a:p>
        </p:txBody>
      </p:sp>
      <p:sp>
        <p:nvSpPr>
          <p:cNvPr id="16" name="Freeform 12">
            <a:extLst>
              <a:ext uri="{FF2B5EF4-FFF2-40B4-BE49-F238E27FC236}">
                <a16:creationId xmlns:a16="http://schemas.microsoft.com/office/drawing/2014/main" id="{CDD94F9F-17AF-4158-8273-144D6BB8BFBA}"/>
              </a:ext>
            </a:extLst>
          </p:cNvPr>
          <p:cNvSpPr/>
          <p:nvPr userDrawn="1"/>
        </p:nvSpPr>
        <p:spPr bwMode="auto">
          <a:xfrm rot="735038">
            <a:off x="9719774" y="4974386"/>
            <a:ext cx="933047" cy="469973"/>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7" name="Freeform 17">
            <a:extLst>
              <a:ext uri="{FF2B5EF4-FFF2-40B4-BE49-F238E27FC236}">
                <a16:creationId xmlns:a16="http://schemas.microsoft.com/office/drawing/2014/main" id="{03EA52F0-9F47-4C1A-A653-1F060850BB16}"/>
              </a:ext>
            </a:extLst>
          </p:cNvPr>
          <p:cNvSpPr/>
          <p:nvPr userDrawn="1"/>
        </p:nvSpPr>
        <p:spPr bwMode="auto">
          <a:xfrm rot="8315714" flipH="1">
            <a:off x="9180227" y="5547933"/>
            <a:ext cx="1677271" cy="86330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8" name="Oval 17">
            <a:extLst>
              <a:ext uri="{FF2B5EF4-FFF2-40B4-BE49-F238E27FC236}">
                <a16:creationId xmlns:a16="http://schemas.microsoft.com/office/drawing/2014/main" id="{6AED791D-1518-403F-BA5A-79F94E7CDCCB}"/>
              </a:ext>
            </a:extLst>
          </p:cNvPr>
          <p:cNvSpPr>
            <a:spLocks noChangeAspect="1"/>
          </p:cNvSpPr>
          <p:nvPr userDrawn="1"/>
        </p:nvSpPr>
        <p:spPr bwMode="auto">
          <a:xfrm rot="5400000">
            <a:off x="10403602" y="5983124"/>
            <a:ext cx="875301" cy="874456"/>
          </a:xfrm>
          <a:prstGeom prst="ellips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26" name="TextBox 25">
            <a:extLst>
              <a:ext uri="{FF2B5EF4-FFF2-40B4-BE49-F238E27FC236}">
                <a16:creationId xmlns:a16="http://schemas.microsoft.com/office/drawing/2014/main" id="{964649C4-0FE0-4E4D-B386-F39D40C28AE9}"/>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mn-lt"/>
                <a:cs typeface="Arial" panose="020B0604020202020204" pitchFamily="34" charset="0"/>
              </a:rPr>
              <a:t>© Zurich</a:t>
            </a:r>
          </a:p>
        </p:txBody>
      </p:sp>
      <p:pic>
        <p:nvPicPr>
          <p:cNvPr id="11" name="ZRS Logo Horozontal">
            <a:extLst>
              <a:ext uri="{FF2B5EF4-FFF2-40B4-BE49-F238E27FC236}">
                <a16:creationId xmlns:a16="http://schemas.microsoft.com/office/drawing/2014/main" id="{D2B33BE5-EB34-483C-92C0-DCBF73E42AA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016" y="325479"/>
            <a:ext cx="1501200" cy="498456"/>
          </a:xfrm>
          <a:prstGeom prst="rect">
            <a:avLst/>
          </a:prstGeom>
        </p:spPr>
      </p:pic>
      <p:sp>
        <p:nvSpPr>
          <p:cNvPr id="12" name="Disclaimer">
            <a:extLst>
              <a:ext uri="{FF2B5EF4-FFF2-40B4-BE49-F238E27FC236}">
                <a16:creationId xmlns:a16="http://schemas.microsoft.com/office/drawing/2014/main" id="{5B406369-73D2-47B4-9695-1A05225AED50}"/>
              </a:ext>
            </a:extLst>
          </p:cNvPr>
          <p:cNvSpPr txBox="1">
            <a:spLocks/>
          </p:cNvSpPr>
          <p:nvPr userDrawn="1"/>
        </p:nvSpPr>
        <p:spPr>
          <a:xfrm>
            <a:off x="274889" y="1117411"/>
            <a:ext cx="6028130" cy="5078313"/>
          </a:xfrm>
          <a:prstGeom prst="rect">
            <a:avLst/>
          </a:prstGeom>
        </p:spPr>
        <p:txBody>
          <a:bodyPr vert="horz" wrap="square" lIns="0" tIns="0" rIns="0" bIns="0" rtlCol="0" anchor="b" anchorCtr="0">
            <a:spAutoFit/>
          </a:bodyPr>
          <a:lstStyle>
            <a:lvl1pPr marL="268288" indent="-268288" algn="l" defTabSz="914377" rtl="0" eaLnBrk="1" latinLnBrk="0" hangingPunct="1">
              <a:lnSpc>
                <a:spcPct val="100000"/>
              </a:lnSpc>
              <a:spcBef>
                <a:spcPts val="0"/>
              </a:spcBef>
              <a:spcAft>
                <a:spcPts val="600"/>
              </a:spcAft>
              <a:buFont typeface="Arial" panose="020B0604020202020204" pitchFamily="34" charset="0"/>
              <a:buChar char="•"/>
              <a:defRPr sz="1800" kern="1200">
                <a:solidFill>
                  <a:schemeClr val="accent5"/>
                </a:solidFill>
                <a:latin typeface="+mn-lt"/>
                <a:ea typeface="+mn-ea"/>
                <a:cs typeface="Arial" panose="020B0604020202020204" pitchFamily="34" charset="0"/>
              </a:defRPr>
            </a:lvl1pPr>
            <a:lvl2pPr marL="447675" indent="-207963" algn="l" defTabSz="914377"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Arial" panose="020B0604020202020204" pitchFamily="34" charset="0"/>
              </a:defRPr>
            </a:lvl2pPr>
            <a:lvl3pPr marL="719138" indent="-180975" algn="l" defTabSz="914377"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Arial" panose="020B0604020202020204" pitchFamily="34" charset="0"/>
              </a:defRPr>
            </a:lvl3pPr>
            <a:lvl4pPr marL="896938" indent="-177800"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4pPr>
            <a:lvl5pPr marL="1165225" indent="-179388"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000"/>
              <a:t>This is a general description of (insurance) services such as risk engineering or risk management services by Zurich Resilience Solutions, which is part of the Commercial Insurance business of Zurich Insurance Group, and does not represent or alter any insurance policy or service agreement. Such (insurance) services are provided to qualified customers by affiliated companies of Zurich Insurance Company Ltd, including but not limited to: Zurich American Insurance Company, 1299 Zurich Way, Schaumburg, IL 60196, USA; The Zurich Services Corporation, 1299 Zurich Way, Schaumburg, IL 60196, USA; Zurich Insurance plc, Zurich House, Ballsbridge Park, Dublin 4, Ireland; Zurich Commercial Services (Europe) GmbH, Platz der Einheit, 2, 60327 Germany; Zurich Management Services Limited, The Zurich Centre, 3000b Parkway, </a:t>
            </a:r>
            <a:r>
              <a:rPr lang="en-US" sz="1000" err="1"/>
              <a:t>Whiteley</a:t>
            </a:r>
            <a:r>
              <a:rPr lang="en-US" sz="1000"/>
              <a:t>, </a:t>
            </a:r>
            <a:r>
              <a:rPr lang="en-US" sz="1000" err="1"/>
              <a:t>Fareham</a:t>
            </a:r>
            <a:r>
              <a:rPr lang="en-US" sz="1000"/>
              <a:t>, Hampshire, PO15 7JZ, UK; Zurich Insurance Company Ltd, </a:t>
            </a:r>
            <a:r>
              <a:rPr lang="en-US" sz="1000" err="1"/>
              <a:t>Mythenquai</a:t>
            </a:r>
            <a:r>
              <a:rPr lang="en-US" sz="1000"/>
              <a:t> 2, 8002 Zurich, Switzerland; Zurich Australian Insurance Limited, ABN 13 000 296 640, Australia.</a:t>
            </a:r>
          </a:p>
          <a:p>
            <a:pPr marL="0" indent="0">
              <a:buFont typeface="Arial" panose="020B0604020202020204" pitchFamily="34" charset="0"/>
              <a:buNone/>
            </a:pPr>
            <a:r>
              <a:rPr lang="en-US" sz="1000"/>
              <a:t>The opinions expressed herein are those of Zurich Resilience Solutions as of the date of the release and </a:t>
            </a:r>
            <a:br>
              <a:rPr lang="en-US" sz="1000"/>
            </a:br>
            <a:r>
              <a:rPr lang="en-US" sz="1000"/>
              <a:t>are subject to change without notice. This document has been produced solely for informational purposes. All information contained in this document has been compiled and obtained from sources believed to be reliable and credible, but no representation or warranty, express or implied, is made by Zurich Insurance Company Ltd or any of its affiliated companies (Zurich Insurance Group) as to their accuracy or completeness. This document is not intended to be legal, underwriting, financial, investment, or any other type of professional advice. Zurich Insurance Group disclaims any and all liability whatsoever resulting from the use of or reliance upon this document. Nothing express or implied in this document is intended to create legal relations between the reader and any member of Zurich Insurance Group.</a:t>
            </a:r>
          </a:p>
          <a:p>
            <a:pPr marL="0" indent="0">
              <a:buFont typeface="Arial" panose="020B0604020202020204" pitchFamily="34" charset="0"/>
              <a:buNone/>
            </a:pPr>
            <a:r>
              <a:rPr lang="en-US" sz="1000"/>
              <a:t>Certain statements in this document are forward-looking statements, including, but not limited to, statements that are predictions of or indicate future events, trends, plans, developments or objectives. Undue reliance should not be placed on such statements because, by their nature, they are subject to known and unknown risks and uncertainties, and can be affected by numerous unforeseeable factors. The subject matter of this document is also not tied to any specific service offering or an insurance product, nor will it ensure coverage under any insurance policy.</a:t>
            </a:r>
          </a:p>
          <a:p>
            <a:pPr marL="0" indent="0">
              <a:buFont typeface="Arial" panose="020B0604020202020204" pitchFamily="34" charset="0"/>
              <a:buNone/>
            </a:pPr>
            <a:r>
              <a:rPr lang="en-US" sz="1000"/>
              <a:t>This document may not be distributed or reproduced, either in whole or in part, without prior written permission of Zurich Insurance Company Ltd, </a:t>
            </a:r>
            <a:r>
              <a:rPr lang="en-US" sz="1000" err="1"/>
              <a:t>Mythenquai</a:t>
            </a:r>
            <a:r>
              <a:rPr lang="en-US" sz="1000"/>
              <a:t> 2, 8002 Zurich, Switzerland. No member of Zurich Insurance Group accepts any liability for any loss arising from the use or distribution of this document. This document does not constitute an offer or an invitation for the sale or purchase of securities in any jurisdiction. </a:t>
            </a:r>
          </a:p>
          <a:p>
            <a:pPr marL="0" indent="0">
              <a:buFont typeface="Arial" panose="020B0604020202020204" pitchFamily="34" charset="0"/>
              <a:buNone/>
            </a:pPr>
            <a:r>
              <a:rPr lang="en-US" sz="1000">
                <a:latin typeface="+mj-lt"/>
              </a:rPr>
              <a:t>Zurich Resilience Solutions </a:t>
            </a:r>
          </a:p>
        </p:txBody>
      </p:sp>
    </p:spTree>
    <p:extLst>
      <p:ext uri="{BB962C8B-B14F-4D97-AF65-F5344CB8AC3E}">
        <p14:creationId xmlns:p14="http://schemas.microsoft.com/office/powerpoint/2010/main" val="6044943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and 2 text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4C0D27-889B-3151-6ECA-B7B1AF6D6458}"/>
              </a:ext>
            </a:extLst>
          </p:cNvPr>
          <p:cNvGraphicFramePr>
            <a:graphicFrameLocks noChangeAspect="1"/>
          </p:cNvGraphicFramePr>
          <p:nvPr userDrawn="1">
            <p:custDataLst>
              <p:tags r:id="rId1"/>
            </p:custDataLst>
            <p:extLst>
              <p:ext uri="{D42A27DB-BD31-4B8C-83A1-F6EECF244321}">
                <p14:modId xmlns:p14="http://schemas.microsoft.com/office/powerpoint/2010/main" val="40743865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B04C0D27-889B-3151-6ECA-B7B1AF6D645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252000" y="1198800"/>
            <a:ext cx="5647150" cy="5040145"/>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Content Placeholder 2">
            <a:extLst>
              <a:ext uri="{FF2B5EF4-FFF2-40B4-BE49-F238E27FC236}">
                <a16:creationId xmlns:a16="http://schemas.microsoft.com/office/drawing/2014/main" id="{DD38D433-C715-4635-977C-8E54E7555A08}"/>
              </a:ext>
            </a:extLst>
          </p:cNvPr>
          <p:cNvSpPr>
            <a:spLocks noGrp="1"/>
          </p:cNvSpPr>
          <p:nvPr>
            <p:ph idx="13"/>
          </p:nvPr>
        </p:nvSpPr>
        <p:spPr>
          <a:xfrm>
            <a:off x="6280731" y="1198800"/>
            <a:ext cx="5652000" cy="5040145"/>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2" name="Slide Number Placeholder 5">
            <a:extLst>
              <a:ext uri="{FF2B5EF4-FFF2-40B4-BE49-F238E27FC236}">
                <a16:creationId xmlns:a16="http://schemas.microsoft.com/office/drawing/2014/main" id="{7778DC4A-6DD8-4810-A49B-89B671171FAE}"/>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B66B4EB9-2868-4BA8-BD4D-16B8E7A16DF5}"/>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2" name="Title Placeholder 1">
            <a:extLst>
              <a:ext uri="{FF2B5EF4-FFF2-40B4-BE49-F238E27FC236}">
                <a16:creationId xmlns:a16="http://schemas.microsoft.com/office/drawing/2014/main" id="{C14EA731-2898-D962-FAA6-B0737584A2F4}"/>
              </a:ext>
            </a:extLst>
          </p:cNvPr>
          <p:cNvSpPr>
            <a:spLocks noGrp="1"/>
          </p:cNvSpPr>
          <p:nvPr>
            <p:ph type="title"/>
          </p:nvPr>
        </p:nvSpPr>
        <p:spPr>
          <a:xfrm>
            <a:off x="250826" y="249926"/>
            <a:ext cx="8996541" cy="360099"/>
          </a:xfrm>
          <a:prstGeom prst="rect">
            <a:avLst/>
          </a:prstGeom>
        </p:spPr>
        <p:txBody>
          <a:bodyPr vert="horz" wrap="square" lIns="0" tIns="0" rIns="0" bIns="0" rtlCol="0" anchor="t" anchorCtr="0">
            <a:spAutoFit/>
          </a:bodyPr>
          <a:lstStyle/>
          <a:p>
            <a:r>
              <a:rPr lang="de-DE"/>
              <a:t>Mastertitelformat bearbeiten</a:t>
            </a:r>
            <a:endParaRPr lang="en-US"/>
          </a:p>
        </p:txBody>
      </p:sp>
      <p:sp>
        <p:nvSpPr>
          <p:cNvPr id="8" name="Content Placeholder 14">
            <a:extLst>
              <a:ext uri="{FF2B5EF4-FFF2-40B4-BE49-F238E27FC236}">
                <a16:creationId xmlns:a16="http://schemas.microsoft.com/office/drawing/2014/main" id="{45C87A36-AF1D-5E17-86AD-9CDBE1DEDA7A}"/>
              </a:ext>
            </a:extLst>
          </p:cNvPr>
          <p:cNvSpPr>
            <a:spLocks noGrp="1"/>
          </p:cNvSpPr>
          <p:nvPr>
            <p:ph sz="quarter" idx="10" hasCustomPrompt="1"/>
          </p:nvPr>
        </p:nvSpPr>
        <p:spPr>
          <a:xfrm>
            <a:off x="250825" y="666073"/>
            <a:ext cx="8996541" cy="276999"/>
          </a:xfrm>
        </p:spPr>
        <p:txBody>
          <a:bodyPr wrap="square">
            <a:spAutoFit/>
          </a:bodyPr>
          <a:lstStyle>
            <a:lvl1pPr marL="0" indent="0">
              <a:buNone/>
              <a:defRPr sz="1800">
                <a:solidFill>
                  <a:schemeClr val="accent1"/>
                </a:solidFill>
              </a:defRPr>
            </a:lvl1pPr>
            <a:lvl2pPr marL="239712" indent="0">
              <a:buNone/>
              <a:defRPr sz="1800">
                <a:solidFill>
                  <a:schemeClr val="accent1"/>
                </a:solidFill>
              </a:defRPr>
            </a:lvl2pPr>
            <a:lvl3pPr marL="538163" indent="0">
              <a:buNone/>
              <a:defRPr sz="1800">
                <a:solidFill>
                  <a:schemeClr val="accent1"/>
                </a:solidFill>
              </a:defRPr>
            </a:lvl3pPr>
            <a:lvl4pPr marL="719138" indent="0">
              <a:buNone/>
              <a:defRPr sz="1800">
                <a:solidFill>
                  <a:schemeClr val="accent1"/>
                </a:solidFill>
              </a:defRPr>
            </a:lvl4pPr>
            <a:lvl5pPr marL="985837" indent="0">
              <a:buNone/>
              <a:defRPr sz="1800">
                <a:solidFill>
                  <a:schemeClr val="accent1"/>
                </a:solidFill>
              </a:defRPr>
            </a:lvl5pPr>
          </a:lstStyle>
          <a:p>
            <a:pPr lvl="0"/>
            <a:r>
              <a:rPr lang="en-GB"/>
              <a:t>Click to edit Master subtitle style</a:t>
            </a:r>
          </a:p>
        </p:txBody>
      </p:sp>
    </p:spTree>
    <p:extLst>
      <p:ext uri="{BB962C8B-B14F-4D97-AF65-F5344CB8AC3E}">
        <p14:creationId xmlns:p14="http://schemas.microsoft.com/office/powerpoint/2010/main" val="5339682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Cover_Dark Blue">
    <p:bg>
      <p:bgPr>
        <a:solidFill>
          <a:schemeClr val="accent3"/>
        </a:solidFill>
        <a:effectLst/>
      </p:bgPr>
    </p:bg>
    <p:spTree>
      <p:nvGrpSpPr>
        <p:cNvPr id="1" name=""/>
        <p:cNvGrpSpPr/>
        <p:nvPr/>
      </p:nvGrpSpPr>
      <p:grpSpPr>
        <a:xfrm>
          <a:off x="0" y="0"/>
          <a:ext cx="0" cy="0"/>
          <a:chOff x="0" y="0"/>
          <a:chExt cx="0" cy="0"/>
        </a:xfrm>
      </p:grpSpPr>
      <p:sp>
        <p:nvSpPr>
          <p:cNvPr id="11" name="Rectangle 2">
            <a:extLst>
              <a:ext uri="{FF2B5EF4-FFF2-40B4-BE49-F238E27FC236}">
                <a16:creationId xmlns:a16="http://schemas.microsoft.com/office/drawing/2014/main" id="{27828BB0-B414-D041-AD77-12F15CDA53D1}"/>
              </a:ext>
            </a:extLst>
          </p:cNvPr>
          <p:cNvSpPr>
            <a:spLocks noGrp="1" noChangeArrowheads="1"/>
          </p:cNvSpPr>
          <p:nvPr>
            <p:ph type="ctrTitle" hasCustomPrompt="1"/>
          </p:nvPr>
        </p:nvSpPr>
        <p:spPr>
          <a:xfrm>
            <a:off x="334434" y="1104903"/>
            <a:ext cx="6515101" cy="2275419"/>
          </a:xfrm>
          <a:prstGeom prst="rect">
            <a:avLst/>
          </a:prstGeom>
          <a:ln/>
        </p:spPr>
        <p:txBody>
          <a:bodyPr anchor="b">
            <a:normAutofit/>
          </a:bodyPr>
          <a:lstStyle>
            <a:lvl1pPr algn="l">
              <a:defRPr sz="3733" b="0" i="0">
                <a:solidFill>
                  <a:srgbClr val="FFFFFF"/>
                </a:solidFill>
                <a:latin typeface="+mn-lt"/>
                <a:cs typeface="Arial" panose="020B0604020202020204" pitchFamily="34" charset="0"/>
              </a:defRPr>
            </a:lvl1pPr>
          </a:lstStyle>
          <a:p>
            <a:r>
              <a:rPr lang="en-GB"/>
              <a:t>Headline</a:t>
            </a:r>
            <a:endParaRPr lang="de-CH"/>
          </a:p>
        </p:txBody>
      </p:sp>
      <p:sp>
        <p:nvSpPr>
          <p:cNvPr id="12" name="Text Placeholder 13">
            <a:extLst>
              <a:ext uri="{FF2B5EF4-FFF2-40B4-BE49-F238E27FC236}">
                <a16:creationId xmlns:a16="http://schemas.microsoft.com/office/drawing/2014/main" id="{C43D7118-52CD-AF4E-B38D-3CB412A09B8B}"/>
              </a:ext>
            </a:extLst>
          </p:cNvPr>
          <p:cNvSpPr>
            <a:spLocks noGrp="1"/>
          </p:cNvSpPr>
          <p:nvPr>
            <p:ph type="body" sz="quarter" idx="11" hasCustomPrompt="1"/>
          </p:nvPr>
        </p:nvSpPr>
        <p:spPr>
          <a:xfrm>
            <a:off x="334436" y="3729867"/>
            <a:ext cx="4841621" cy="922856"/>
          </a:xfrm>
          <a:prstGeom prst="rect">
            <a:avLst/>
          </a:prstGeom>
        </p:spPr>
        <p:txBody>
          <a:bodyPr>
            <a:normAutofit/>
          </a:bodyPr>
          <a:lstStyle>
            <a:lvl1pPr>
              <a:buNone/>
              <a:defRPr sz="2133" b="0" i="0">
                <a:solidFill>
                  <a:srgbClr val="FFFFFF"/>
                </a:solidFill>
                <a:latin typeface="+mn-lt"/>
                <a:cs typeface="Arial" panose="020B0604020202020204" pitchFamily="34" charset="0"/>
              </a:defRPr>
            </a:lvl1pPr>
          </a:lstStyle>
          <a:p>
            <a:pPr lvl="0"/>
            <a:r>
              <a:rPr lang="en-GB"/>
              <a:t>Subtitle</a:t>
            </a:r>
          </a:p>
        </p:txBody>
      </p:sp>
      <p:sp>
        <p:nvSpPr>
          <p:cNvPr id="10" name="Subtitle 2">
            <a:extLst>
              <a:ext uri="{FF2B5EF4-FFF2-40B4-BE49-F238E27FC236}">
                <a16:creationId xmlns:a16="http://schemas.microsoft.com/office/drawing/2014/main" id="{49185E03-65DA-044C-996F-57EF39D2F6E0}"/>
              </a:ext>
            </a:extLst>
          </p:cNvPr>
          <p:cNvSpPr>
            <a:spLocks noGrp="1"/>
          </p:cNvSpPr>
          <p:nvPr>
            <p:ph type="subTitle" idx="1" hasCustomPrompt="1"/>
          </p:nvPr>
        </p:nvSpPr>
        <p:spPr>
          <a:xfrm>
            <a:off x="337998" y="5004788"/>
            <a:ext cx="4838073" cy="815608"/>
          </a:xfrm>
          <a:prstGeom prst="rect">
            <a:avLst/>
          </a:prstGeom>
        </p:spPr>
        <p:txBody>
          <a:bodyPr anchor="b">
            <a:normAutofit/>
          </a:bodyPr>
          <a:lstStyle>
            <a:lvl1pPr marL="0" indent="0" algn="l">
              <a:buNone/>
              <a:defRPr sz="1333" b="0" i="0">
                <a:solidFill>
                  <a:srgbClr val="FFFFFF"/>
                </a:solidFill>
                <a:latin typeface="+mn-lt"/>
                <a:cs typeface="Arial" panose="020B0604020202020204" pitchFamily="34" charset="0"/>
              </a:defRPr>
            </a:lvl1pPr>
            <a:lvl2pPr marL="457070" indent="0" algn="ctr">
              <a:buNone/>
              <a:defRPr>
                <a:solidFill>
                  <a:schemeClr val="tx1">
                    <a:tint val="75000"/>
                  </a:schemeClr>
                </a:solidFill>
              </a:defRPr>
            </a:lvl2pPr>
            <a:lvl3pPr marL="914142" indent="0" algn="ctr">
              <a:buNone/>
              <a:defRPr>
                <a:solidFill>
                  <a:schemeClr val="tx1">
                    <a:tint val="75000"/>
                  </a:schemeClr>
                </a:solidFill>
              </a:defRPr>
            </a:lvl3pPr>
            <a:lvl4pPr marL="1371212" indent="0" algn="ctr">
              <a:buNone/>
              <a:defRPr>
                <a:solidFill>
                  <a:schemeClr val="tx1">
                    <a:tint val="75000"/>
                  </a:schemeClr>
                </a:solidFill>
              </a:defRPr>
            </a:lvl4pPr>
            <a:lvl5pPr marL="1828281" indent="0" algn="ctr">
              <a:buNone/>
              <a:defRPr>
                <a:solidFill>
                  <a:schemeClr val="tx1">
                    <a:tint val="75000"/>
                  </a:schemeClr>
                </a:solidFill>
              </a:defRPr>
            </a:lvl5pPr>
            <a:lvl6pPr marL="2285352" indent="0" algn="ctr">
              <a:buNone/>
              <a:defRPr>
                <a:solidFill>
                  <a:schemeClr val="tx1">
                    <a:tint val="75000"/>
                  </a:schemeClr>
                </a:solidFill>
              </a:defRPr>
            </a:lvl6pPr>
            <a:lvl7pPr marL="2742423" indent="0" algn="ctr">
              <a:buNone/>
              <a:defRPr>
                <a:solidFill>
                  <a:schemeClr val="tx1">
                    <a:tint val="75000"/>
                  </a:schemeClr>
                </a:solidFill>
              </a:defRPr>
            </a:lvl7pPr>
            <a:lvl8pPr marL="3199493" indent="0" algn="ctr">
              <a:buNone/>
              <a:defRPr>
                <a:solidFill>
                  <a:schemeClr val="tx1">
                    <a:tint val="75000"/>
                  </a:schemeClr>
                </a:solidFill>
              </a:defRPr>
            </a:lvl8pPr>
            <a:lvl9pPr marL="3656563" indent="0" algn="ctr">
              <a:buNone/>
              <a:defRPr>
                <a:solidFill>
                  <a:schemeClr val="tx1">
                    <a:tint val="75000"/>
                  </a:schemeClr>
                </a:solidFill>
              </a:defRPr>
            </a:lvl9pPr>
          </a:lstStyle>
          <a:p>
            <a:r>
              <a:rPr lang="es-ES"/>
              <a:t>Date</a:t>
            </a:r>
            <a:br>
              <a:rPr lang="es-ES"/>
            </a:br>
            <a:r>
              <a:rPr lang="es-ES" err="1"/>
              <a:t>Name</a:t>
            </a:r>
            <a:r>
              <a:rPr lang="es-ES"/>
              <a:t> </a:t>
            </a:r>
            <a:r>
              <a:rPr lang="es-ES" err="1"/>
              <a:t>of</a:t>
            </a:r>
            <a:r>
              <a:rPr lang="es-ES"/>
              <a:t> </a:t>
            </a:r>
            <a:r>
              <a:rPr lang="es-ES" err="1"/>
              <a:t>moderator</a:t>
            </a:r>
            <a:br>
              <a:rPr lang="es-ES"/>
            </a:br>
            <a:r>
              <a:rPr lang="es-ES" err="1"/>
              <a:t>Organizational</a:t>
            </a:r>
            <a:r>
              <a:rPr lang="es-ES"/>
              <a:t> </a:t>
            </a:r>
            <a:r>
              <a:rPr lang="es-ES" err="1"/>
              <a:t>Unit</a:t>
            </a:r>
            <a:endParaRPr lang="de-CH"/>
          </a:p>
        </p:txBody>
      </p:sp>
      <p:sp>
        <p:nvSpPr>
          <p:cNvPr id="13" name="Picture Placeholder 2">
            <a:extLst>
              <a:ext uri="{FF2B5EF4-FFF2-40B4-BE49-F238E27FC236}">
                <a16:creationId xmlns:a16="http://schemas.microsoft.com/office/drawing/2014/main" id="{01ECD90E-77EF-4146-BC88-83F54A170EE7}"/>
              </a:ext>
            </a:extLst>
          </p:cNvPr>
          <p:cNvSpPr>
            <a:spLocks noGrp="1"/>
          </p:cNvSpPr>
          <p:nvPr>
            <p:ph type="pic" sz="quarter" idx="12" hasCustomPrompt="1"/>
          </p:nvPr>
        </p:nvSpPr>
        <p:spPr>
          <a:xfrm>
            <a:off x="7152000" y="1818000"/>
            <a:ext cx="5040000" cy="5040000"/>
          </a:xfrm>
          <a:prstGeom prst="ellipse">
            <a:avLst/>
          </a:prstGeom>
        </p:spPr>
        <p:txBody>
          <a:bodyPr/>
          <a:lstStyle>
            <a:lvl1pPr algn="ctr">
              <a:buNone/>
              <a:defRPr>
                <a:solidFill>
                  <a:srgbClr val="FFFFFF"/>
                </a:solidFill>
              </a:defRPr>
            </a:lvl1pPr>
          </a:lstStyle>
          <a:p>
            <a:r>
              <a:rPr lang="en-US" noProof="0"/>
              <a:t>Add a picture here</a:t>
            </a:r>
          </a:p>
        </p:txBody>
      </p:sp>
      <p:grpSp>
        <p:nvGrpSpPr>
          <p:cNvPr id="6" name="Group 5">
            <a:extLst>
              <a:ext uri="{FF2B5EF4-FFF2-40B4-BE49-F238E27FC236}">
                <a16:creationId xmlns:a16="http://schemas.microsoft.com/office/drawing/2014/main" id="{1D8371BF-9B29-062E-8207-9E74557C5A50}"/>
              </a:ext>
            </a:extLst>
          </p:cNvPr>
          <p:cNvGrpSpPr/>
          <p:nvPr userDrawn="1"/>
        </p:nvGrpSpPr>
        <p:grpSpPr>
          <a:xfrm>
            <a:off x="5961949" y="5263993"/>
            <a:ext cx="1757961" cy="1802643"/>
            <a:chOff x="5982267" y="5263990"/>
            <a:chExt cx="1757961" cy="1802643"/>
          </a:xfrm>
        </p:grpSpPr>
        <p:sp>
          <p:nvSpPr>
            <p:cNvPr id="8" name="Oval 7">
              <a:extLst>
                <a:ext uri="{FF2B5EF4-FFF2-40B4-BE49-F238E27FC236}">
                  <a16:creationId xmlns:a16="http://schemas.microsoft.com/office/drawing/2014/main" id="{4DAB0236-6C38-B34A-8F66-28042E6B5795}"/>
                </a:ext>
              </a:extLst>
            </p:cNvPr>
            <p:cNvSpPr/>
            <p:nvPr userDrawn="1"/>
          </p:nvSpPr>
          <p:spPr bwMode="auto">
            <a:xfrm>
              <a:off x="6451366" y="6043966"/>
              <a:ext cx="358121" cy="357821"/>
            </a:xfrm>
            <a:prstGeom prst="ellipse">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142"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effectLst/>
                <a:latin typeface="Zurich Sans" panose="02000000000000000000" pitchFamily="2" charset="0"/>
              </a:endParaRPr>
            </a:p>
          </p:txBody>
        </p:sp>
        <p:sp>
          <p:nvSpPr>
            <p:cNvPr id="9" name="Freeform 8">
              <a:extLst>
                <a:ext uri="{FF2B5EF4-FFF2-40B4-BE49-F238E27FC236}">
                  <a16:creationId xmlns:a16="http://schemas.microsoft.com/office/drawing/2014/main" id="{2222B2D3-BCA4-A346-9298-0E2A0DE651CB}"/>
                </a:ext>
              </a:extLst>
            </p:cNvPr>
            <p:cNvSpPr/>
            <p:nvPr userDrawn="1"/>
          </p:nvSpPr>
          <p:spPr bwMode="auto">
            <a:xfrm rot="3732426">
              <a:off x="6384854" y="5711260"/>
              <a:ext cx="1802643" cy="908104"/>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142"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effectLst/>
                <a:latin typeface="Zurich Sans" panose="02000000000000000000" pitchFamily="2" charset="0"/>
              </a:endParaRPr>
            </a:p>
          </p:txBody>
        </p:sp>
        <p:sp>
          <p:nvSpPr>
            <p:cNvPr id="14" name="Freeform 13">
              <a:extLst>
                <a:ext uri="{FF2B5EF4-FFF2-40B4-BE49-F238E27FC236}">
                  <a16:creationId xmlns:a16="http://schemas.microsoft.com/office/drawing/2014/main" id="{728A1540-69AF-9D49-8BEA-D4D96958F324}"/>
                </a:ext>
              </a:extLst>
            </p:cNvPr>
            <p:cNvSpPr/>
            <p:nvPr userDrawn="1"/>
          </p:nvSpPr>
          <p:spPr bwMode="auto">
            <a:xfrm>
              <a:off x="5982267" y="6399389"/>
              <a:ext cx="910609" cy="458611"/>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142"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effectLst/>
                <a:latin typeface="Zurich Sans" panose="02000000000000000000" pitchFamily="2" charset="0"/>
              </a:endParaRPr>
            </a:p>
          </p:txBody>
        </p:sp>
      </p:grpSp>
      <p:pic>
        <p:nvPicPr>
          <p:cNvPr id="15" name="ZRS Logo Horozontal">
            <a:extLst>
              <a:ext uri="{FF2B5EF4-FFF2-40B4-BE49-F238E27FC236}">
                <a16:creationId xmlns:a16="http://schemas.microsoft.com/office/drawing/2014/main" id="{90E61467-A06C-4DC7-86B8-1E4A52853A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06319" y="297021"/>
            <a:ext cx="1700701" cy="564699"/>
          </a:xfrm>
          <a:prstGeom prst="rect">
            <a:avLst/>
          </a:prstGeom>
        </p:spPr>
      </p:pic>
      <p:sp>
        <p:nvSpPr>
          <p:cNvPr id="4" name="TextBox 3">
            <a:extLst>
              <a:ext uri="{FF2B5EF4-FFF2-40B4-BE49-F238E27FC236}">
                <a16:creationId xmlns:a16="http://schemas.microsoft.com/office/drawing/2014/main" id="{0DBDB47B-A093-D4A5-AF17-19879890C81A}"/>
              </a:ext>
            </a:extLst>
          </p:cNvPr>
          <p:cNvSpPr txBox="1"/>
          <p:nvPr userDrawn="1"/>
        </p:nvSpPr>
        <p:spPr>
          <a:xfrm>
            <a:off x="11158234" y="6548973"/>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5"/>
                </a:solidFill>
              </a:rPr>
              <a:t>© Zurich</a:t>
            </a:r>
          </a:p>
        </p:txBody>
      </p:sp>
      <p:sp>
        <p:nvSpPr>
          <p:cNvPr id="5" name="Slide Number Placeholder 5">
            <a:extLst>
              <a:ext uri="{FF2B5EF4-FFF2-40B4-BE49-F238E27FC236}">
                <a16:creationId xmlns:a16="http://schemas.microsoft.com/office/drawing/2014/main" id="{FF5B9FC5-893C-4F39-FA06-83A00FE63FBF}"/>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5"/>
                </a:solidFill>
                <a:latin typeface="+mn-lt"/>
                <a:cs typeface="Arial" panose="020B0604020202020204" pitchFamily="34" charset="0"/>
              </a:defRPr>
            </a:lvl1pPr>
          </a:lstStyle>
          <a:p>
            <a:fld id="{FA58F0B4-6BC7-4BFB-804F-EE9B892902C7}" type="slidenum">
              <a:rPr lang="en-US" smtClean="0"/>
              <a:pPr/>
              <a:t>‹nr.›</a:t>
            </a:fld>
            <a:endParaRPr lang="en-US"/>
          </a:p>
        </p:txBody>
      </p:sp>
    </p:spTree>
    <p:extLst>
      <p:ext uri="{BB962C8B-B14F-4D97-AF65-F5344CB8AC3E}">
        <p14:creationId xmlns:p14="http://schemas.microsoft.com/office/powerpoint/2010/main" val="23985705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2261053" y="6548967"/>
            <a:ext cx="8112000" cy="181960"/>
          </a:xfrm>
          <a:prstGeom prst="rect">
            <a:avLst/>
          </a:prstGeom>
        </p:spPr>
        <p:txBody>
          <a:bodyPr tIns="0" bIns="0">
            <a:noAutofit/>
          </a:bodyPr>
          <a:lstStyle>
            <a:lvl1pPr algn="r">
              <a:defRPr sz="900"/>
            </a:lvl1pPr>
          </a:lstStyle>
          <a:p>
            <a:endParaRPr lang="en-US"/>
          </a:p>
        </p:txBody>
      </p:sp>
      <p:sp>
        <p:nvSpPr>
          <p:cNvPr id="16" name="Title 1">
            <a:extLst>
              <a:ext uri="{FF2B5EF4-FFF2-40B4-BE49-F238E27FC236}">
                <a16:creationId xmlns:a16="http://schemas.microsoft.com/office/drawing/2014/main" id="{9979B0B5-DCB0-844D-8724-1DB31C8A8C0B}"/>
              </a:ext>
            </a:extLst>
          </p:cNvPr>
          <p:cNvSpPr>
            <a:spLocks noGrp="1"/>
          </p:cNvSpPr>
          <p:nvPr>
            <p:ph type="title"/>
          </p:nvPr>
        </p:nvSpPr>
        <p:spPr>
          <a:xfrm>
            <a:off x="252662" y="260269"/>
            <a:ext cx="9586415" cy="415499"/>
          </a:xfrm>
        </p:spPr>
        <p:txBody>
          <a:bodyPr>
            <a:spAutoFit/>
          </a:bodyPr>
          <a:lstStyle>
            <a:lvl1pPr>
              <a:defRPr sz="3000">
                <a:latin typeface="+mn-lt"/>
              </a:defRPr>
            </a:lvl1pPr>
          </a:lstStyle>
          <a:p>
            <a:r>
              <a:rPr lang="en-US"/>
              <a:t>Click to edit Master title style</a:t>
            </a:r>
          </a:p>
        </p:txBody>
      </p:sp>
      <p:sp>
        <p:nvSpPr>
          <p:cNvPr id="5" name="Slide Number Placeholder 5">
            <a:extLst>
              <a:ext uri="{FF2B5EF4-FFF2-40B4-BE49-F238E27FC236}">
                <a16:creationId xmlns:a16="http://schemas.microsoft.com/office/drawing/2014/main" id="{9DE5A81A-7A1E-7DF7-AF9C-54ABA549C67F}"/>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pic>
        <p:nvPicPr>
          <p:cNvPr id="2" name="ZRS Logo Horozontal">
            <a:extLst>
              <a:ext uri="{FF2B5EF4-FFF2-40B4-BE49-F238E27FC236}">
                <a16:creationId xmlns:a16="http://schemas.microsoft.com/office/drawing/2014/main" id="{B1347C1C-7461-2036-8C38-EF008BF41A2B}"/>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194" t="5628" b="28088"/>
          <a:stretch/>
        </p:blipFill>
        <p:spPr>
          <a:xfrm>
            <a:off x="10342653" y="317501"/>
            <a:ext cx="1510791" cy="520700"/>
          </a:xfrm>
          <a:prstGeom prst="rect">
            <a:avLst/>
          </a:prstGeom>
        </p:spPr>
      </p:pic>
    </p:spTree>
    <p:extLst>
      <p:ext uri="{BB962C8B-B14F-4D97-AF65-F5344CB8AC3E}">
        <p14:creationId xmlns:p14="http://schemas.microsoft.com/office/powerpoint/2010/main" val="11838682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2 text boxe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06F12AA-9AAB-79B2-974E-3DE8CFCB08D8}"/>
              </a:ext>
            </a:extLst>
          </p:cNvPr>
          <p:cNvGraphicFramePr>
            <a:graphicFrameLocks noChangeAspect="1"/>
          </p:cNvGraphicFramePr>
          <p:nvPr userDrawn="1">
            <p:custDataLst>
              <p:tags r:id="rId1"/>
            </p:custDataLst>
            <p:extLst>
              <p:ext uri="{D42A27DB-BD31-4B8C-83A1-F6EECF244321}">
                <p14:modId xmlns:p14="http://schemas.microsoft.com/office/powerpoint/2010/main" val="2963315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E06F12AA-9AAB-79B2-974E-3DE8CFCB08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334800" y="1206178"/>
            <a:ext cx="5580000" cy="5040145"/>
          </a:xfrm>
        </p:spPr>
        <p:txBody>
          <a:bodyPr lIns="72000" tIns="72000" rIns="72000" bIns="72000"/>
          <a:lstStyle>
            <a:lvl1pPr rtl="0">
              <a:defRPr sz="1800">
                <a:latin typeface="+mn-lt"/>
                <a:cs typeface="Arial" panose="020B0604020202020204" pitchFamily="34" charset="0"/>
              </a:defRPr>
            </a:lvl1pPr>
            <a:lvl2pPr rtl="0">
              <a:defRPr sz="1600">
                <a:latin typeface="+mn-lt"/>
                <a:cs typeface="Arial" panose="020B0604020202020204" pitchFamily="34" charset="0"/>
              </a:defRPr>
            </a:lvl2pPr>
            <a:lvl3pPr rtl="0">
              <a:defRPr sz="1400">
                <a:latin typeface="+mn-lt"/>
                <a:cs typeface="Arial" panose="020B0604020202020204" pitchFamily="34" charset="0"/>
              </a:defRPr>
            </a:lvl3pPr>
            <a:lvl4pPr rtl="0">
              <a:defRPr sz="1200">
                <a:latin typeface="+mn-lt"/>
                <a:cs typeface="Arial" panose="020B0604020202020204" pitchFamily="34" charset="0"/>
              </a:defRPr>
            </a:lvl4pPr>
            <a:lvl5pPr rtl="0">
              <a:defRPr sz="1200">
                <a:latin typeface="+mn-lt"/>
                <a:cs typeface="Arial" panose="020B0604020202020204" pitchFamily="34" charset="0"/>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7" name="Content Placeholder 2">
            <a:extLst>
              <a:ext uri="{FF2B5EF4-FFF2-40B4-BE49-F238E27FC236}">
                <a16:creationId xmlns:a16="http://schemas.microsoft.com/office/drawing/2014/main" id="{DD38D433-C715-4635-977C-8E54E7555A08}"/>
              </a:ext>
            </a:extLst>
          </p:cNvPr>
          <p:cNvSpPr>
            <a:spLocks noGrp="1"/>
          </p:cNvSpPr>
          <p:nvPr>
            <p:ph idx="13" hasCustomPrompt="1"/>
          </p:nvPr>
        </p:nvSpPr>
        <p:spPr>
          <a:xfrm>
            <a:off x="6280731" y="1206177"/>
            <a:ext cx="5578776" cy="5040145"/>
          </a:xfrm>
        </p:spPr>
        <p:txBody>
          <a:bodyPr lIns="72000" tIns="72000" rIns="72000" bIns="72000"/>
          <a:lstStyle>
            <a:lvl1pPr rtl="0">
              <a:defRPr sz="1800">
                <a:latin typeface="+mn-lt"/>
                <a:cs typeface="Arial" panose="020B0604020202020204" pitchFamily="34" charset="0"/>
              </a:defRPr>
            </a:lvl1pPr>
            <a:lvl2pPr rtl="0">
              <a:defRPr sz="1600">
                <a:latin typeface="+mn-lt"/>
                <a:cs typeface="Arial" panose="020B0604020202020204" pitchFamily="34" charset="0"/>
              </a:defRPr>
            </a:lvl2pPr>
            <a:lvl3pPr rtl="0">
              <a:defRPr sz="1400">
                <a:latin typeface="+mn-lt"/>
                <a:cs typeface="Arial" panose="020B0604020202020204" pitchFamily="34" charset="0"/>
              </a:defRPr>
            </a:lvl3pPr>
            <a:lvl4pPr rtl="0">
              <a:defRPr sz="1200">
                <a:latin typeface="+mn-lt"/>
                <a:cs typeface="Arial" panose="020B0604020202020204" pitchFamily="34" charset="0"/>
              </a:defRPr>
            </a:lvl4pPr>
            <a:lvl5pPr rtl="0">
              <a:defRPr sz="1200">
                <a:latin typeface="+mn-lt"/>
                <a:cs typeface="Arial" panose="020B0604020202020204" pitchFamily="34" charset="0"/>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20" name="Title 1">
            <a:extLst>
              <a:ext uri="{FF2B5EF4-FFF2-40B4-BE49-F238E27FC236}">
                <a16:creationId xmlns:a16="http://schemas.microsoft.com/office/drawing/2014/main" id="{69E92947-3625-9041-9213-E2B75D84A8F0}"/>
              </a:ext>
            </a:extLst>
          </p:cNvPr>
          <p:cNvSpPr>
            <a:spLocks noGrp="1"/>
          </p:cNvSpPr>
          <p:nvPr>
            <p:ph type="title" hasCustomPrompt="1"/>
          </p:nvPr>
        </p:nvSpPr>
        <p:spPr>
          <a:xfrm>
            <a:off x="334800" y="260268"/>
            <a:ext cx="9495720" cy="332399"/>
          </a:xfrm>
        </p:spPr>
        <p:txBody>
          <a:bodyPr vert="horz" wrap="square">
            <a:spAutoFit/>
          </a:bodyPr>
          <a:lstStyle>
            <a:lvl1pPr rtl="0">
              <a:defRPr>
                <a:latin typeface="+mj-lt"/>
                <a:cs typeface="Arial" panose="020B0604020202020204" pitchFamily="34" charset="0"/>
              </a:defRPr>
            </a:lvl1pPr>
          </a:lstStyle>
          <a:p>
            <a:r>
              <a:rPr lang="de-DE"/>
              <a:t>Click to edit Master title style</a:t>
            </a:r>
          </a:p>
        </p:txBody>
      </p:sp>
      <p:sp>
        <p:nvSpPr>
          <p:cNvPr id="21" name="Subtitle 2">
            <a:extLst>
              <a:ext uri="{FF2B5EF4-FFF2-40B4-BE49-F238E27FC236}">
                <a16:creationId xmlns:a16="http://schemas.microsoft.com/office/drawing/2014/main" id="{710AC261-10B5-584A-91F3-14A61852EFBE}"/>
              </a:ext>
            </a:extLst>
          </p:cNvPr>
          <p:cNvSpPr>
            <a:spLocks noGrp="1"/>
          </p:cNvSpPr>
          <p:nvPr>
            <p:ph type="subTitle" idx="14" hasCustomPrompt="1"/>
          </p:nvPr>
        </p:nvSpPr>
        <p:spPr>
          <a:xfrm>
            <a:off x="334800" y="610597"/>
            <a:ext cx="9495720" cy="332399"/>
          </a:xfrm>
          <a:prstGeom prst="rect">
            <a:avLst/>
          </a:prstGeom>
        </p:spPr>
        <p:txBody>
          <a:bodyPr anchor="t">
            <a:normAutofit/>
          </a:bodyPr>
          <a:lstStyle>
            <a:lvl1pPr marL="0" indent="0" algn="l" rtl="0">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Click to edit Master subtitle style</a:t>
            </a:r>
            <a:endParaRPr lang="de-DE" noProof="0"/>
          </a:p>
        </p:txBody>
      </p:sp>
      <p:sp>
        <p:nvSpPr>
          <p:cNvPr id="32" name="Slide Number Placeholder 5">
            <a:extLst>
              <a:ext uri="{FF2B5EF4-FFF2-40B4-BE49-F238E27FC236}">
                <a16:creationId xmlns:a16="http://schemas.microsoft.com/office/drawing/2014/main" id="{7778DC4A-6DD8-4810-A49B-89B671171FAE}"/>
              </a:ext>
            </a:extLst>
          </p:cNvPr>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34" name="Footer Placeholder 3">
            <a:extLst>
              <a:ext uri="{FF2B5EF4-FFF2-40B4-BE49-F238E27FC236}">
                <a16:creationId xmlns:a16="http://schemas.microsoft.com/office/drawing/2014/main" id="{B66B4EB9-2868-4BA8-BD4D-16B8E7A16DF5}"/>
              </a:ext>
            </a:extLst>
          </p:cNvPr>
          <p:cNvSpPr>
            <a:spLocks noGrp="1"/>
          </p:cNvSpPr>
          <p:nvPr>
            <p:ph type="ftr" sz="quarter" idx="3"/>
          </p:nvPr>
        </p:nvSpPr>
        <p:spPr>
          <a:xfrm>
            <a:off x="2261053" y="6531715"/>
            <a:ext cx="8112000" cy="181960"/>
          </a:xfrm>
          <a:prstGeom prst="rect">
            <a:avLst/>
          </a:prstGeom>
        </p:spPr>
        <p:txBody>
          <a:bodyPr lIns="0" tIns="0" rIns="0" bIns="0"/>
          <a:lstStyle>
            <a:lvl1pPr algn="r" rtl="0">
              <a:defRPr sz="900">
                <a:solidFill>
                  <a:schemeClr val="accent1"/>
                </a:solidFill>
                <a:latin typeface="+mn-lt"/>
                <a:cs typeface="Arial" panose="020B0604020202020204" pitchFamily="34" charset="0"/>
              </a:defRPr>
            </a:lvl1pPr>
          </a:lstStyle>
          <a:p>
            <a:endParaRPr lang="de-DE"/>
          </a:p>
        </p:txBody>
      </p:sp>
    </p:spTree>
    <p:extLst>
      <p:ext uri="{BB962C8B-B14F-4D97-AF65-F5344CB8AC3E}">
        <p14:creationId xmlns:p14="http://schemas.microsoft.com/office/powerpoint/2010/main" val="39693274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746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B7CC5-E206-49B7-8DAB-D820D5041428}"/>
              </a:ext>
            </a:extLst>
          </p:cNvPr>
          <p:cNvSpPr>
            <a:spLocks noGrp="1"/>
          </p:cNvSpPr>
          <p:nvPr>
            <p:ph type="title"/>
          </p:nvPr>
        </p:nvSpPr>
        <p:spPr/>
        <p:txBody>
          <a:bodyPr/>
          <a:lstStyle>
            <a:lvl1pPr>
              <a:defRPr>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08C05DA1-1C27-4AC2-B3D2-7014C530987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3">
            <a:extLst>
              <a:ext uri="{FF2B5EF4-FFF2-40B4-BE49-F238E27FC236}">
                <a16:creationId xmlns:a16="http://schemas.microsoft.com/office/drawing/2014/main" id="{70325670-E080-31A6-FF91-D7B405CB586A}"/>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sym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CBE28F7E-29B6-2343-EC46-64D3F20C44EF}"/>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pic>
        <p:nvPicPr>
          <p:cNvPr id="5" name="ZRS Logo Horozontal">
            <a:extLst>
              <a:ext uri="{FF2B5EF4-FFF2-40B4-BE49-F238E27FC236}">
                <a16:creationId xmlns:a16="http://schemas.microsoft.com/office/drawing/2014/main" id="{B2D1F6F2-EC11-5853-972C-9768F39E1990}"/>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194" t="5628" b="28088"/>
          <a:stretch/>
        </p:blipFill>
        <p:spPr>
          <a:xfrm>
            <a:off x="10342653" y="317501"/>
            <a:ext cx="1510791" cy="520700"/>
          </a:xfrm>
          <a:prstGeom prst="rect">
            <a:avLst/>
          </a:prstGeom>
        </p:spPr>
      </p:pic>
    </p:spTree>
    <p:extLst>
      <p:ext uri="{BB962C8B-B14F-4D97-AF65-F5344CB8AC3E}">
        <p14:creationId xmlns:p14="http://schemas.microsoft.com/office/powerpoint/2010/main" val="32867393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1406EC-9BFF-3460-49A6-84F969C645E2}"/>
              </a:ext>
            </a:extLst>
          </p:cNvPr>
          <p:cNvGraphicFramePr>
            <a:graphicFrameLocks noChangeAspect="1"/>
          </p:cNvGraphicFramePr>
          <p:nvPr userDrawn="1">
            <p:custDataLst>
              <p:tags r:id="rId1"/>
            </p:custDataLst>
            <p:extLst>
              <p:ext uri="{D42A27DB-BD31-4B8C-83A1-F6EECF244321}">
                <p14:modId xmlns:p14="http://schemas.microsoft.com/office/powerpoint/2010/main" val="222940137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ct 3" hidden="1">
                        <a:extLst>
                          <a:ext uri="{FF2B5EF4-FFF2-40B4-BE49-F238E27FC236}">
                            <a16:creationId xmlns:a16="http://schemas.microsoft.com/office/drawing/2014/main" id="{2F1406EC-9BFF-3460-49A6-84F969C645E2}"/>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3" name="Content Placeholder 2"/>
          <p:cNvSpPr>
            <a:spLocks noGrp="1"/>
          </p:cNvSpPr>
          <p:nvPr>
            <p:ph idx="1"/>
          </p:nvPr>
        </p:nvSpPr>
        <p:spPr>
          <a:xfrm>
            <a:off x="252000" y="1198800"/>
            <a:ext cx="11678400" cy="5040000"/>
          </a:xfrm>
        </p:spPr>
        <p:txBody>
          <a:bodyPr/>
          <a:lstStyle>
            <a:lvl1pPr>
              <a:defRPr sz="1800">
                <a:latin typeface="+mn-lt"/>
                <a:cs typeface="Arial" panose="020B0604020202020204" pitchFamily="34" charset="0"/>
                <a:sym typeface="Arial" panose="020B0604020202020204" pitchFamily="34" charset="0"/>
              </a:defRPr>
            </a:lvl1pPr>
            <a:lvl2pPr>
              <a:defRPr sz="1600">
                <a:latin typeface="+mn-lt"/>
                <a:cs typeface="Arial" panose="020B0604020202020204" pitchFamily="34" charset="0"/>
                <a:sym typeface="Arial" panose="020B0604020202020204" pitchFamily="34" charset="0"/>
              </a:defRPr>
            </a:lvl2pPr>
            <a:lvl3pPr>
              <a:defRPr sz="1400">
                <a:latin typeface="+mn-lt"/>
                <a:cs typeface="Arial" panose="020B0604020202020204" pitchFamily="34" charset="0"/>
                <a:sym typeface="Arial" panose="020B0604020202020204" pitchFamily="34" charset="0"/>
              </a:defRPr>
            </a:lvl3pPr>
            <a:lvl4pPr>
              <a:defRPr sz="1200">
                <a:latin typeface="+mn-lt"/>
                <a:cs typeface="Arial" panose="020B0604020202020204" pitchFamily="34" charset="0"/>
                <a:sym typeface="Arial" panose="020B0604020202020204" pitchFamily="34" charset="0"/>
              </a:defRPr>
            </a:lvl4pPr>
            <a:lvl5pPr>
              <a:defRPr sz="1200">
                <a:latin typeface="+mn-lt"/>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sym typeface="Arial" panose="020B0604020202020204" pitchFamily="34" charset="0"/>
              </a:defRPr>
            </a:lvl1pPr>
          </a:lstStyle>
          <a:p>
            <a:endParaRPr lang="en-US"/>
          </a:p>
        </p:txBody>
      </p:sp>
      <p:sp>
        <p:nvSpPr>
          <p:cNvPr id="6" name="Title Placeholder 1">
            <a:extLst>
              <a:ext uri="{FF2B5EF4-FFF2-40B4-BE49-F238E27FC236}">
                <a16:creationId xmlns:a16="http://schemas.microsoft.com/office/drawing/2014/main" id="{18E30B75-9CF0-0775-B941-FE7D212DB476}"/>
              </a:ext>
            </a:extLst>
          </p:cNvPr>
          <p:cNvSpPr>
            <a:spLocks noGrp="1"/>
          </p:cNvSpPr>
          <p:nvPr>
            <p:ph type="title"/>
          </p:nvPr>
        </p:nvSpPr>
        <p:spPr>
          <a:xfrm>
            <a:off x="250827" y="249930"/>
            <a:ext cx="9583200" cy="332399"/>
          </a:xfrm>
          <a:prstGeom prst="rect">
            <a:avLst/>
          </a:prstGeom>
        </p:spPr>
        <p:txBody>
          <a:bodyPr vert="horz" lIns="0" tIns="0" rIns="0" bIns="0" rtlCol="0" anchor="t" anchorCtr="0">
            <a:spAutoFit/>
          </a:bodyPr>
          <a:lstStyle>
            <a:lvl1pPr>
              <a:defRPr>
                <a:latin typeface="+mn-lt"/>
                <a:cs typeface="Arial" panose="020B0604020202020204" pitchFamily="34" charset="0"/>
                <a:sym typeface="Arial" panose="020B0604020202020204" pitchFamily="34" charset="0"/>
              </a:defRPr>
            </a:lvl1pPr>
          </a:lstStyle>
          <a:p>
            <a:r>
              <a:rPr lang="en-US"/>
              <a:t>Click to edit Master title style</a:t>
            </a:r>
          </a:p>
        </p:txBody>
      </p:sp>
      <p:sp>
        <p:nvSpPr>
          <p:cNvPr id="15" name="Content Placeholder 14">
            <a:extLst>
              <a:ext uri="{FF2B5EF4-FFF2-40B4-BE49-F238E27FC236}">
                <a16:creationId xmlns:a16="http://schemas.microsoft.com/office/drawing/2014/main" id="{5EE267CE-325C-462B-BBBE-BB1B3ABD1F8D}"/>
              </a:ext>
            </a:extLst>
          </p:cNvPr>
          <p:cNvSpPr>
            <a:spLocks noGrp="1"/>
          </p:cNvSpPr>
          <p:nvPr>
            <p:ph sz="quarter" idx="10" hasCustomPrompt="1"/>
          </p:nvPr>
        </p:nvSpPr>
        <p:spPr>
          <a:xfrm>
            <a:off x="250825" y="666077"/>
            <a:ext cx="9583200" cy="276999"/>
          </a:xfrm>
        </p:spPr>
        <p:txBody>
          <a:bodyPr wrap="square">
            <a:spAutoFit/>
          </a:bodyPr>
          <a:lstStyle>
            <a:lvl1pPr marL="0" indent="0">
              <a:buNone/>
              <a:defRPr sz="1800">
                <a:solidFill>
                  <a:schemeClr val="accent1"/>
                </a:solidFill>
                <a:latin typeface="+mn-lt"/>
                <a:cs typeface="Arial" panose="020B0604020202020204" pitchFamily="34" charset="0"/>
                <a:sym typeface="Arial" panose="020B0604020202020204" pitchFamily="34" charset="0"/>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Master title style</a:t>
            </a:r>
          </a:p>
        </p:txBody>
      </p:sp>
      <p:sp>
        <p:nvSpPr>
          <p:cNvPr id="7" name="Slide Number Placeholder 5">
            <a:extLst>
              <a:ext uri="{FF2B5EF4-FFF2-40B4-BE49-F238E27FC236}">
                <a16:creationId xmlns:a16="http://schemas.microsoft.com/office/drawing/2014/main" id="{CBCFE06F-DD5B-B55B-1E6F-F2554A1DBA01}"/>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pic>
        <p:nvPicPr>
          <p:cNvPr id="5" name="ZRS Logo Horozontal">
            <a:extLst>
              <a:ext uri="{FF2B5EF4-FFF2-40B4-BE49-F238E27FC236}">
                <a16:creationId xmlns:a16="http://schemas.microsoft.com/office/drawing/2014/main" id="{92782766-96BE-1D66-1EBA-5B7035F3A027}"/>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10342653" y="317502"/>
            <a:ext cx="1510791" cy="520700"/>
          </a:xfrm>
          <a:prstGeom prst="rect">
            <a:avLst/>
          </a:prstGeom>
        </p:spPr>
      </p:pic>
    </p:spTree>
    <p:extLst>
      <p:ext uri="{BB962C8B-B14F-4D97-AF65-F5344CB8AC3E}">
        <p14:creationId xmlns:p14="http://schemas.microsoft.com/office/powerpoint/2010/main" val="1775834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2 text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4C0D27-889B-3151-6ECA-B7B1AF6D6458}"/>
              </a:ext>
            </a:extLst>
          </p:cNvPr>
          <p:cNvGraphicFramePr>
            <a:graphicFrameLocks noChangeAspect="1"/>
          </p:cNvGraphicFramePr>
          <p:nvPr userDrawn="1">
            <p:custDataLst>
              <p:tags r:id="rId1"/>
            </p:custDataLst>
            <p:extLst>
              <p:ext uri="{D42A27DB-BD31-4B8C-83A1-F6EECF244321}">
                <p14:modId xmlns:p14="http://schemas.microsoft.com/office/powerpoint/2010/main" val="4074386597"/>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B04C0D27-889B-3151-6ECA-B7B1AF6D6458}"/>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3" name="Content Placeholder 2"/>
          <p:cNvSpPr>
            <a:spLocks noGrp="1"/>
          </p:cNvSpPr>
          <p:nvPr>
            <p:ph idx="1"/>
          </p:nvPr>
        </p:nvSpPr>
        <p:spPr>
          <a:xfrm>
            <a:off x="252001" y="1198801"/>
            <a:ext cx="5647151" cy="5040145"/>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Content Placeholder 2">
            <a:extLst>
              <a:ext uri="{FF2B5EF4-FFF2-40B4-BE49-F238E27FC236}">
                <a16:creationId xmlns:a16="http://schemas.microsoft.com/office/drawing/2014/main" id="{DD38D433-C715-4635-977C-8E54E7555A08}"/>
              </a:ext>
            </a:extLst>
          </p:cNvPr>
          <p:cNvSpPr>
            <a:spLocks noGrp="1"/>
          </p:cNvSpPr>
          <p:nvPr>
            <p:ph idx="13"/>
          </p:nvPr>
        </p:nvSpPr>
        <p:spPr>
          <a:xfrm>
            <a:off x="6280731" y="1198801"/>
            <a:ext cx="5652000" cy="5040145"/>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4" name="Footer Placeholder 3">
            <a:extLst>
              <a:ext uri="{FF2B5EF4-FFF2-40B4-BE49-F238E27FC236}">
                <a16:creationId xmlns:a16="http://schemas.microsoft.com/office/drawing/2014/main" id="{B66B4EB9-2868-4BA8-BD4D-16B8E7A16DF5}"/>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2" name="Title Placeholder 1">
            <a:extLst>
              <a:ext uri="{FF2B5EF4-FFF2-40B4-BE49-F238E27FC236}">
                <a16:creationId xmlns:a16="http://schemas.microsoft.com/office/drawing/2014/main" id="{C14EA731-2898-D962-FAA6-B0737584A2F4}"/>
              </a:ext>
            </a:extLst>
          </p:cNvPr>
          <p:cNvSpPr>
            <a:spLocks noGrp="1"/>
          </p:cNvSpPr>
          <p:nvPr>
            <p:ph type="title"/>
          </p:nvPr>
        </p:nvSpPr>
        <p:spPr>
          <a:xfrm>
            <a:off x="250829" y="249929"/>
            <a:ext cx="9586415" cy="332399"/>
          </a:xfrm>
          <a:prstGeom prst="rect">
            <a:avLst/>
          </a:prstGeom>
        </p:spPr>
        <p:txBody>
          <a:bodyPr vert="horz" lIns="0" tIns="0" rIns="0" bIns="0" rtlCol="0" anchor="t" anchorCtr="0">
            <a:spAutoFit/>
          </a:bodyPr>
          <a:lstStyle/>
          <a:p>
            <a:r>
              <a:rPr lang="en-GB"/>
              <a:t>Click to edit Master title style</a:t>
            </a:r>
            <a:endParaRPr lang="en-US"/>
          </a:p>
        </p:txBody>
      </p:sp>
      <p:sp>
        <p:nvSpPr>
          <p:cNvPr id="8" name="Content Placeholder 14">
            <a:extLst>
              <a:ext uri="{FF2B5EF4-FFF2-40B4-BE49-F238E27FC236}">
                <a16:creationId xmlns:a16="http://schemas.microsoft.com/office/drawing/2014/main" id="{45C87A36-AF1D-5E17-86AD-9CDBE1DEDA7A}"/>
              </a:ext>
            </a:extLst>
          </p:cNvPr>
          <p:cNvSpPr>
            <a:spLocks noGrp="1"/>
          </p:cNvSpPr>
          <p:nvPr>
            <p:ph sz="quarter" idx="10" hasCustomPrompt="1"/>
          </p:nvPr>
        </p:nvSpPr>
        <p:spPr>
          <a:xfrm>
            <a:off x="250825" y="666077"/>
            <a:ext cx="9583200" cy="276999"/>
          </a:xfrm>
        </p:spPr>
        <p:txBody>
          <a:bodyPr wrap="square">
            <a:spAutoFit/>
          </a:bodyPr>
          <a:lstStyle>
            <a:lvl1pPr marL="0" indent="0">
              <a:buNone/>
              <a:defRPr sz="1800">
                <a:solidFill>
                  <a:schemeClr val="accent1"/>
                </a:solidFill>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Master subtitle style</a:t>
            </a:r>
          </a:p>
        </p:txBody>
      </p:sp>
      <p:pic>
        <p:nvPicPr>
          <p:cNvPr id="19" name="ZRS Logo Horozontal">
            <a:extLst>
              <a:ext uri="{FF2B5EF4-FFF2-40B4-BE49-F238E27FC236}">
                <a16:creationId xmlns:a16="http://schemas.microsoft.com/office/drawing/2014/main" id="{367EF53C-5971-EA6E-FFB4-81260272ED3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00530" y="190545"/>
            <a:ext cx="1338812" cy="444537"/>
          </a:xfrm>
          <a:prstGeom prst="rect">
            <a:avLst/>
          </a:prstGeom>
        </p:spPr>
      </p:pic>
      <p:sp>
        <p:nvSpPr>
          <p:cNvPr id="6" name="Slide Number Placeholder 5">
            <a:extLst>
              <a:ext uri="{FF2B5EF4-FFF2-40B4-BE49-F238E27FC236}">
                <a16:creationId xmlns:a16="http://schemas.microsoft.com/office/drawing/2014/main" id="{9607DAC6-4520-2DCA-E2F5-26717646382D}"/>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Tree>
    <p:extLst>
      <p:ext uri="{BB962C8B-B14F-4D97-AF65-F5344CB8AC3E}">
        <p14:creationId xmlns:p14="http://schemas.microsoft.com/office/powerpoint/2010/main" val="40497768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text box and circle for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68A405-2ADD-CD83-F2C5-E4C87A464DCC}"/>
              </a:ext>
            </a:extLst>
          </p:cNvPr>
          <p:cNvGraphicFramePr>
            <a:graphicFrameLocks noChangeAspect="1"/>
          </p:cNvGraphicFramePr>
          <p:nvPr userDrawn="1">
            <p:custDataLst>
              <p:tags r:id="rId1"/>
            </p:custDataLst>
            <p:extLst>
              <p:ext uri="{D42A27DB-BD31-4B8C-83A1-F6EECF244321}">
                <p14:modId xmlns:p14="http://schemas.microsoft.com/office/powerpoint/2010/main" val="51524010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E968A405-2ADD-CD83-F2C5-E4C87A464DCC}"/>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3" name="Content Placeholder 2"/>
          <p:cNvSpPr>
            <a:spLocks noGrp="1"/>
          </p:cNvSpPr>
          <p:nvPr>
            <p:ph idx="1"/>
          </p:nvPr>
        </p:nvSpPr>
        <p:spPr>
          <a:xfrm>
            <a:off x="252000" y="1198800"/>
            <a:ext cx="5652000" cy="5040000"/>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Picture Placeholder 2">
            <a:extLst>
              <a:ext uri="{FF2B5EF4-FFF2-40B4-BE49-F238E27FC236}">
                <a16:creationId xmlns:a16="http://schemas.microsoft.com/office/drawing/2014/main" id="{E1605E3C-D76A-4678-9277-BF9E20857561}"/>
              </a:ext>
            </a:extLst>
          </p:cNvPr>
          <p:cNvSpPr>
            <a:spLocks noGrp="1"/>
          </p:cNvSpPr>
          <p:nvPr>
            <p:ph type="pic" sz="quarter" idx="13" hasCustomPrompt="1"/>
          </p:nvPr>
        </p:nvSpPr>
        <p:spPr>
          <a:xfrm>
            <a:off x="6813444" y="1198800"/>
            <a:ext cx="5040000" cy="5040000"/>
          </a:xfrm>
          <a:prstGeom prst="ellipse">
            <a:avLst/>
          </a:prstGeom>
        </p:spPr>
        <p:txBody>
          <a:bodyPr/>
          <a:lstStyle>
            <a:lvl1pPr algn="ctr">
              <a:buNone/>
              <a:defRPr b="0" i="0">
                <a:solidFill>
                  <a:srgbClr val="1C67AF"/>
                </a:solidFill>
                <a:latin typeface="+mn-lt"/>
                <a:cs typeface="Arial" panose="020B0604020202020204" pitchFamily="34" charset="0"/>
              </a:defRPr>
            </a:lvl1pPr>
          </a:lstStyle>
          <a:p>
            <a:r>
              <a:rPr lang="en-US" noProof="0"/>
              <a:t>Add a picture here</a:t>
            </a:r>
          </a:p>
        </p:txBody>
      </p:sp>
      <p:sp>
        <p:nvSpPr>
          <p:cNvPr id="32" name="Slide Number Placeholder 5">
            <a:extLst>
              <a:ext uri="{FF2B5EF4-FFF2-40B4-BE49-F238E27FC236}">
                <a16:creationId xmlns:a16="http://schemas.microsoft.com/office/drawing/2014/main" id="{3A975D44-BBDE-415E-AD10-4B5D27EC1F20}"/>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D7853777-3467-41CD-B494-D2A35BD43D1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2" name="Title Placeholder 1">
            <a:extLst>
              <a:ext uri="{FF2B5EF4-FFF2-40B4-BE49-F238E27FC236}">
                <a16:creationId xmlns:a16="http://schemas.microsoft.com/office/drawing/2014/main" id="{CD7FB541-5D52-F76C-98B2-A93A3DE515CB}"/>
              </a:ext>
            </a:extLst>
          </p:cNvPr>
          <p:cNvSpPr>
            <a:spLocks noGrp="1"/>
          </p:cNvSpPr>
          <p:nvPr>
            <p:ph type="title"/>
          </p:nvPr>
        </p:nvSpPr>
        <p:spPr>
          <a:xfrm>
            <a:off x="250829" y="249929"/>
            <a:ext cx="9586415" cy="332399"/>
          </a:xfrm>
          <a:prstGeom prst="rect">
            <a:avLst/>
          </a:prstGeom>
        </p:spPr>
        <p:txBody>
          <a:bodyPr vert="horz" lIns="0" tIns="0" rIns="0" bIns="0" rtlCol="0" anchor="t" anchorCtr="0">
            <a:spAutoFit/>
          </a:bodyPr>
          <a:lstStyle/>
          <a:p>
            <a:r>
              <a:rPr lang="en-GB"/>
              <a:t>Click to edit Master title style</a:t>
            </a:r>
            <a:endParaRPr lang="en-US"/>
          </a:p>
        </p:txBody>
      </p:sp>
      <p:sp>
        <p:nvSpPr>
          <p:cNvPr id="7" name="Content Placeholder 14">
            <a:extLst>
              <a:ext uri="{FF2B5EF4-FFF2-40B4-BE49-F238E27FC236}">
                <a16:creationId xmlns:a16="http://schemas.microsoft.com/office/drawing/2014/main" id="{D9196592-353D-5060-F0CD-E79D796D1DD1}"/>
              </a:ext>
            </a:extLst>
          </p:cNvPr>
          <p:cNvSpPr>
            <a:spLocks noGrp="1"/>
          </p:cNvSpPr>
          <p:nvPr>
            <p:ph sz="quarter" idx="10" hasCustomPrompt="1"/>
          </p:nvPr>
        </p:nvSpPr>
        <p:spPr>
          <a:xfrm>
            <a:off x="250825" y="666077"/>
            <a:ext cx="9583200" cy="276999"/>
          </a:xfrm>
        </p:spPr>
        <p:txBody>
          <a:bodyPr wrap="square">
            <a:spAutoFit/>
          </a:bodyPr>
          <a:lstStyle>
            <a:lvl1pPr marL="0" indent="0">
              <a:buNone/>
              <a:defRPr sz="1800">
                <a:solidFill>
                  <a:schemeClr val="accent1"/>
                </a:solidFill>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Master subtitle style</a:t>
            </a:r>
          </a:p>
        </p:txBody>
      </p:sp>
      <p:pic>
        <p:nvPicPr>
          <p:cNvPr id="19" name="ZRS Logo Horozontal">
            <a:extLst>
              <a:ext uri="{FF2B5EF4-FFF2-40B4-BE49-F238E27FC236}">
                <a16:creationId xmlns:a16="http://schemas.microsoft.com/office/drawing/2014/main" id="{79D600D5-F8CC-645E-7FF9-36101429447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00530" y="190545"/>
            <a:ext cx="1338812" cy="444537"/>
          </a:xfrm>
          <a:prstGeom prst="rect">
            <a:avLst/>
          </a:prstGeom>
        </p:spPr>
      </p:pic>
    </p:spTree>
    <p:extLst>
      <p:ext uri="{BB962C8B-B14F-4D97-AF65-F5344CB8AC3E}">
        <p14:creationId xmlns:p14="http://schemas.microsoft.com/office/powerpoint/2010/main" val="36668166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text box, Safe Space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947306-4C96-3088-EC34-17C69C1F9A82}"/>
              </a:ext>
            </a:extLst>
          </p:cNvPr>
          <p:cNvGraphicFramePr>
            <a:graphicFrameLocks noChangeAspect="1"/>
          </p:cNvGraphicFramePr>
          <p:nvPr userDrawn="1">
            <p:custDataLst>
              <p:tags r:id="rId1"/>
            </p:custDataLst>
            <p:extLst>
              <p:ext uri="{D42A27DB-BD31-4B8C-83A1-F6EECF244321}">
                <p14:modId xmlns:p14="http://schemas.microsoft.com/office/powerpoint/2010/main" val="3710883212"/>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A8947306-4C96-3088-EC34-17C69C1F9A82}"/>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3" name="Content Placeholder 2"/>
          <p:cNvSpPr>
            <a:spLocks noGrp="1"/>
          </p:cNvSpPr>
          <p:nvPr>
            <p:ph idx="1"/>
          </p:nvPr>
        </p:nvSpPr>
        <p:spPr>
          <a:xfrm>
            <a:off x="252000" y="1198801"/>
            <a:ext cx="5652000" cy="5040145"/>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7" name="Picture Placeholder 23">
            <a:extLst>
              <a:ext uri="{FF2B5EF4-FFF2-40B4-BE49-F238E27FC236}">
                <a16:creationId xmlns:a16="http://schemas.microsoft.com/office/drawing/2014/main" id="{632F94C8-BFF9-44C4-AD1A-92E5E5E20C6E}"/>
              </a:ext>
            </a:extLst>
          </p:cNvPr>
          <p:cNvSpPr>
            <a:spLocks noGrp="1" noChangeAspect="1"/>
          </p:cNvSpPr>
          <p:nvPr>
            <p:ph type="pic" sz="quarter" idx="19"/>
          </p:nvPr>
        </p:nvSpPr>
        <p:spPr>
          <a:xfrm>
            <a:off x="6813533" y="1198800"/>
            <a:ext cx="5039467" cy="5040000"/>
          </a:xfrm>
          <a:custGeom>
            <a:avLst/>
            <a:gdLst>
              <a:gd name="connsiteX0" fmla="*/ 991609 w 1983218"/>
              <a:gd name="connsiteY0" fmla="*/ 0 h 1983428"/>
              <a:gd name="connsiteX1" fmla="*/ 1983218 w 1983218"/>
              <a:gd name="connsiteY1" fmla="*/ 991609 h 1983428"/>
              <a:gd name="connsiteX2" fmla="*/ 991399 w 1983218"/>
              <a:gd name="connsiteY2" fmla="*/ 1983428 h 1983428"/>
              <a:gd name="connsiteX3" fmla="*/ 237390 w 1983218"/>
              <a:gd name="connsiteY3" fmla="*/ 1635494 h 1983428"/>
              <a:gd name="connsiteX4" fmla="*/ 287345 w 1983218"/>
              <a:gd name="connsiteY4" fmla="*/ 1620941 h 1983428"/>
              <a:gd name="connsiteX5" fmla="*/ 339399 w 1983218"/>
              <a:gd name="connsiteY5" fmla="*/ 1616744 h 1983428"/>
              <a:gd name="connsiteX6" fmla="*/ 446934 w 1983218"/>
              <a:gd name="connsiteY6" fmla="*/ 1627798 h 1983428"/>
              <a:gd name="connsiteX7" fmla="*/ 538448 w 1983218"/>
              <a:gd name="connsiteY7" fmla="*/ 1637663 h 1983428"/>
              <a:gd name="connsiteX8" fmla="*/ 542996 w 1983218"/>
              <a:gd name="connsiteY8" fmla="*/ 1637593 h 1983428"/>
              <a:gd name="connsiteX9" fmla="*/ 620377 w 1983218"/>
              <a:gd name="connsiteY9" fmla="*/ 1612126 h 1983428"/>
              <a:gd name="connsiteX10" fmla="*/ 672640 w 1983218"/>
              <a:gd name="connsiteY10" fmla="*/ 1542861 h 1983428"/>
              <a:gd name="connsiteX11" fmla="*/ 686703 w 1983218"/>
              <a:gd name="connsiteY11" fmla="*/ 1502981 h 1983428"/>
              <a:gd name="connsiteX12" fmla="*/ 672570 w 1983218"/>
              <a:gd name="connsiteY12" fmla="*/ 1499413 h 1983428"/>
              <a:gd name="connsiteX13" fmla="*/ 667883 w 1983218"/>
              <a:gd name="connsiteY13" fmla="*/ 1508928 h 1983428"/>
              <a:gd name="connsiteX14" fmla="*/ 620517 w 1983218"/>
              <a:gd name="connsiteY14" fmla="*/ 1562941 h 1983428"/>
              <a:gd name="connsiteX15" fmla="*/ 586304 w 1983218"/>
              <a:gd name="connsiteY15" fmla="*/ 1579382 h 1983428"/>
              <a:gd name="connsiteX16" fmla="*/ 530752 w 1983218"/>
              <a:gd name="connsiteY16" fmla="*/ 1586029 h 1983428"/>
              <a:gd name="connsiteX17" fmla="*/ 488703 w 1983218"/>
              <a:gd name="connsiteY17" fmla="*/ 1584560 h 1983428"/>
              <a:gd name="connsiteX18" fmla="*/ 441757 w 1983218"/>
              <a:gd name="connsiteY18" fmla="*/ 1581621 h 1983428"/>
              <a:gd name="connsiteX19" fmla="*/ 392992 w 1983218"/>
              <a:gd name="connsiteY19" fmla="*/ 1579662 h 1983428"/>
              <a:gd name="connsiteX20" fmla="*/ 355001 w 1983218"/>
              <a:gd name="connsiteY20" fmla="*/ 1581551 h 1983428"/>
              <a:gd name="connsiteX21" fmla="*/ 619327 w 1983218"/>
              <a:gd name="connsiteY21" fmla="*/ 1228160 h 1983428"/>
              <a:gd name="connsiteX22" fmla="*/ 286715 w 1983218"/>
              <a:gd name="connsiteY22" fmla="*/ 1228160 h 1983428"/>
              <a:gd name="connsiteX23" fmla="*/ 260688 w 1983218"/>
              <a:gd name="connsiteY23" fmla="*/ 1328349 h 1983428"/>
              <a:gd name="connsiteX24" fmla="*/ 276221 w 1983218"/>
              <a:gd name="connsiteY24" fmla="*/ 1331847 h 1983428"/>
              <a:gd name="connsiteX25" fmla="*/ 280558 w 1983218"/>
              <a:gd name="connsiteY25" fmla="*/ 1323592 h 1983428"/>
              <a:gd name="connsiteX26" fmla="*/ 313092 w 1983218"/>
              <a:gd name="connsiteY26" fmla="*/ 1284901 h 1983428"/>
              <a:gd name="connsiteX27" fmla="*/ 345625 w 1983218"/>
              <a:gd name="connsiteY27" fmla="*/ 1271608 h 1983428"/>
              <a:gd name="connsiteX28" fmla="*/ 424825 w 1983218"/>
              <a:gd name="connsiteY28" fmla="*/ 1265451 h 1983428"/>
              <a:gd name="connsiteX29" fmla="*/ 453161 w 1983218"/>
              <a:gd name="connsiteY29" fmla="*/ 1265521 h 1983428"/>
              <a:gd name="connsiteX30" fmla="*/ 481777 w 1983218"/>
              <a:gd name="connsiteY30" fmla="*/ 1265451 h 1983428"/>
              <a:gd name="connsiteX31" fmla="*/ 218150 w 1983218"/>
              <a:gd name="connsiteY31" fmla="*/ 1611846 h 1983428"/>
              <a:gd name="connsiteX32" fmla="*/ 0 w 1983218"/>
              <a:gd name="connsiteY32" fmla="*/ 991609 h 1983428"/>
              <a:gd name="connsiteX33" fmla="*/ 991609 w 1983218"/>
              <a:gd name="connsiteY33" fmla="*/ 0 h 198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83218" h="1983428">
                <a:moveTo>
                  <a:pt x="991609" y="0"/>
                </a:moveTo>
                <a:cubicBezTo>
                  <a:pt x="1539293" y="0"/>
                  <a:pt x="1983218" y="443996"/>
                  <a:pt x="1983218" y="991609"/>
                </a:cubicBezTo>
                <a:cubicBezTo>
                  <a:pt x="1983218" y="1539293"/>
                  <a:pt x="1539293" y="1983218"/>
                  <a:pt x="991399" y="1983428"/>
                </a:cubicBezTo>
                <a:cubicBezTo>
                  <a:pt x="689502" y="1983428"/>
                  <a:pt x="419298" y="1848327"/>
                  <a:pt x="237390" y="1635494"/>
                </a:cubicBezTo>
                <a:cubicBezTo>
                  <a:pt x="256211" y="1627098"/>
                  <a:pt x="265516" y="1624370"/>
                  <a:pt x="287345" y="1620941"/>
                </a:cubicBezTo>
                <a:cubicBezTo>
                  <a:pt x="304696" y="1618073"/>
                  <a:pt x="321418" y="1616744"/>
                  <a:pt x="339399" y="1616744"/>
                </a:cubicBezTo>
                <a:cubicBezTo>
                  <a:pt x="366265" y="1616744"/>
                  <a:pt x="393481" y="1619542"/>
                  <a:pt x="446934" y="1627798"/>
                </a:cubicBezTo>
                <a:cubicBezTo>
                  <a:pt x="499548" y="1635844"/>
                  <a:pt x="516479" y="1637663"/>
                  <a:pt x="538448" y="1637663"/>
                </a:cubicBezTo>
                <a:lnTo>
                  <a:pt x="542996" y="1637593"/>
                </a:lnTo>
                <a:cubicBezTo>
                  <a:pt x="572661" y="1637103"/>
                  <a:pt x="597708" y="1628917"/>
                  <a:pt x="620377" y="1612126"/>
                </a:cubicBezTo>
                <a:cubicBezTo>
                  <a:pt x="642416" y="1595824"/>
                  <a:pt x="658437" y="1574555"/>
                  <a:pt x="672640" y="1542861"/>
                </a:cubicBezTo>
                <a:cubicBezTo>
                  <a:pt x="679707" y="1527189"/>
                  <a:pt x="682086" y="1520472"/>
                  <a:pt x="686703" y="1502981"/>
                </a:cubicBezTo>
                <a:lnTo>
                  <a:pt x="672570" y="1499413"/>
                </a:lnTo>
                <a:cubicBezTo>
                  <a:pt x="670681" y="1503681"/>
                  <a:pt x="668932" y="1506829"/>
                  <a:pt x="667883" y="1508928"/>
                </a:cubicBezTo>
                <a:cubicBezTo>
                  <a:pt x="657108" y="1529568"/>
                  <a:pt x="639057" y="1550067"/>
                  <a:pt x="620517" y="1562941"/>
                </a:cubicBezTo>
                <a:cubicBezTo>
                  <a:pt x="609882" y="1570077"/>
                  <a:pt x="598408" y="1575674"/>
                  <a:pt x="586304" y="1579382"/>
                </a:cubicBezTo>
                <a:cubicBezTo>
                  <a:pt x="570702" y="1584140"/>
                  <a:pt x="554960" y="1586029"/>
                  <a:pt x="530752" y="1586029"/>
                </a:cubicBezTo>
                <a:cubicBezTo>
                  <a:pt x="519907" y="1586029"/>
                  <a:pt x="505565" y="1585539"/>
                  <a:pt x="488703" y="1584560"/>
                </a:cubicBezTo>
                <a:lnTo>
                  <a:pt x="441757" y="1581621"/>
                </a:lnTo>
                <a:cubicBezTo>
                  <a:pt x="419998" y="1580362"/>
                  <a:pt x="403696" y="1579662"/>
                  <a:pt x="392992" y="1579662"/>
                </a:cubicBezTo>
                <a:cubicBezTo>
                  <a:pt x="379069" y="1579662"/>
                  <a:pt x="372142" y="1580012"/>
                  <a:pt x="355001" y="1581551"/>
                </a:cubicBezTo>
                <a:lnTo>
                  <a:pt x="619327" y="1228160"/>
                </a:lnTo>
                <a:lnTo>
                  <a:pt x="286715" y="1228160"/>
                </a:lnTo>
                <a:lnTo>
                  <a:pt x="260688" y="1328349"/>
                </a:lnTo>
                <a:lnTo>
                  <a:pt x="276221" y="1331847"/>
                </a:lnTo>
                <a:cubicBezTo>
                  <a:pt x="278110" y="1327999"/>
                  <a:pt x="279579" y="1325411"/>
                  <a:pt x="280558" y="1323592"/>
                </a:cubicBezTo>
                <a:cubicBezTo>
                  <a:pt x="289234" y="1308059"/>
                  <a:pt x="302527" y="1292317"/>
                  <a:pt x="313092" y="1284901"/>
                </a:cubicBezTo>
                <a:cubicBezTo>
                  <a:pt x="322117" y="1278534"/>
                  <a:pt x="333172" y="1274057"/>
                  <a:pt x="345625" y="1271608"/>
                </a:cubicBezTo>
                <a:cubicBezTo>
                  <a:pt x="366125" y="1267620"/>
                  <a:pt x="394531" y="1265451"/>
                  <a:pt x="424825" y="1265451"/>
                </a:cubicBezTo>
                <a:lnTo>
                  <a:pt x="453161" y="1265521"/>
                </a:lnTo>
                <a:lnTo>
                  <a:pt x="481777" y="1265451"/>
                </a:lnTo>
                <a:lnTo>
                  <a:pt x="218150" y="1611846"/>
                </a:lnTo>
                <a:cubicBezTo>
                  <a:pt x="81789" y="1441972"/>
                  <a:pt x="0" y="1226411"/>
                  <a:pt x="0" y="991609"/>
                </a:cubicBezTo>
                <a:cubicBezTo>
                  <a:pt x="0" y="443996"/>
                  <a:pt x="443996" y="0"/>
                  <a:pt x="991609" y="0"/>
                </a:cubicBezTo>
                <a:close/>
              </a:path>
            </a:pathLst>
          </a:custGeom>
        </p:spPr>
        <p:txBody>
          <a:bodyPr wrap="square">
            <a:noAutofit/>
          </a:bodyPr>
          <a:lstStyle>
            <a:lvl1pPr marL="0" indent="0" algn="ctr">
              <a:buNone/>
              <a:defRPr>
                <a:latin typeface="+mn-lt"/>
                <a:cs typeface="Arial" panose="020B0604020202020204" pitchFamily="34" charset="0"/>
              </a:defRPr>
            </a:lvl1pPr>
          </a:lstStyle>
          <a:p>
            <a:r>
              <a:rPr lang="en-GB"/>
              <a:t>Click icon to add picture</a:t>
            </a:r>
            <a:endParaRPr lang="en-US"/>
          </a:p>
        </p:txBody>
      </p:sp>
      <p:sp>
        <p:nvSpPr>
          <p:cNvPr id="33" name="Slide Number Placeholder 5">
            <a:extLst>
              <a:ext uri="{FF2B5EF4-FFF2-40B4-BE49-F238E27FC236}">
                <a16:creationId xmlns:a16="http://schemas.microsoft.com/office/drawing/2014/main" id="{2940119E-5F10-4EB4-B937-FD54D145016C}"/>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5" name="Footer Placeholder 3">
            <a:extLst>
              <a:ext uri="{FF2B5EF4-FFF2-40B4-BE49-F238E27FC236}">
                <a16:creationId xmlns:a16="http://schemas.microsoft.com/office/drawing/2014/main" id="{40454D8E-1F3F-4D16-AA7F-FBF0AED1BC21}"/>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2" name="Title Placeholder 1">
            <a:extLst>
              <a:ext uri="{FF2B5EF4-FFF2-40B4-BE49-F238E27FC236}">
                <a16:creationId xmlns:a16="http://schemas.microsoft.com/office/drawing/2014/main" id="{DCCD87F0-7295-A6C5-953B-B78ED25DF2DF}"/>
              </a:ext>
            </a:extLst>
          </p:cNvPr>
          <p:cNvSpPr>
            <a:spLocks noGrp="1"/>
          </p:cNvSpPr>
          <p:nvPr>
            <p:ph type="title"/>
          </p:nvPr>
        </p:nvSpPr>
        <p:spPr>
          <a:xfrm>
            <a:off x="250829" y="249929"/>
            <a:ext cx="9586415" cy="332399"/>
          </a:xfrm>
          <a:prstGeom prst="rect">
            <a:avLst/>
          </a:prstGeom>
        </p:spPr>
        <p:txBody>
          <a:bodyPr vert="horz" lIns="0" tIns="0" rIns="0" bIns="0" rtlCol="0" anchor="t" anchorCtr="0">
            <a:spAutoFit/>
          </a:bodyPr>
          <a:lstStyle/>
          <a:p>
            <a:r>
              <a:rPr lang="en-GB"/>
              <a:t>Click to edit Master title style</a:t>
            </a:r>
            <a:endParaRPr lang="en-US"/>
          </a:p>
        </p:txBody>
      </p:sp>
      <p:sp>
        <p:nvSpPr>
          <p:cNvPr id="7" name="Content Placeholder 14">
            <a:extLst>
              <a:ext uri="{FF2B5EF4-FFF2-40B4-BE49-F238E27FC236}">
                <a16:creationId xmlns:a16="http://schemas.microsoft.com/office/drawing/2014/main" id="{1646E722-F9F5-D5A2-A1BF-42BDDE2D1F98}"/>
              </a:ext>
            </a:extLst>
          </p:cNvPr>
          <p:cNvSpPr>
            <a:spLocks noGrp="1"/>
          </p:cNvSpPr>
          <p:nvPr>
            <p:ph sz="quarter" idx="10" hasCustomPrompt="1"/>
          </p:nvPr>
        </p:nvSpPr>
        <p:spPr>
          <a:xfrm>
            <a:off x="250825" y="666077"/>
            <a:ext cx="9583200" cy="276999"/>
          </a:xfrm>
        </p:spPr>
        <p:txBody>
          <a:bodyPr wrap="square">
            <a:spAutoFit/>
          </a:bodyPr>
          <a:lstStyle>
            <a:lvl1pPr marL="0" indent="0">
              <a:buNone/>
              <a:defRPr sz="1800">
                <a:solidFill>
                  <a:schemeClr val="accent1"/>
                </a:solidFill>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Master subtitle style</a:t>
            </a:r>
          </a:p>
        </p:txBody>
      </p:sp>
      <p:pic>
        <p:nvPicPr>
          <p:cNvPr id="9" name="ZRS Logo Horozontal">
            <a:extLst>
              <a:ext uri="{FF2B5EF4-FFF2-40B4-BE49-F238E27FC236}">
                <a16:creationId xmlns:a16="http://schemas.microsoft.com/office/drawing/2014/main" id="{0B575074-7D67-B169-E7E6-5D6AA26D8F4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00530" y="190545"/>
            <a:ext cx="1338812" cy="444537"/>
          </a:xfrm>
          <a:prstGeom prst="rect">
            <a:avLst/>
          </a:prstGeom>
        </p:spPr>
      </p:pic>
    </p:spTree>
    <p:extLst>
      <p:ext uri="{BB962C8B-B14F-4D97-AF65-F5344CB8AC3E}">
        <p14:creationId xmlns:p14="http://schemas.microsoft.com/office/powerpoint/2010/main" val="404265907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text box and 3 images ">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D196B84-B1AB-5DC3-7655-046A0CCF5207}"/>
              </a:ext>
            </a:extLst>
          </p:cNvPr>
          <p:cNvSpPr>
            <a:spLocks noGrp="1"/>
          </p:cNvSpPr>
          <p:nvPr>
            <p:ph idx="32"/>
          </p:nvPr>
        </p:nvSpPr>
        <p:spPr>
          <a:xfrm>
            <a:off x="250824" y="2827578"/>
            <a:ext cx="3589173" cy="3388343"/>
          </a:xfrm>
          <a:solidFill>
            <a:schemeClr val="accent2">
              <a:lumMod val="20000"/>
              <a:lumOff val="80000"/>
            </a:schemeClr>
          </a:solidFill>
        </p:spPr>
        <p:txBody>
          <a:bodyPr lIns="108000" tIns="720000" rIns="108000" bIns="108000"/>
          <a:lstStyle>
            <a:lvl1pPr marL="0" indent="0">
              <a:spcAft>
                <a:spcPts val="300"/>
              </a:spcAft>
              <a:buNone/>
              <a:defRPr sz="14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Click to edit</a:t>
            </a:r>
          </a:p>
        </p:txBody>
      </p:sp>
      <p:sp>
        <p:nvSpPr>
          <p:cNvPr id="5" name="Content Placeholder 2">
            <a:extLst>
              <a:ext uri="{FF2B5EF4-FFF2-40B4-BE49-F238E27FC236}">
                <a16:creationId xmlns:a16="http://schemas.microsoft.com/office/drawing/2014/main" id="{1B91945C-D107-05A8-0F89-AFB9EB7EA79F}"/>
              </a:ext>
            </a:extLst>
          </p:cNvPr>
          <p:cNvSpPr>
            <a:spLocks noGrp="1"/>
          </p:cNvSpPr>
          <p:nvPr>
            <p:ph idx="33"/>
          </p:nvPr>
        </p:nvSpPr>
        <p:spPr>
          <a:xfrm>
            <a:off x="4037279" y="2827578"/>
            <a:ext cx="3589173" cy="3388343"/>
          </a:xfrm>
          <a:solidFill>
            <a:schemeClr val="accent2">
              <a:lumMod val="20000"/>
              <a:lumOff val="80000"/>
            </a:schemeClr>
          </a:solidFill>
        </p:spPr>
        <p:txBody>
          <a:bodyPr lIns="108000" tIns="720000" rIns="108000" bIns="108000"/>
          <a:lstStyle>
            <a:lvl1pPr marL="0" indent="0">
              <a:spcAft>
                <a:spcPts val="300"/>
              </a:spcAft>
              <a:buNone/>
              <a:defRPr sz="14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Click to edit</a:t>
            </a:r>
          </a:p>
        </p:txBody>
      </p:sp>
      <p:sp>
        <p:nvSpPr>
          <p:cNvPr id="7" name="Content Placeholder 2">
            <a:extLst>
              <a:ext uri="{FF2B5EF4-FFF2-40B4-BE49-F238E27FC236}">
                <a16:creationId xmlns:a16="http://schemas.microsoft.com/office/drawing/2014/main" id="{21AF368A-1348-B6D7-C7F3-D727CE9EC2F2}"/>
              </a:ext>
            </a:extLst>
          </p:cNvPr>
          <p:cNvSpPr>
            <a:spLocks noGrp="1"/>
          </p:cNvSpPr>
          <p:nvPr>
            <p:ph idx="34"/>
          </p:nvPr>
        </p:nvSpPr>
        <p:spPr>
          <a:xfrm>
            <a:off x="7853703" y="2827578"/>
            <a:ext cx="3589173" cy="3388343"/>
          </a:xfrm>
          <a:solidFill>
            <a:schemeClr val="accent2">
              <a:lumMod val="20000"/>
              <a:lumOff val="80000"/>
            </a:schemeClr>
          </a:solidFill>
        </p:spPr>
        <p:txBody>
          <a:bodyPr lIns="108000" tIns="720000" rIns="108000" bIns="108000"/>
          <a:lstStyle>
            <a:lvl1pPr marL="0" indent="0">
              <a:spcAft>
                <a:spcPts val="300"/>
              </a:spcAft>
              <a:buNone/>
              <a:defRPr sz="14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Click to edit</a:t>
            </a:r>
          </a:p>
        </p:txBody>
      </p:sp>
      <p:graphicFrame>
        <p:nvGraphicFramePr>
          <p:cNvPr id="4" name="Object 3" hidden="1">
            <a:extLst>
              <a:ext uri="{FF2B5EF4-FFF2-40B4-BE49-F238E27FC236}">
                <a16:creationId xmlns:a16="http://schemas.microsoft.com/office/drawing/2014/main" id="{81A447B7-CC90-A32E-DFC0-7E1E1B168B37}"/>
              </a:ext>
            </a:extLst>
          </p:cNvPr>
          <p:cNvGraphicFramePr>
            <a:graphicFrameLocks noChangeAspect="1"/>
          </p:cNvGraphicFramePr>
          <p:nvPr userDrawn="1">
            <p:custDataLst>
              <p:tags r:id="rId1"/>
            </p:custDataLst>
            <p:extLst>
              <p:ext uri="{D42A27DB-BD31-4B8C-83A1-F6EECF244321}">
                <p14:modId xmlns:p14="http://schemas.microsoft.com/office/powerpoint/2010/main" val="683740544"/>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ct 3" hidden="1">
                        <a:extLst>
                          <a:ext uri="{FF2B5EF4-FFF2-40B4-BE49-F238E27FC236}">
                            <a16:creationId xmlns:a16="http://schemas.microsoft.com/office/drawing/2014/main" id="{81A447B7-CC90-A32E-DFC0-7E1E1B168B37}"/>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17" name="Picture Placeholder 3">
            <a:extLst>
              <a:ext uri="{FF2B5EF4-FFF2-40B4-BE49-F238E27FC236}">
                <a16:creationId xmlns:a16="http://schemas.microsoft.com/office/drawing/2014/main" id="{BFDFBA93-64DC-4F26-953C-E4271D7A5F2C}"/>
              </a:ext>
            </a:extLst>
          </p:cNvPr>
          <p:cNvSpPr>
            <a:spLocks noGrp="1"/>
          </p:cNvSpPr>
          <p:nvPr>
            <p:ph type="pic" sz="quarter" idx="29" hasCustomPrompt="1"/>
          </p:nvPr>
        </p:nvSpPr>
        <p:spPr>
          <a:xfrm>
            <a:off x="4871864" y="1436992"/>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en-GB"/>
              <a:t>Add picture here</a:t>
            </a:r>
          </a:p>
        </p:txBody>
      </p:sp>
      <p:sp>
        <p:nvSpPr>
          <p:cNvPr id="18" name="Picture Placeholder 3">
            <a:extLst>
              <a:ext uri="{FF2B5EF4-FFF2-40B4-BE49-F238E27FC236}">
                <a16:creationId xmlns:a16="http://schemas.microsoft.com/office/drawing/2014/main" id="{33BE1813-D5B5-4415-BB63-F6AD5397276E}"/>
              </a:ext>
            </a:extLst>
          </p:cNvPr>
          <p:cNvSpPr>
            <a:spLocks noGrp="1"/>
          </p:cNvSpPr>
          <p:nvPr>
            <p:ph type="pic" sz="quarter" idx="30" hasCustomPrompt="1"/>
          </p:nvPr>
        </p:nvSpPr>
        <p:spPr>
          <a:xfrm>
            <a:off x="8688288" y="1436992"/>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en-GB"/>
              <a:t>Add picture here</a:t>
            </a:r>
          </a:p>
        </p:txBody>
      </p:sp>
      <p:sp>
        <p:nvSpPr>
          <p:cNvPr id="33" name="Slide Number Placeholder 5">
            <a:extLst>
              <a:ext uri="{FF2B5EF4-FFF2-40B4-BE49-F238E27FC236}">
                <a16:creationId xmlns:a16="http://schemas.microsoft.com/office/drawing/2014/main" id="{714EC8C7-A133-478F-BF8B-66FEF67BC793}"/>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5" name="Footer Placeholder 3">
            <a:extLst>
              <a:ext uri="{FF2B5EF4-FFF2-40B4-BE49-F238E27FC236}">
                <a16:creationId xmlns:a16="http://schemas.microsoft.com/office/drawing/2014/main" id="{E5C41A63-DFB8-45B3-BA91-86A5B9928FC9}"/>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2" name="Title Placeholder 1">
            <a:extLst>
              <a:ext uri="{FF2B5EF4-FFF2-40B4-BE49-F238E27FC236}">
                <a16:creationId xmlns:a16="http://schemas.microsoft.com/office/drawing/2014/main" id="{7C9ECDE5-FFEA-2A2A-9BE3-3DA819864EB3}"/>
              </a:ext>
            </a:extLst>
          </p:cNvPr>
          <p:cNvSpPr>
            <a:spLocks noGrp="1"/>
          </p:cNvSpPr>
          <p:nvPr>
            <p:ph type="title"/>
          </p:nvPr>
        </p:nvSpPr>
        <p:spPr>
          <a:xfrm>
            <a:off x="250829" y="249929"/>
            <a:ext cx="9586415" cy="332399"/>
          </a:xfrm>
          <a:prstGeom prst="rect">
            <a:avLst/>
          </a:prstGeom>
        </p:spPr>
        <p:txBody>
          <a:bodyPr vert="horz" lIns="0" tIns="0" rIns="0" bIns="0" rtlCol="0" anchor="t" anchorCtr="0">
            <a:spAutoFit/>
          </a:bodyPr>
          <a:lstStyle/>
          <a:p>
            <a:r>
              <a:rPr lang="en-GB"/>
              <a:t>Click to edit Master title style</a:t>
            </a:r>
            <a:endParaRPr lang="en-US"/>
          </a:p>
        </p:txBody>
      </p:sp>
      <p:sp>
        <p:nvSpPr>
          <p:cNvPr id="6" name="Content Placeholder 14">
            <a:extLst>
              <a:ext uri="{FF2B5EF4-FFF2-40B4-BE49-F238E27FC236}">
                <a16:creationId xmlns:a16="http://schemas.microsoft.com/office/drawing/2014/main" id="{0C1ECCF3-5556-23D4-3836-1A50EBEE4F64}"/>
              </a:ext>
            </a:extLst>
          </p:cNvPr>
          <p:cNvSpPr>
            <a:spLocks noGrp="1"/>
          </p:cNvSpPr>
          <p:nvPr>
            <p:ph sz="quarter" idx="10" hasCustomPrompt="1"/>
          </p:nvPr>
        </p:nvSpPr>
        <p:spPr>
          <a:xfrm>
            <a:off x="250825" y="666077"/>
            <a:ext cx="9583200" cy="276999"/>
          </a:xfrm>
        </p:spPr>
        <p:txBody>
          <a:bodyPr wrap="square">
            <a:spAutoFit/>
          </a:bodyPr>
          <a:lstStyle>
            <a:lvl1pPr marL="0" indent="0">
              <a:buNone/>
              <a:defRPr sz="1800">
                <a:solidFill>
                  <a:schemeClr val="accent1"/>
                </a:solidFill>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Master subtitle style</a:t>
            </a:r>
          </a:p>
        </p:txBody>
      </p:sp>
      <p:pic>
        <p:nvPicPr>
          <p:cNvPr id="8" name="ZRS Logo Horozontal">
            <a:extLst>
              <a:ext uri="{FF2B5EF4-FFF2-40B4-BE49-F238E27FC236}">
                <a16:creationId xmlns:a16="http://schemas.microsoft.com/office/drawing/2014/main" id="{F7F7C0DB-AC78-BEC8-9755-547C1BE709E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00530" y="190545"/>
            <a:ext cx="1338812" cy="444537"/>
          </a:xfrm>
          <a:prstGeom prst="rect">
            <a:avLst/>
          </a:prstGeom>
        </p:spPr>
      </p:pic>
      <p:sp>
        <p:nvSpPr>
          <p:cNvPr id="16" name="Picture Placeholder 3">
            <a:extLst>
              <a:ext uri="{FF2B5EF4-FFF2-40B4-BE49-F238E27FC236}">
                <a16:creationId xmlns:a16="http://schemas.microsoft.com/office/drawing/2014/main" id="{240E76D1-56AB-41F8-8334-371CEAB4738C}"/>
              </a:ext>
            </a:extLst>
          </p:cNvPr>
          <p:cNvSpPr>
            <a:spLocks noGrp="1"/>
          </p:cNvSpPr>
          <p:nvPr>
            <p:ph type="pic" sz="quarter" idx="28" hasCustomPrompt="1"/>
          </p:nvPr>
        </p:nvSpPr>
        <p:spPr>
          <a:xfrm>
            <a:off x="1079656" y="1436992"/>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en-GB"/>
              <a:t>Add picture here</a:t>
            </a:r>
          </a:p>
        </p:txBody>
      </p:sp>
    </p:spTree>
    <p:extLst>
      <p:ext uri="{BB962C8B-B14F-4D97-AF65-F5344CB8AC3E}">
        <p14:creationId xmlns:p14="http://schemas.microsoft.com/office/powerpoint/2010/main" val="41666584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V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3CF824-0541-B29E-8E4D-682D7B6A2E1A}"/>
              </a:ext>
            </a:extLst>
          </p:cNvPr>
          <p:cNvGraphicFramePr>
            <a:graphicFrameLocks noChangeAspect="1"/>
          </p:cNvGraphicFramePr>
          <p:nvPr userDrawn="1">
            <p:custDataLst>
              <p:tags r:id="rId1"/>
            </p:custDataLst>
            <p:extLst>
              <p:ext uri="{D42A27DB-BD31-4B8C-83A1-F6EECF244321}">
                <p14:modId xmlns:p14="http://schemas.microsoft.com/office/powerpoint/2010/main" val="300874512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963CF824-0541-B29E-8E4D-682D7B6A2E1A}"/>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0660FE9-7058-445A-A87D-587C9395E97C}"/>
              </a:ext>
            </a:extLst>
          </p:cNvPr>
          <p:cNvSpPr/>
          <p:nvPr userDrawn="1"/>
        </p:nvSpPr>
        <p:spPr>
          <a:xfrm>
            <a:off x="9085635" y="0"/>
            <a:ext cx="3106365"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algn="ctr"/>
            <a:endParaRPr lang="en-US" sz="1000">
              <a:latin typeface="+mn-lt"/>
              <a:cs typeface="Arial" panose="020B0604020202020204" pitchFamily="34" charset="0"/>
            </a:endParaRPr>
          </a:p>
        </p:txBody>
      </p:sp>
      <p:sp>
        <p:nvSpPr>
          <p:cNvPr id="18" name="Picture Placeholder 3">
            <a:extLst>
              <a:ext uri="{FF2B5EF4-FFF2-40B4-BE49-F238E27FC236}">
                <a16:creationId xmlns:a16="http://schemas.microsoft.com/office/drawing/2014/main" id="{33BE1813-D5B5-4415-BB63-F6AD5397276E}"/>
              </a:ext>
            </a:extLst>
          </p:cNvPr>
          <p:cNvSpPr>
            <a:spLocks noGrp="1"/>
          </p:cNvSpPr>
          <p:nvPr>
            <p:ph type="pic" sz="quarter" idx="30" hasCustomPrompt="1"/>
          </p:nvPr>
        </p:nvSpPr>
        <p:spPr>
          <a:xfrm>
            <a:off x="9726034" y="968538"/>
            <a:ext cx="1748991" cy="1748991"/>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en-GB"/>
              <a:t>Add picture here</a:t>
            </a:r>
          </a:p>
        </p:txBody>
      </p:sp>
      <p:sp>
        <p:nvSpPr>
          <p:cNvPr id="33" name="Content Placeholder 2">
            <a:extLst>
              <a:ext uri="{FF2B5EF4-FFF2-40B4-BE49-F238E27FC236}">
                <a16:creationId xmlns:a16="http://schemas.microsoft.com/office/drawing/2014/main" id="{22F76E53-ED3E-4712-828A-462700FD54D1}"/>
              </a:ext>
            </a:extLst>
          </p:cNvPr>
          <p:cNvSpPr>
            <a:spLocks noGrp="1"/>
          </p:cNvSpPr>
          <p:nvPr>
            <p:ph idx="1"/>
          </p:nvPr>
        </p:nvSpPr>
        <p:spPr>
          <a:xfrm>
            <a:off x="250826" y="1206181"/>
            <a:ext cx="8347076" cy="5040145"/>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4" name="Slide Number Placeholder 5">
            <a:extLst>
              <a:ext uri="{FF2B5EF4-FFF2-40B4-BE49-F238E27FC236}">
                <a16:creationId xmlns:a16="http://schemas.microsoft.com/office/drawing/2014/main" id="{3E83A98D-348B-40D1-B8DE-954D062DE5ED}"/>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5" name="TextBox 34">
            <a:extLst>
              <a:ext uri="{FF2B5EF4-FFF2-40B4-BE49-F238E27FC236}">
                <a16:creationId xmlns:a16="http://schemas.microsoft.com/office/drawing/2014/main" id="{20454A9A-E833-4775-8C2D-33EB42BCE6B5}"/>
              </a:ext>
            </a:extLst>
          </p:cNvPr>
          <p:cNvSpPr txBox="1"/>
          <p:nvPr userDrawn="1"/>
        </p:nvSpPr>
        <p:spPr>
          <a:xfrm>
            <a:off x="11158233" y="6548970"/>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3" name="Title Placeholder 1">
            <a:extLst>
              <a:ext uri="{FF2B5EF4-FFF2-40B4-BE49-F238E27FC236}">
                <a16:creationId xmlns:a16="http://schemas.microsoft.com/office/drawing/2014/main" id="{5FB431D7-B606-4E7E-44D7-8C0E48BF1BD2}"/>
              </a:ext>
            </a:extLst>
          </p:cNvPr>
          <p:cNvSpPr>
            <a:spLocks noGrp="1"/>
          </p:cNvSpPr>
          <p:nvPr>
            <p:ph type="title"/>
          </p:nvPr>
        </p:nvSpPr>
        <p:spPr>
          <a:xfrm>
            <a:off x="250827" y="249930"/>
            <a:ext cx="8347075" cy="332399"/>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8" name="Content Placeholder 14">
            <a:extLst>
              <a:ext uri="{FF2B5EF4-FFF2-40B4-BE49-F238E27FC236}">
                <a16:creationId xmlns:a16="http://schemas.microsoft.com/office/drawing/2014/main" id="{FA72DD7E-DFC5-8204-E32E-7DAE6E4AF994}"/>
              </a:ext>
            </a:extLst>
          </p:cNvPr>
          <p:cNvSpPr>
            <a:spLocks noGrp="1"/>
          </p:cNvSpPr>
          <p:nvPr>
            <p:ph sz="quarter" idx="10" hasCustomPrompt="1"/>
          </p:nvPr>
        </p:nvSpPr>
        <p:spPr>
          <a:xfrm>
            <a:off x="250825" y="666077"/>
            <a:ext cx="8347075" cy="276999"/>
          </a:xfrm>
        </p:spPr>
        <p:txBody>
          <a:bodyPr wrap="square">
            <a:spAutoFit/>
          </a:bodyPr>
          <a:lstStyle>
            <a:lvl1pPr marL="0" indent="0">
              <a:buNone/>
              <a:defRPr sz="1800">
                <a:solidFill>
                  <a:schemeClr val="accent1"/>
                </a:solidFill>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Master subtitle style</a:t>
            </a:r>
          </a:p>
        </p:txBody>
      </p:sp>
      <p:pic>
        <p:nvPicPr>
          <p:cNvPr id="9" name="ZRS Logo Horozontal">
            <a:extLst>
              <a:ext uri="{FF2B5EF4-FFF2-40B4-BE49-F238E27FC236}">
                <a16:creationId xmlns:a16="http://schemas.microsoft.com/office/drawing/2014/main" id="{C3961665-A7EF-AB66-D1CA-A82B5370E1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00530" y="190545"/>
            <a:ext cx="1338812" cy="444537"/>
          </a:xfrm>
          <a:prstGeom prst="rect">
            <a:avLst/>
          </a:prstGeom>
        </p:spPr>
      </p:pic>
      <p:sp>
        <p:nvSpPr>
          <p:cNvPr id="7" name="Content Placeholder 2">
            <a:extLst>
              <a:ext uri="{FF2B5EF4-FFF2-40B4-BE49-F238E27FC236}">
                <a16:creationId xmlns:a16="http://schemas.microsoft.com/office/drawing/2014/main" id="{CE228E07-9698-6ECC-A94B-A9CB414F2E9C}"/>
              </a:ext>
            </a:extLst>
          </p:cNvPr>
          <p:cNvSpPr>
            <a:spLocks noGrp="1"/>
          </p:cNvSpPr>
          <p:nvPr>
            <p:ph idx="32"/>
          </p:nvPr>
        </p:nvSpPr>
        <p:spPr>
          <a:xfrm>
            <a:off x="9577944" y="3143465"/>
            <a:ext cx="2045173" cy="3157585"/>
          </a:xfrm>
        </p:spPr>
        <p:txBody>
          <a:bodyPr lIns="0" tIns="0" rIns="0" bIns="0"/>
          <a:lstStyle>
            <a:lvl1pPr marL="0" indent="0">
              <a:spcAft>
                <a:spcPts val="300"/>
              </a:spcAft>
              <a:buNone/>
              <a:defRPr sz="14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Click to edit</a:t>
            </a:r>
          </a:p>
        </p:txBody>
      </p:sp>
    </p:spTree>
    <p:extLst>
      <p:ext uri="{BB962C8B-B14F-4D97-AF65-F5344CB8AC3E}">
        <p14:creationId xmlns:p14="http://schemas.microsoft.com/office/powerpoint/2010/main" val="18601041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V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3CF824-0541-B29E-8E4D-682D7B6A2E1A}"/>
              </a:ext>
            </a:extLst>
          </p:cNvPr>
          <p:cNvGraphicFramePr>
            <a:graphicFrameLocks noChangeAspect="1"/>
          </p:cNvGraphicFramePr>
          <p:nvPr userDrawn="1">
            <p:custDataLst>
              <p:tags r:id="rId1"/>
            </p:custDataLst>
            <p:extLst>
              <p:ext uri="{D42A27DB-BD31-4B8C-83A1-F6EECF244321}">
                <p14:modId xmlns:p14="http://schemas.microsoft.com/office/powerpoint/2010/main" val="300874512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963CF824-0541-B29E-8E4D-682D7B6A2E1A}"/>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0660FE9-7058-445A-A87D-587C9395E97C}"/>
              </a:ext>
            </a:extLst>
          </p:cNvPr>
          <p:cNvSpPr/>
          <p:nvPr userDrawn="1"/>
        </p:nvSpPr>
        <p:spPr>
          <a:xfrm>
            <a:off x="9085635" y="0"/>
            <a:ext cx="3106365"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algn="ctr"/>
            <a:endParaRPr lang="en-US" sz="1000">
              <a:latin typeface="+mn-lt"/>
              <a:cs typeface="Arial" panose="020B0604020202020204" pitchFamily="34" charset="0"/>
            </a:endParaRPr>
          </a:p>
        </p:txBody>
      </p:sp>
      <p:sp>
        <p:nvSpPr>
          <p:cNvPr id="35" name="TextBox 34">
            <a:extLst>
              <a:ext uri="{FF2B5EF4-FFF2-40B4-BE49-F238E27FC236}">
                <a16:creationId xmlns:a16="http://schemas.microsoft.com/office/drawing/2014/main" id="{20454A9A-E833-4775-8C2D-33EB42BCE6B5}"/>
              </a:ext>
            </a:extLst>
          </p:cNvPr>
          <p:cNvSpPr txBox="1"/>
          <p:nvPr userDrawn="1"/>
        </p:nvSpPr>
        <p:spPr>
          <a:xfrm>
            <a:off x="11158233" y="6548970"/>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3" name="Title Placeholder 1">
            <a:extLst>
              <a:ext uri="{FF2B5EF4-FFF2-40B4-BE49-F238E27FC236}">
                <a16:creationId xmlns:a16="http://schemas.microsoft.com/office/drawing/2014/main" id="{5FB431D7-B606-4E7E-44D7-8C0E48BF1BD2}"/>
              </a:ext>
            </a:extLst>
          </p:cNvPr>
          <p:cNvSpPr>
            <a:spLocks noGrp="1"/>
          </p:cNvSpPr>
          <p:nvPr>
            <p:ph type="title"/>
          </p:nvPr>
        </p:nvSpPr>
        <p:spPr>
          <a:xfrm>
            <a:off x="250827" y="249930"/>
            <a:ext cx="8347075" cy="332399"/>
          </a:xfrm>
          <a:prstGeom prst="rect">
            <a:avLst/>
          </a:prstGeom>
        </p:spPr>
        <p:txBody>
          <a:bodyPr vert="horz" wrap="square" lIns="0" tIns="0" rIns="0" bIns="0" rtlCol="0" anchor="t" anchorCtr="0">
            <a:spAutoFit/>
          </a:bodyPr>
          <a:lstStyle/>
          <a:p>
            <a:r>
              <a:rPr lang="en-GB"/>
              <a:t>Click to edit Master title style</a:t>
            </a:r>
            <a:endParaRPr lang="en-US"/>
          </a:p>
        </p:txBody>
      </p:sp>
      <p:pic>
        <p:nvPicPr>
          <p:cNvPr id="9" name="ZRS Logo Horozontal">
            <a:extLst>
              <a:ext uri="{FF2B5EF4-FFF2-40B4-BE49-F238E27FC236}">
                <a16:creationId xmlns:a16="http://schemas.microsoft.com/office/drawing/2014/main" id="{C3961665-A7EF-AB66-D1CA-A82B5370E1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00530" y="190545"/>
            <a:ext cx="1338812" cy="444537"/>
          </a:xfrm>
          <a:prstGeom prst="rect">
            <a:avLst/>
          </a:prstGeom>
        </p:spPr>
      </p:pic>
      <p:sp>
        <p:nvSpPr>
          <p:cNvPr id="11" name="Slide Number Placeholder 5">
            <a:extLst>
              <a:ext uri="{FF2B5EF4-FFF2-40B4-BE49-F238E27FC236}">
                <a16:creationId xmlns:a16="http://schemas.microsoft.com/office/drawing/2014/main" id="{9E94F699-AF61-9B4B-C9EB-0F60ECC70D9E}"/>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Tree>
    <p:extLst>
      <p:ext uri="{BB962C8B-B14F-4D97-AF65-F5344CB8AC3E}">
        <p14:creationId xmlns:p14="http://schemas.microsoft.com/office/powerpoint/2010/main" val="41575650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V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879D21-D95D-50FF-74C9-E14A869D9C19}"/>
              </a:ext>
            </a:extLst>
          </p:cNvPr>
          <p:cNvSpPr/>
          <p:nvPr userDrawn="1"/>
        </p:nvSpPr>
        <p:spPr>
          <a:xfrm>
            <a:off x="1" y="960857"/>
            <a:ext cx="12192000" cy="4076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algn="ctr"/>
            <a:endParaRPr lang="en-ES" sz="1000"/>
          </a:p>
        </p:txBody>
      </p:sp>
      <p:sp>
        <p:nvSpPr>
          <p:cNvPr id="6" name="Rectangle 5">
            <a:extLst>
              <a:ext uri="{FF2B5EF4-FFF2-40B4-BE49-F238E27FC236}">
                <a16:creationId xmlns:a16="http://schemas.microsoft.com/office/drawing/2014/main" id="{791DD9DE-5107-ACB8-0A64-B7B515E61AF4}"/>
              </a:ext>
            </a:extLst>
          </p:cNvPr>
          <p:cNvSpPr/>
          <p:nvPr userDrawn="1"/>
        </p:nvSpPr>
        <p:spPr>
          <a:xfrm>
            <a:off x="3" y="5036860"/>
            <a:ext cx="12191999" cy="182114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algn="ctr"/>
            <a:endParaRPr lang="en-ES" sz="1000"/>
          </a:p>
        </p:txBody>
      </p:sp>
      <p:graphicFrame>
        <p:nvGraphicFramePr>
          <p:cNvPr id="5" name="Object 4" hidden="1">
            <a:extLst>
              <a:ext uri="{FF2B5EF4-FFF2-40B4-BE49-F238E27FC236}">
                <a16:creationId xmlns:a16="http://schemas.microsoft.com/office/drawing/2014/main" id="{963CF824-0541-B29E-8E4D-682D7B6A2E1A}"/>
              </a:ext>
            </a:extLst>
          </p:cNvPr>
          <p:cNvGraphicFramePr>
            <a:graphicFrameLocks noChangeAspect="1"/>
          </p:cNvGraphicFramePr>
          <p:nvPr userDrawn="1">
            <p:custDataLst>
              <p:tags r:id="rId1"/>
            </p:custDataLst>
            <p:extLst>
              <p:ext uri="{D42A27DB-BD31-4B8C-83A1-F6EECF244321}">
                <p14:modId xmlns:p14="http://schemas.microsoft.com/office/powerpoint/2010/main" val="300874512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963CF824-0541-B29E-8E4D-682D7B6A2E1A}"/>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35" name="TextBox 34">
            <a:extLst>
              <a:ext uri="{FF2B5EF4-FFF2-40B4-BE49-F238E27FC236}">
                <a16:creationId xmlns:a16="http://schemas.microsoft.com/office/drawing/2014/main" id="{20454A9A-E833-4775-8C2D-33EB42BCE6B5}"/>
              </a:ext>
            </a:extLst>
          </p:cNvPr>
          <p:cNvSpPr txBox="1"/>
          <p:nvPr userDrawn="1"/>
        </p:nvSpPr>
        <p:spPr>
          <a:xfrm>
            <a:off x="11158233" y="6548970"/>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3" name="Title Placeholder 1">
            <a:extLst>
              <a:ext uri="{FF2B5EF4-FFF2-40B4-BE49-F238E27FC236}">
                <a16:creationId xmlns:a16="http://schemas.microsoft.com/office/drawing/2014/main" id="{5FB431D7-B606-4E7E-44D7-8C0E48BF1BD2}"/>
              </a:ext>
            </a:extLst>
          </p:cNvPr>
          <p:cNvSpPr>
            <a:spLocks noGrp="1"/>
          </p:cNvSpPr>
          <p:nvPr>
            <p:ph type="title"/>
          </p:nvPr>
        </p:nvSpPr>
        <p:spPr>
          <a:xfrm>
            <a:off x="250827" y="249926"/>
            <a:ext cx="8347075" cy="360099"/>
          </a:xfrm>
          <a:prstGeom prst="rect">
            <a:avLst/>
          </a:prstGeom>
        </p:spPr>
        <p:txBody>
          <a:bodyPr vert="horz" wrap="square" lIns="0" tIns="0" rIns="0" bIns="0" rtlCol="0" anchor="t" anchorCtr="0">
            <a:spAutoFit/>
          </a:bodyPr>
          <a:lstStyle>
            <a:lvl1pPr>
              <a:defRPr sz="2600"/>
            </a:lvl1pPr>
          </a:lstStyle>
          <a:p>
            <a:r>
              <a:rPr lang="en-GB"/>
              <a:t>Click to edit Master title style</a:t>
            </a:r>
            <a:endParaRPr lang="en-US"/>
          </a:p>
        </p:txBody>
      </p:sp>
      <p:pic>
        <p:nvPicPr>
          <p:cNvPr id="9" name="ZRS Logo Horozontal">
            <a:extLst>
              <a:ext uri="{FF2B5EF4-FFF2-40B4-BE49-F238E27FC236}">
                <a16:creationId xmlns:a16="http://schemas.microsoft.com/office/drawing/2014/main" id="{C3961665-A7EF-AB66-D1CA-A82B5370E1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00530" y="190545"/>
            <a:ext cx="1338812" cy="444537"/>
          </a:xfrm>
          <a:prstGeom prst="rect">
            <a:avLst/>
          </a:prstGeom>
        </p:spPr>
      </p:pic>
      <p:sp>
        <p:nvSpPr>
          <p:cNvPr id="11" name="Slide Number Placeholder 5">
            <a:extLst>
              <a:ext uri="{FF2B5EF4-FFF2-40B4-BE49-F238E27FC236}">
                <a16:creationId xmlns:a16="http://schemas.microsoft.com/office/drawing/2014/main" id="{9E94F699-AF61-9B4B-C9EB-0F60ECC70D9E}"/>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Tree>
    <p:extLst>
      <p:ext uri="{BB962C8B-B14F-4D97-AF65-F5344CB8AC3E}">
        <p14:creationId xmlns:p14="http://schemas.microsoft.com/office/powerpoint/2010/main" val="16123892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ignatures_2peop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3CF824-0541-B29E-8E4D-682D7B6A2E1A}"/>
              </a:ext>
            </a:extLst>
          </p:cNvPr>
          <p:cNvGraphicFramePr>
            <a:graphicFrameLocks noChangeAspect="1"/>
          </p:cNvGraphicFramePr>
          <p:nvPr userDrawn="1">
            <p:custDataLst>
              <p:tags r:id="rId1"/>
            </p:custDataLst>
            <p:extLst>
              <p:ext uri="{D42A27DB-BD31-4B8C-83A1-F6EECF244321}">
                <p14:modId xmlns:p14="http://schemas.microsoft.com/office/powerpoint/2010/main" val="300874512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963CF824-0541-B29E-8E4D-682D7B6A2E1A}"/>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0660FE9-7058-445A-A87D-587C9395E97C}"/>
              </a:ext>
            </a:extLst>
          </p:cNvPr>
          <p:cNvSpPr/>
          <p:nvPr userDrawn="1"/>
        </p:nvSpPr>
        <p:spPr>
          <a:xfrm>
            <a:off x="9085635" y="0"/>
            <a:ext cx="3106365"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algn="ctr"/>
            <a:endParaRPr lang="en-US" sz="1000">
              <a:latin typeface="+mn-lt"/>
              <a:cs typeface="Arial" panose="020B0604020202020204" pitchFamily="34" charset="0"/>
            </a:endParaRPr>
          </a:p>
        </p:txBody>
      </p:sp>
      <p:sp>
        <p:nvSpPr>
          <p:cNvPr id="35" name="TextBox 34">
            <a:extLst>
              <a:ext uri="{FF2B5EF4-FFF2-40B4-BE49-F238E27FC236}">
                <a16:creationId xmlns:a16="http://schemas.microsoft.com/office/drawing/2014/main" id="{20454A9A-E833-4775-8C2D-33EB42BCE6B5}"/>
              </a:ext>
            </a:extLst>
          </p:cNvPr>
          <p:cNvSpPr txBox="1"/>
          <p:nvPr userDrawn="1"/>
        </p:nvSpPr>
        <p:spPr>
          <a:xfrm>
            <a:off x="11158233" y="6548970"/>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9" name="ZRS Logo Horozontal">
            <a:extLst>
              <a:ext uri="{FF2B5EF4-FFF2-40B4-BE49-F238E27FC236}">
                <a16:creationId xmlns:a16="http://schemas.microsoft.com/office/drawing/2014/main" id="{C3961665-A7EF-AB66-D1CA-A82B5370E1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00530" y="190545"/>
            <a:ext cx="1338812" cy="444537"/>
          </a:xfrm>
          <a:prstGeom prst="rect">
            <a:avLst/>
          </a:prstGeom>
        </p:spPr>
      </p:pic>
      <p:pic>
        <p:nvPicPr>
          <p:cNvPr id="21" name="Picture 20" descr="A blue pencil on a paper&#10;&#10;Description automatically generated">
            <a:extLst>
              <a:ext uri="{FF2B5EF4-FFF2-40B4-BE49-F238E27FC236}">
                <a16:creationId xmlns:a16="http://schemas.microsoft.com/office/drawing/2014/main" id="{092C1C05-EF94-6730-123D-A0F8D5BF57D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815512" y="1208728"/>
            <a:ext cx="1778000" cy="1778000"/>
          </a:xfrm>
          <a:prstGeom prst="rect">
            <a:avLst/>
          </a:prstGeom>
        </p:spPr>
      </p:pic>
      <p:sp>
        <p:nvSpPr>
          <p:cNvPr id="23" name="TextBox 22">
            <a:extLst>
              <a:ext uri="{FF2B5EF4-FFF2-40B4-BE49-F238E27FC236}">
                <a16:creationId xmlns:a16="http://schemas.microsoft.com/office/drawing/2014/main" id="{39793E7F-29F8-9075-CF73-41E7DC3968DB}"/>
              </a:ext>
            </a:extLst>
          </p:cNvPr>
          <p:cNvSpPr txBox="1"/>
          <p:nvPr userDrawn="1"/>
        </p:nvSpPr>
        <p:spPr>
          <a:xfrm>
            <a:off x="167277" y="568728"/>
            <a:ext cx="7189967" cy="371971"/>
          </a:xfrm>
          <a:prstGeom prst="rect">
            <a:avLst/>
          </a:prstGeom>
          <a:noFill/>
        </p:spPr>
        <p:txBody>
          <a:bodyPr wrap="square" lIns="107987" tIns="107987" rIns="107987" bIns="107987" rtlCol="0">
            <a:spAutoFit/>
          </a:bodyPr>
          <a:lstStyle/>
          <a:p>
            <a:pPr algn="l"/>
            <a:r>
              <a:rPr lang="en-US" sz="1000">
                <a:solidFill>
                  <a:schemeClr val="accent1"/>
                </a:solidFill>
              </a:rPr>
              <a:t>This Agreement has been signed on the dates listed below by the duly authorized representatives of the Parties.</a:t>
            </a:r>
            <a:endParaRPr lang="de-DE" sz="1000">
              <a:solidFill>
                <a:schemeClr val="accent1"/>
              </a:solidFill>
            </a:endParaRPr>
          </a:p>
        </p:txBody>
      </p:sp>
      <p:sp>
        <p:nvSpPr>
          <p:cNvPr id="25" name="TextBox 1">
            <a:extLst>
              <a:ext uri="{FF2B5EF4-FFF2-40B4-BE49-F238E27FC236}">
                <a16:creationId xmlns:a16="http://schemas.microsoft.com/office/drawing/2014/main" id="{F5B62BC7-32F9-40BD-8A8C-A58C432A59A0}"/>
              </a:ext>
            </a:extLst>
          </p:cNvPr>
          <p:cNvSpPr txBox="1"/>
          <p:nvPr userDrawn="1"/>
        </p:nvSpPr>
        <p:spPr>
          <a:xfrm>
            <a:off x="293486" y="1073361"/>
            <a:ext cx="4167037" cy="402749"/>
          </a:xfrm>
          <a:prstGeom prst="rect">
            <a:avLst/>
          </a:prstGeom>
          <a:solidFill>
            <a:schemeClr val="accent1">
              <a:lumMod val="20000"/>
              <a:lumOff val="80000"/>
            </a:schemeClr>
          </a:solidFill>
        </p:spPr>
        <p:txBody>
          <a:bodyPr wrap="square" lIns="107987" tIns="107987" rIns="107987" bIns="107987" rtlCol="0">
            <a:spAutoFit/>
          </a:bodyPr>
          <a:lstStyle/>
          <a:p>
            <a:pPr algn="l"/>
            <a:endParaRPr lang="de-DE" sz="1200" b="1">
              <a:solidFill>
                <a:schemeClr val="accent1"/>
              </a:solidFill>
            </a:endParaRPr>
          </a:p>
        </p:txBody>
      </p:sp>
      <p:sp>
        <p:nvSpPr>
          <p:cNvPr id="27" name="TextBox 26">
            <a:extLst>
              <a:ext uri="{FF2B5EF4-FFF2-40B4-BE49-F238E27FC236}">
                <a16:creationId xmlns:a16="http://schemas.microsoft.com/office/drawing/2014/main" id="{B9021133-D1D0-DB93-C8AB-DBD29F9341C7}"/>
              </a:ext>
            </a:extLst>
          </p:cNvPr>
          <p:cNvSpPr txBox="1"/>
          <p:nvPr userDrawn="1"/>
        </p:nvSpPr>
        <p:spPr>
          <a:xfrm>
            <a:off x="250829" y="1799489"/>
            <a:ext cx="1117601" cy="244755"/>
          </a:xfrm>
          <a:prstGeom prst="rect">
            <a:avLst/>
          </a:prstGeom>
          <a:noFill/>
        </p:spPr>
        <p:txBody>
          <a:bodyPr wrap="square" lIns="71991" tIns="53993" rIns="71991" bIns="35995" rtlCol="0">
            <a:spAutoFit/>
          </a:bodyPr>
          <a:lstStyle/>
          <a:p>
            <a:pPr algn="l"/>
            <a:r>
              <a:rPr lang="de-DE" sz="1000" b="0" i="1">
                <a:solidFill>
                  <a:schemeClr val="accent1"/>
                </a:solidFill>
                <a:latin typeface="Zurich Sans Light" panose="02000000000000000000" pitchFamily="2" charset="0"/>
              </a:rPr>
              <a:t>Name, Title</a:t>
            </a:r>
          </a:p>
        </p:txBody>
      </p:sp>
      <p:sp>
        <p:nvSpPr>
          <p:cNvPr id="28" name="TextBox 27">
            <a:extLst>
              <a:ext uri="{FF2B5EF4-FFF2-40B4-BE49-F238E27FC236}">
                <a16:creationId xmlns:a16="http://schemas.microsoft.com/office/drawing/2014/main" id="{D321601B-8BCD-855C-43BA-7D4E7C7BDC86}"/>
              </a:ext>
            </a:extLst>
          </p:cNvPr>
          <p:cNvSpPr txBox="1"/>
          <p:nvPr userDrawn="1"/>
        </p:nvSpPr>
        <p:spPr>
          <a:xfrm>
            <a:off x="275829" y="2406996"/>
            <a:ext cx="1117601" cy="244755"/>
          </a:xfrm>
          <a:prstGeom prst="rect">
            <a:avLst/>
          </a:prstGeom>
          <a:noFill/>
        </p:spPr>
        <p:txBody>
          <a:bodyPr wrap="square" lIns="71991" tIns="53993" rIns="71991" bIns="35995" rtlCol="0">
            <a:spAutoFit/>
          </a:bodyPr>
          <a:lstStyle/>
          <a:p>
            <a:pPr algn="l"/>
            <a:r>
              <a:rPr lang="de-DE" sz="1000" b="0" i="1">
                <a:solidFill>
                  <a:schemeClr val="accent1"/>
                </a:solidFill>
                <a:latin typeface="Zurich Sans Light" panose="02000000000000000000" pitchFamily="2" charset="0"/>
              </a:rPr>
              <a:t>Place, Date</a:t>
            </a:r>
          </a:p>
        </p:txBody>
      </p:sp>
      <p:cxnSp>
        <p:nvCxnSpPr>
          <p:cNvPr id="30" name="Straight Connector 29">
            <a:extLst>
              <a:ext uri="{FF2B5EF4-FFF2-40B4-BE49-F238E27FC236}">
                <a16:creationId xmlns:a16="http://schemas.microsoft.com/office/drawing/2014/main" id="{F5AA79EA-09FC-BAB5-ABDF-8A67B96F0BE1}"/>
              </a:ext>
            </a:extLst>
          </p:cNvPr>
          <p:cNvCxnSpPr>
            <a:cxnSpLocks/>
          </p:cNvCxnSpPr>
          <p:nvPr userDrawn="1"/>
        </p:nvCxnSpPr>
        <p:spPr>
          <a:xfrm>
            <a:off x="256301" y="2355419"/>
            <a:ext cx="414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B188C45-76BD-6270-2111-51D9E828A930}"/>
              </a:ext>
            </a:extLst>
          </p:cNvPr>
          <p:cNvCxnSpPr>
            <a:cxnSpLocks/>
          </p:cNvCxnSpPr>
          <p:nvPr userDrawn="1"/>
        </p:nvCxnSpPr>
        <p:spPr>
          <a:xfrm>
            <a:off x="284363" y="2939623"/>
            <a:ext cx="414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018C3A1-52B4-671C-AAC8-E8DFF892E98E}"/>
              </a:ext>
            </a:extLst>
          </p:cNvPr>
          <p:cNvCxnSpPr>
            <a:cxnSpLocks/>
          </p:cNvCxnSpPr>
          <p:nvPr userDrawn="1"/>
        </p:nvCxnSpPr>
        <p:spPr>
          <a:xfrm>
            <a:off x="4601600" y="2349767"/>
            <a:ext cx="414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6B15ED-D733-8923-BCDA-700932821D28}"/>
              </a:ext>
            </a:extLst>
          </p:cNvPr>
          <p:cNvCxnSpPr>
            <a:cxnSpLocks/>
          </p:cNvCxnSpPr>
          <p:nvPr userDrawn="1"/>
        </p:nvCxnSpPr>
        <p:spPr>
          <a:xfrm>
            <a:off x="4601600" y="2947512"/>
            <a:ext cx="414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3" name="Picture Placeholder 52">
            <a:extLst>
              <a:ext uri="{FF2B5EF4-FFF2-40B4-BE49-F238E27FC236}">
                <a16:creationId xmlns:a16="http://schemas.microsoft.com/office/drawing/2014/main" id="{3557792E-235E-DDAF-434C-4FBE893CA1A0}"/>
              </a:ext>
            </a:extLst>
          </p:cNvPr>
          <p:cNvSpPr>
            <a:spLocks noGrp="1"/>
          </p:cNvSpPr>
          <p:nvPr>
            <p:ph type="pic" sz="quarter" idx="36" hasCustomPrompt="1"/>
          </p:nvPr>
        </p:nvSpPr>
        <p:spPr>
          <a:xfrm>
            <a:off x="298335" y="3251593"/>
            <a:ext cx="4097967" cy="777044"/>
          </a:xfrm>
        </p:spPr>
        <p:txBody>
          <a:bodyPr anchor="t"/>
          <a:lstStyle>
            <a:lvl1pPr marL="0" indent="0" algn="ctr">
              <a:buNone/>
              <a:defRPr sz="1200"/>
            </a:lvl1pPr>
          </a:lstStyle>
          <a:p>
            <a:r>
              <a:rPr lang="en-ES"/>
              <a:t>Add Signature</a:t>
            </a:r>
          </a:p>
        </p:txBody>
      </p:sp>
      <p:sp>
        <p:nvSpPr>
          <p:cNvPr id="63" name="TextBox 62">
            <a:extLst>
              <a:ext uri="{FF2B5EF4-FFF2-40B4-BE49-F238E27FC236}">
                <a16:creationId xmlns:a16="http://schemas.microsoft.com/office/drawing/2014/main" id="{6AD74B49-4D77-C3FF-7269-C5C085742E99}"/>
              </a:ext>
            </a:extLst>
          </p:cNvPr>
          <p:cNvSpPr txBox="1"/>
          <p:nvPr userDrawn="1"/>
        </p:nvSpPr>
        <p:spPr>
          <a:xfrm>
            <a:off x="298337" y="2982975"/>
            <a:ext cx="1117601" cy="244755"/>
          </a:xfrm>
          <a:prstGeom prst="rect">
            <a:avLst/>
          </a:prstGeom>
          <a:noFill/>
        </p:spPr>
        <p:txBody>
          <a:bodyPr wrap="square" lIns="71991" tIns="53993" rIns="71991" bIns="35995" rtlCol="0">
            <a:spAutoFit/>
          </a:bodyPr>
          <a:lstStyle/>
          <a:p>
            <a:pPr algn="l"/>
            <a:r>
              <a:rPr lang="de-DE" sz="1000" b="0" i="1" err="1">
                <a:solidFill>
                  <a:schemeClr val="accent1"/>
                </a:solidFill>
                <a:latin typeface="Zurich Sans Light" panose="02000000000000000000" pitchFamily="2" charset="0"/>
              </a:rPr>
              <a:t>Signature</a:t>
            </a:r>
            <a:endParaRPr lang="de-DE" sz="1000" b="0" i="1">
              <a:solidFill>
                <a:schemeClr val="accent1"/>
              </a:solidFill>
              <a:latin typeface="Zurich Sans Light" panose="02000000000000000000" pitchFamily="2" charset="0"/>
            </a:endParaRPr>
          </a:p>
        </p:txBody>
      </p:sp>
      <p:sp>
        <p:nvSpPr>
          <p:cNvPr id="64" name="TextBox 63">
            <a:extLst>
              <a:ext uri="{FF2B5EF4-FFF2-40B4-BE49-F238E27FC236}">
                <a16:creationId xmlns:a16="http://schemas.microsoft.com/office/drawing/2014/main" id="{FAC9A9E9-0830-F65D-8942-E2DE7B8D93DB}"/>
              </a:ext>
            </a:extLst>
          </p:cNvPr>
          <p:cNvSpPr txBox="1"/>
          <p:nvPr userDrawn="1"/>
        </p:nvSpPr>
        <p:spPr>
          <a:xfrm>
            <a:off x="4599514" y="1788104"/>
            <a:ext cx="1117601" cy="244755"/>
          </a:xfrm>
          <a:prstGeom prst="rect">
            <a:avLst/>
          </a:prstGeom>
          <a:noFill/>
        </p:spPr>
        <p:txBody>
          <a:bodyPr wrap="square" lIns="71991" tIns="53993" rIns="71991" bIns="35995" rtlCol="0">
            <a:spAutoFit/>
          </a:bodyPr>
          <a:lstStyle/>
          <a:p>
            <a:pPr algn="l"/>
            <a:r>
              <a:rPr lang="de-DE" sz="1000" b="0" i="1">
                <a:solidFill>
                  <a:schemeClr val="accent1"/>
                </a:solidFill>
                <a:latin typeface="Zurich Sans Light" panose="02000000000000000000" pitchFamily="2" charset="0"/>
              </a:rPr>
              <a:t>Name, Title</a:t>
            </a:r>
          </a:p>
        </p:txBody>
      </p:sp>
      <p:sp>
        <p:nvSpPr>
          <p:cNvPr id="65" name="TextBox 64">
            <a:extLst>
              <a:ext uri="{FF2B5EF4-FFF2-40B4-BE49-F238E27FC236}">
                <a16:creationId xmlns:a16="http://schemas.microsoft.com/office/drawing/2014/main" id="{9A37420D-0A26-33AE-E0E7-DA237F8052A3}"/>
              </a:ext>
            </a:extLst>
          </p:cNvPr>
          <p:cNvSpPr txBox="1"/>
          <p:nvPr userDrawn="1"/>
        </p:nvSpPr>
        <p:spPr>
          <a:xfrm>
            <a:off x="4624513" y="2387184"/>
            <a:ext cx="1117601" cy="244755"/>
          </a:xfrm>
          <a:prstGeom prst="rect">
            <a:avLst/>
          </a:prstGeom>
          <a:noFill/>
        </p:spPr>
        <p:txBody>
          <a:bodyPr wrap="square" lIns="71991" tIns="53993" rIns="71991" bIns="35995" rtlCol="0">
            <a:spAutoFit/>
          </a:bodyPr>
          <a:lstStyle/>
          <a:p>
            <a:pPr algn="l"/>
            <a:r>
              <a:rPr lang="de-DE" sz="1000" b="0" i="1">
                <a:solidFill>
                  <a:schemeClr val="accent1"/>
                </a:solidFill>
                <a:latin typeface="Zurich Sans Light" panose="02000000000000000000" pitchFamily="2" charset="0"/>
              </a:rPr>
              <a:t>Place, Date</a:t>
            </a:r>
          </a:p>
        </p:txBody>
      </p:sp>
      <p:sp>
        <p:nvSpPr>
          <p:cNvPr id="67" name="Picture Placeholder 52">
            <a:extLst>
              <a:ext uri="{FF2B5EF4-FFF2-40B4-BE49-F238E27FC236}">
                <a16:creationId xmlns:a16="http://schemas.microsoft.com/office/drawing/2014/main" id="{C14F81CD-7C41-6EAE-F2A2-153A9839E593}"/>
              </a:ext>
            </a:extLst>
          </p:cNvPr>
          <p:cNvSpPr>
            <a:spLocks noGrp="1"/>
          </p:cNvSpPr>
          <p:nvPr>
            <p:ph type="pic" sz="quarter" idx="37" hasCustomPrompt="1"/>
          </p:nvPr>
        </p:nvSpPr>
        <p:spPr>
          <a:xfrm>
            <a:off x="4584832" y="3260747"/>
            <a:ext cx="4147307" cy="764016"/>
          </a:xfrm>
        </p:spPr>
        <p:txBody>
          <a:bodyPr/>
          <a:lstStyle>
            <a:lvl1pPr marL="0" indent="0" algn="ctr">
              <a:buNone/>
              <a:defRPr sz="1200"/>
            </a:lvl1pPr>
          </a:lstStyle>
          <a:p>
            <a:r>
              <a:rPr lang="en-ES"/>
              <a:t>Add Signature</a:t>
            </a:r>
          </a:p>
        </p:txBody>
      </p:sp>
      <p:sp>
        <p:nvSpPr>
          <p:cNvPr id="29" name="Text Placeholder 28">
            <a:extLst>
              <a:ext uri="{FF2B5EF4-FFF2-40B4-BE49-F238E27FC236}">
                <a16:creationId xmlns:a16="http://schemas.microsoft.com/office/drawing/2014/main" id="{567D618D-FB04-7CA1-0BBE-FD6C6EA026E3}"/>
              </a:ext>
            </a:extLst>
          </p:cNvPr>
          <p:cNvSpPr>
            <a:spLocks noGrp="1"/>
          </p:cNvSpPr>
          <p:nvPr>
            <p:ph type="body" sz="quarter" idx="38" hasCustomPrompt="1"/>
          </p:nvPr>
        </p:nvSpPr>
        <p:spPr>
          <a:xfrm>
            <a:off x="298336" y="2620239"/>
            <a:ext cx="4144963" cy="316687"/>
          </a:xfrm>
        </p:spPr>
        <p:txBody>
          <a:bodyPr lIns="72000" tIns="72000" rIns="72000" bIns="72000"/>
          <a:lstStyle>
            <a:lvl1pPr marL="0" indent="0">
              <a:buNone/>
              <a:defRPr sz="1200"/>
            </a:lvl1pPr>
            <a:lvl4pPr marL="50793" indent="0">
              <a:buNone/>
              <a:tabLst/>
              <a:defRPr/>
            </a:lvl4pPr>
            <a:lvl5pPr marL="898390" indent="0">
              <a:buNone/>
              <a:defRPr/>
            </a:lvl5pPr>
          </a:lstStyle>
          <a:p>
            <a:pPr algn="l"/>
            <a:r>
              <a:rPr lang="de-DE" sz="1200" b="0" err="1">
                <a:solidFill>
                  <a:schemeClr val="accent1"/>
                </a:solidFill>
                <a:latin typeface="+mn-lt"/>
              </a:rPr>
              <a:t>Zurich</a:t>
            </a:r>
            <a:r>
              <a:rPr lang="de-DE" sz="1200" b="0">
                <a:solidFill>
                  <a:schemeClr val="accent1"/>
                </a:solidFill>
                <a:latin typeface="+mn-lt"/>
              </a:rPr>
              <a:t>, </a:t>
            </a:r>
            <a:r>
              <a:rPr lang="de-DE" sz="1200" b="0" err="1">
                <a:solidFill>
                  <a:schemeClr val="accent1"/>
                </a:solidFill>
                <a:latin typeface="+mn-lt"/>
              </a:rPr>
              <a:t>January</a:t>
            </a:r>
            <a:r>
              <a:rPr lang="de-DE" sz="1200" b="0">
                <a:solidFill>
                  <a:schemeClr val="accent1"/>
                </a:solidFill>
                <a:latin typeface="+mn-lt"/>
              </a:rPr>
              <a:t> 22,  2024</a:t>
            </a:r>
          </a:p>
        </p:txBody>
      </p:sp>
      <p:sp>
        <p:nvSpPr>
          <p:cNvPr id="33" name="Text Placeholder 28">
            <a:extLst>
              <a:ext uri="{FF2B5EF4-FFF2-40B4-BE49-F238E27FC236}">
                <a16:creationId xmlns:a16="http://schemas.microsoft.com/office/drawing/2014/main" id="{86274710-CD4C-70EA-A7A4-835587139757}"/>
              </a:ext>
            </a:extLst>
          </p:cNvPr>
          <p:cNvSpPr>
            <a:spLocks noGrp="1"/>
          </p:cNvSpPr>
          <p:nvPr>
            <p:ph type="body" sz="quarter" idx="39" hasCustomPrompt="1"/>
          </p:nvPr>
        </p:nvSpPr>
        <p:spPr>
          <a:xfrm>
            <a:off x="4599513" y="2616887"/>
            <a:ext cx="4144963" cy="324635"/>
          </a:xfrm>
        </p:spPr>
        <p:txBody>
          <a:bodyPr lIns="72000" tIns="72000" rIns="72000" bIns="72000"/>
          <a:lstStyle>
            <a:lvl1pPr marL="0" indent="0">
              <a:buNone/>
              <a:defRPr sz="1200"/>
            </a:lvl1pPr>
            <a:lvl4pPr marL="50793" indent="0">
              <a:buNone/>
              <a:tabLst/>
              <a:defRPr/>
            </a:lvl4pPr>
            <a:lvl5pPr marL="898390" indent="0">
              <a:buNone/>
              <a:defRPr/>
            </a:lvl5pPr>
          </a:lstStyle>
          <a:p>
            <a:pPr algn="l"/>
            <a:r>
              <a:rPr lang="de-DE" sz="1200" b="0" err="1">
                <a:solidFill>
                  <a:schemeClr val="accent1"/>
                </a:solidFill>
                <a:latin typeface="+mn-lt"/>
              </a:rPr>
              <a:t>Zurich</a:t>
            </a:r>
            <a:r>
              <a:rPr lang="de-DE" sz="1200" b="0">
                <a:solidFill>
                  <a:schemeClr val="accent1"/>
                </a:solidFill>
                <a:latin typeface="+mn-lt"/>
              </a:rPr>
              <a:t>, </a:t>
            </a:r>
            <a:r>
              <a:rPr lang="de-DE" sz="1200" b="0" err="1">
                <a:solidFill>
                  <a:schemeClr val="accent1"/>
                </a:solidFill>
                <a:latin typeface="+mn-lt"/>
              </a:rPr>
              <a:t>January</a:t>
            </a:r>
            <a:r>
              <a:rPr lang="de-DE" sz="1200" b="0">
                <a:solidFill>
                  <a:schemeClr val="accent1"/>
                </a:solidFill>
                <a:latin typeface="+mn-lt"/>
              </a:rPr>
              <a:t> 22,  2024</a:t>
            </a:r>
          </a:p>
        </p:txBody>
      </p:sp>
      <p:sp>
        <p:nvSpPr>
          <p:cNvPr id="38" name="Text Placeholder 28">
            <a:extLst>
              <a:ext uri="{FF2B5EF4-FFF2-40B4-BE49-F238E27FC236}">
                <a16:creationId xmlns:a16="http://schemas.microsoft.com/office/drawing/2014/main" id="{64509B9B-B1B9-43E2-68EE-A324E03BE479}"/>
              </a:ext>
            </a:extLst>
          </p:cNvPr>
          <p:cNvSpPr>
            <a:spLocks noGrp="1"/>
          </p:cNvSpPr>
          <p:nvPr>
            <p:ph type="body" sz="quarter" idx="40" hasCustomPrompt="1"/>
          </p:nvPr>
        </p:nvSpPr>
        <p:spPr>
          <a:xfrm>
            <a:off x="271507" y="2040345"/>
            <a:ext cx="4144963" cy="311059"/>
          </a:xfrm>
        </p:spPr>
        <p:txBody>
          <a:bodyPr lIns="72000" tIns="72000" rIns="72000" bIns="36000"/>
          <a:lstStyle>
            <a:lvl1pPr marL="0" indent="0">
              <a:buNone/>
              <a:defRPr sz="1200"/>
            </a:lvl1pPr>
            <a:lvl4pPr marL="50793" indent="0">
              <a:buNone/>
              <a:tabLst/>
              <a:defRPr/>
            </a:lvl4pPr>
            <a:lvl5pPr marL="898390" indent="0">
              <a:buNone/>
              <a:defRPr/>
            </a:lvl5pPr>
          </a:lstStyle>
          <a:p>
            <a:pPr algn="l"/>
            <a:r>
              <a:rPr lang="de-DE" sz="1200" b="0">
                <a:solidFill>
                  <a:schemeClr val="accent1"/>
                </a:solidFill>
                <a:latin typeface="+mn-lt"/>
              </a:rPr>
              <a:t>John Sample, Project Manager</a:t>
            </a:r>
          </a:p>
        </p:txBody>
      </p:sp>
      <p:sp>
        <p:nvSpPr>
          <p:cNvPr id="40" name="Text Placeholder 28">
            <a:extLst>
              <a:ext uri="{FF2B5EF4-FFF2-40B4-BE49-F238E27FC236}">
                <a16:creationId xmlns:a16="http://schemas.microsoft.com/office/drawing/2014/main" id="{8CF181DD-9712-F721-AD3E-29BB9AEBCA67}"/>
              </a:ext>
            </a:extLst>
          </p:cNvPr>
          <p:cNvSpPr>
            <a:spLocks noGrp="1"/>
          </p:cNvSpPr>
          <p:nvPr>
            <p:ph type="body" sz="quarter" idx="41" hasCustomPrompt="1"/>
          </p:nvPr>
        </p:nvSpPr>
        <p:spPr>
          <a:xfrm>
            <a:off x="4624513" y="2030157"/>
            <a:ext cx="4144963" cy="317160"/>
          </a:xfrm>
        </p:spPr>
        <p:txBody>
          <a:bodyPr lIns="72000" tIns="72000" rIns="72000" bIns="36000"/>
          <a:lstStyle>
            <a:lvl1pPr marL="0" indent="0">
              <a:buNone/>
              <a:defRPr sz="1200"/>
            </a:lvl1pPr>
            <a:lvl4pPr marL="50793" indent="0">
              <a:buNone/>
              <a:tabLst/>
              <a:defRPr/>
            </a:lvl4pPr>
            <a:lvl5pPr marL="898390" indent="0">
              <a:buNone/>
              <a:defRPr/>
            </a:lvl5pPr>
          </a:lstStyle>
          <a:p>
            <a:pPr algn="l"/>
            <a:r>
              <a:rPr lang="de-DE" sz="1200" b="0">
                <a:solidFill>
                  <a:schemeClr val="accent1"/>
                </a:solidFill>
                <a:latin typeface="+mn-lt"/>
              </a:rPr>
              <a:t>John Sample, Project Manager</a:t>
            </a:r>
          </a:p>
        </p:txBody>
      </p:sp>
      <p:sp>
        <p:nvSpPr>
          <p:cNvPr id="46" name="TextBox 45">
            <a:extLst>
              <a:ext uri="{FF2B5EF4-FFF2-40B4-BE49-F238E27FC236}">
                <a16:creationId xmlns:a16="http://schemas.microsoft.com/office/drawing/2014/main" id="{64BE1BDD-7F50-3D19-E475-DF6A45646326}"/>
              </a:ext>
            </a:extLst>
          </p:cNvPr>
          <p:cNvSpPr txBox="1"/>
          <p:nvPr userDrawn="1"/>
        </p:nvSpPr>
        <p:spPr>
          <a:xfrm>
            <a:off x="4575373" y="2982975"/>
            <a:ext cx="1117601" cy="244755"/>
          </a:xfrm>
          <a:prstGeom prst="rect">
            <a:avLst/>
          </a:prstGeom>
          <a:noFill/>
        </p:spPr>
        <p:txBody>
          <a:bodyPr wrap="square" lIns="71991" tIns="53993" rIns="71991" bIns="35995" rtlCol="0">
            <a:spAutoFit/>
          </a:bodyPr>
          <a:lstStyle/>
          <a:p>
            <a:pPr algn="l"/>
            <a:r>
              <a:rPr lang="de-DE" sz="1000" b="0" i="1" err="1">
                <a:solidFill>
                  <a:schemeClr val="accent1"/>
                </a:solidFill>
                <a:latin typeface="Zurich Sans Light" panose="02000000000000000000" pitchFamily="2" charset="0"/>
              </a:rPr>
              <a:t>Signature</a:t>
            </a:r>
            <a:endParaRPr lang="de-DE" sz="1000" b="0" i="1">
              <a:solidFill>
                <a:schemeClr val="accent1"/>
              </a:solidFill>
              <a:latin typeface="Zurich Sans Light" panose="02000000000000000000" pitchFamily="2" charset="0"/>
            </a:endParaRPr>
          </a:p>
        </p:txBody>
      </p:sp>
      <p:sp>
        <p:nvSpPr>
          <p:cNvPr id="190" name="TextBox 1">
            <a:extLst>
              <a:ext uri="{FF2B5EF4-FFF2-40B4-BE49-F238E27FC236}">
                <a16:creationId xmlns:a16="http://schemas.microsoft.com/office/drawing/2014/main" id="{B4D5716E-F682-BA4A-73B8-529E8331A753}"/>
              </a:ext>
            </a:extLst>
          </p:cNvPr>
          <p:cNvSpPr txBox="1"/>
          <p:nvPr userDrawn="1"/>
        </p:nvSpPr>
        <p:spPr>
          <a:xfrm>
            <a:off x="4622368" y="1073361"/>
            <a:ext cx="4140000" cy="402749"/>
          </a:xfrm>
          <a:prstGeom prst="rect">
            <a:avLst/>
          </a:prstGeom>
          <a:solidFill>
            <a:schemeClr val="accent2">
              <a:lumMod val="20000"/>
              <a:lumOff val="80000"/>
            </a:schemeClr>
          </a:solidFill>
        </p:spPr>
        <p:txBody>
          <a:bodyPr wrap="square" lIns="107987" tIns="107987" rIns="107987" bIns="107987" rtlCol="0">
            <a:spAutoFit/>
          </a:bodyPr>
          <a:lstStyle/>
          <a:p>
            <a:pPr algn="l"/>
            <a:endParaRPr lang="de-DE" sz="1200" b="0">
              <a:solidFill>
                <a:schemeClr val="accent1"/>
              </a:solidFill>
            </a:endParaRPr>
          </a:p>
        </p:txBody>
      </p:sp>
      <p:sp>
        <p:nvSpPr>
          <p:cNvPr id="3" name="Slide Number Placeholder 5">
            <a:extLst>
              <a:ext uri="{FF2B5EF4-FFF2-40B4-BE49-F238E27FC236}">
                <a16:creationId xmlns:a16="http://schemas.microsoft.com/office/drawing/2014/main" id="{07BB2B49-D514-2A00-C96B-BD1B73927C5A}"/>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14" name="Text Placeholder 13">
            <a:extLst>
              <a:ext uri="{FF2B5EF4-FFF2-40B4-BE49-F238E27FC236}">
                <a16:creationId xmlns:a16="http://schemas.microsoft.com/office/drawing/2014/main" id="{2AC964C8-AC36-FE3F-4839-8F7F0946C95F}"/>
              </a:ext>
            </a:extLst>
          </p:cNvPr>
          <p:cNvSpPr>
            <a:spLocks noGrp="1"/>
          </p:cNvSpPr>
          <p:nvPr>
            <p:ph type="body" sz="quarter" idx="51" hasCustomPrompt="1"/>
          </p:nvPr>
        </p:nvSpPr>
        <p:spPr>
          <a:xfrm>
            <a:off x="297826" y="1086652"/>
            <a:ext cx="4001279" cy="372189"/>
          </a:xfrm>
        </p:spPr>
        <p:txBody>
          <a:bodyPr lIns="108000" rIns="108000" anchor="ctr"/>
          <a:lstStyle>
            <a:lvl3pPr marL="7937" indent="0">
              <a:buNone/>
              <a:tabLst/>
              <a:defRPr/>
            </a:lvl3pPr>
          </a:lstStyle>
          <a:p>
            <a:pPr lvl="2"/>
            <a:r>
              <a:rPr lang="en-GB"/>
              <a:t>Appropriate Zurich Legal Entity</a:t>
            </a:r>
          </a:p>
        </p:txBody>
      </p:sp>
      <p:sp>
        <p:nvSpPr>
          <p:cNvPr id="15" name="Text Placeholder 13">
            <a:extLst>
              <a:ext uri="{FF2B5EF4-FFF2-40B4-BE49-F238E27FC236}">
                <a16:creationId xmlns:a16="http://schemas.microsoft.com/office/drawing/2014/main" id="{2D6A86BF-FB37-3C8C-FCE9-2AFA27625E85}"/>
              </a:ext>
            </a:extLst>
          </p:cNvPr>
          <p:cNvSpPr>
            <a:spLocks noGrp="1"/>
          </p:cNvSpPr>
          <p:nvPr>
            <p:ph type="body" sz="quarter" idx="52" hasCustomPrompt="1"/>
          </p:nvPr>
        </p:nvSpPr>
        <p:spPr>
          <a:xfrm>
            <a:off x="4631829" y="1087152"/>
            <a:ext cx="4071939" cy="372189"/>
          </a:xfrm>
        </p:spPr>
        <p:txBody>
          <a:bodyPr lIns="108000" rIns="108000" anchor="ctr"/>
          <a:lstStyle>
            <a:lvl3pPr marL="7937" indent="0">
              <a:buNone/>
              <a:tabLst/>
              <a:defRPr/>
            </a:lvl3pPr>
          </a:lstStyle>
          <a:p>
            <a:pPr lvl="2"/>
            <a:r>
              <a:rPr lang="en-GB"/>
              <a:t>Customer Name</a:t>
            </a:r>
          </a:p>
        </p:txBody>
      </p:sp>
      <p:sp>
        <p:nvSpPr>
          <p:cNvPr id="16" name="Title 5">
            <a:extLst>
              <a:ext uri="{FF2B5EF4-FFF2-40B4-BE49-F238E27FC236}">
                <a16:creationId xmlns:a16="http://schemas.microsoft.com/office/drawing/2014/main" id="{CCF21853-B0C6-5F84-6DE9-55F2DD1E74E4}"/>
              </a:ext>
            </a:extLst>
          </p:cNvPr>
          <p:cNvSpPr>
            <a:spLocks noGrp="1"/>
          </p:cNvSpPr>
          <p:nvPr>
            <p:ph type="title"/>
          </p:nvPr>
        </p:nvSpPr>
        <p:spPr>
          <a:xfrm>
            <a:off x="271507" y="255437"/>
            <a:ext cx="8486732" cy="332399"/>
          </a:xfrm>
        </p:spPr>
        <p:txBody>
          <a:bodyPr/>
          <a:lstStyle/>
          <a:p>
            <a:r>
              <a:rPr lang="en-ES"/>
              <a:t>Signatures</a:t>
            </a:r>
          </a:p>
        </p:txBody>
      </p:sp>
    </p:spTree>
    <p:extLst>
      <p:ext uri="{BB962C8B-B14F-4D97-AF65-F5344CB8AC3E}">
        <p14:creationId xmlns:p14="http://schemas.microsoft.com/office/powerpoint/2010/main" val="24314741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text box and circle for ima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D658764-7185-852D-E9D3-8764824EC8A1}"/>
              </a:ext>
            </a:extLst>
          </p:cNvPr>
          <p:cNvGraphicFramePr>
            <a:graphicFrameLocks noChangeAspect="1"/>
          </p:cNvGraphicFramePr>
          <p:nvPr userDrawn="1">
            <p:custDataLst>
              <p:tags r:id="rId1"/>
            </p:custDataLst>
            <p:extLst>
              <p:ext uri="{D42A27DB-BD31-4B8C-83A1-F6EECF244321}">
                <p14:modId xmlns:p14="http://schemas.microsoft.com/office/powerpoint/2010/main" val="1272312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AD658764-7185-852D-E9D3-8764824EC8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334963" y="1206178"/>
            <a:ext cx="5573967" cy="5040145"/>
          </a:xfrm>
        </p:spPr>
        <p:txBody>
          <a:bodyPr lIns="72000" tIns="72000" rIns="72000" bIns="72000"/>
          <a:lstStyle>
            <a:lvl1pPr rtl="0">
              <a:defRPr sz="1800">
                <a:latin typeface="+mn-lt"/>
                <a:cs typeface="Arial" panose="020B0604020202020204" pitchFamily="34" charset="0"/>
              </a:defRPr>
            </a:lvl1pPr>
            <a:lvl2pPr rtl="0">
              <a:defRPr sz="1600">
                <a:latin typeface="+mn-lt"/>
                <a:cs typeface="Arial" panose="020B0604020202020204" pitchFamily="34" charset="0"/>
              </a:defRPr>
            </a:lvl2pPr>
            <a:lvl3pPr rtl="0">
              <a:defRPr sz="1400">
                <a:latin typeface="+mn-lt"/>
                <a:cs typeface="Arial" panose="020B0604020202020204" pitchFamily="34" charset="0"/>
              </a:defRPr>
            </a:lvl3pPr>
            <a:lvl4pPr rtl="0">
              <a:defRPr sz="1200">
                <a:latin typeface="+mn-lt"/>
                <a:cs typeface="Arial" panose="020B0604020202020204" pitchFamily="34" charset="0"/>
              </a:defRPr>
            </a:lvl4pPr>
            <a:lvl5pPr rtl="0">
              <a:defRPr sz="1200">
                <a:latin typeface="+mn-lt"/>
                <a:cs typeface="Arial" panose="020B0604020202020204" pitchFamily="34" charset="0"/>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9" name="Picture Placeholder 2">
            <a:extLst>
              <a:ext uri="{FF2B5EF4-FFF2-40B4-BE49-F238E27FC236}">
                <a16:creationId xmlns:a16="http://schemas.microsoft.com/office/drawing/2014/main" id="{E1605E3C-D76A-4678-9277-BF9E20857561}"/>
              </a:ext>
            </a:extLst>
          </p:cNvPr>
          <p:cNvSpPr>
            <a:spLocks noGrp="1"/>
          </p:cNvSpPr>
          <p:nvPr>
            <p:ph type="pic" sz="quarter" idx="13" hasCustomPrompt="1"/>
          </p:nvPr>
        </p:nvSpPr>
        <p:spPr>
          <a:xfrm>
            <a:off x="6813444" y="1204279"/>
            <a:ext cx="5040000" cy="5040000"/>
          </a:xfrm>
          <a:prstGeom prst="ellipse">
            <a:avLst/>
          </a:prstGeom>
        </p:spPr>
        <p:txBody>
          <a:bodyPr/>
          <a:lstStyle>
            <a:lvl1pPr algn="ctr" rtl="0">
              <a:buNone/>
              <a:defRPr b="0" i="0">
                <a:solidFill>
                  <a:srgbClr val="1C67AF"/>
                </a:solidFill>
                <a:latin typeface="+mn-lt"/>
                <a:cs typeface="Arial" panose="020B0604020202020204" pitchFamily="34" charset="0"/>
              </a:defRPr>
            </a:lvl1pPr>
          </a:lstStyle>
          <a:p>
            <a:r>
              <a:rPr lang="de-DE" noProof="0"/>
              <a:t>Add a picture here</a:t>
            </a:r>
          </a:p>
        </p:txBody>
      </p:sp>
      <p:sp>
        <p:nvSpPr>
          <p:cNvPr id="20" name="Title 1">
            <a:extLst>
              <a:ext uri="{FF2B5EF4-FFF2-40B4-BE49-F238E27FC236}">
                <a16:creationId xmlns:a16="http://schemas.microsoft.com/office/drawing/2014/main" id="{C29EECA6-DA60-0545-94DA-DA2F8B81238E}"/>
              </a:ext>
            </a:extLst>
          </p:cNvPr>
          <p:cNvSpPr>
            <a:spLocks noGrp="1"/>
          </p:cNvSpPr>
          <p:nvPr>
            <p:ph type="title" hasCustomPrompt="1"/>
          </p:nvPr>
        </p:nvSpPr>
        <p:spPr>
          <a:xfrm>
            <a:off x="334800" y="260268"/>
            <a:ext cx="9485137" cy="332399"/>
          </a:xfrm>
        </p:spPr>
        <p:txBody>
          <a:bodyPr vert="horz" wrap="square">
            <a:spAutoFit/>
          </a:bodyPr>
          <a:lstStyle>
            <a:lvl1pPr rtl="0">
              <a:defRPr>
                <a:latin typeface="+mj-lt"/>
                <a:cs typeface="Arial" panose="020B0604020202020204" pitchFamily="34" charset="0"/>
              </a:defRPr>
            </a:lvl1pPr>
          </a:lstStyle>
          <a:p>
            <a:r>
              <a:rPr lang="de-DE"/>
              <a:t>Click to edit Master title style</a:t>
            </a:r>
          </a:p>
        </p:txBody>
      </p:sp>
      <p:sp>
        <p:nvSpPr>
          <p:cNvPr id="21" name="Subtitle 2">
            <a:extLst>
              <a:ext uri="{FF2B5EF4-FFF2-40B4-BE49-F238E27FC236}">
                <a16:creationId xmlns:a16="http://schemas.microsoft.com/office/drawing/2014/main" id="{78EE7002-C39A-5A48-B25E-20539A4FFD23}"/>
              </a:ext>
            </a:extLst>
          </p:cNvPr>
          <p:cNvSpPr>
            <a:spLocks noGrp="1"/>
          </p:cNvSpPr>
          <p:nvPr>
            <p:ph type="subTitle" idx="14" hasCustomPrompt="1"/>
          </p:nvPr>
        </p:nvSpPr>
        <p:spPr>
          <a:xfrm>
            <a:off x="334963" y="610597"/>
            <a:ext cx="9504110" cy="332399"/>
          </a:xfrm>
          <a:prstGeom prst="rect">
            <a:avLst/>
          </a:prstGeom>
        </p:spPr>
        <p:txBody>
          <a:bodyPr anchor="t">
            <a:normAutofit/>
          </a:bodyPr>
          <a:lstStyle>
            <a:lvl1pPr marL="0" indent="0" algn="l" rtl="0">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Click to edit Master subtitle style</a:t>
            </a:r>
            <a:endParaRPr lang="de-DE" noProof="0"/>
          </a:p>
        </p:txBody>
      </p:sp>
      <p:sp>
        <p:nvSpPr>
          <p:cNvPr id="32" name="Slide Number Placeholder 5">
            <a:extLst>
              <a:ext uri="{FF2B5EF4-FFF2-40B4-BE49-F238E27FC236}">
                <a16:creationId xmlns:a16="http://schemas.microsoft.com/office/drawing/2014/main" id="{3A975D44-BBDE-415E-AD10-4B5D27EC1F20}"/>
              </a:ext>
            </a:extLst>
          </p:cNvPr>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34" name="Footer Placeholder 3">
            <a:extLst>
              <a:ext uri="{FF2B5EF4-FFF2-40B4-BE49-F238E27FC236}">
                <a16:creationId xmlns:a16="http://schemas.microsoft.com/office/drawing/2014/main" id="{D7853777-3467-41CD-B494-D2A35BD43D10}"/>
              </a:ext>
            </a:extLst>
          </p:cNvPr>
          <p:cNvSpPr>
            <a:spLocks noGrp="1"/>
          </p:cNvSpPr>
          <p:nvPr>
            <p:ph type="ftr" sz="quarter" idx="3"/>
          </p:nvPr>
        </p:nvSpPr>
        <p:spPr>
          <a:xfrm>
            <a:off x="2261053" y="6531715"/>
            <a:ext cx="8112000" cy="181960"/>
          </a:xfrm>
          <a:prstGeom prst="rect">
            <a:avLst/>
          </a:prstGeom>
        </p:spPr>
        <p:txBody>
          <a:bodyPr lIns="0" tIns="0" rIns="0" bIns="0"/>
          <a:lstStyle>
            <a:lvl1pPr algn="r" rtl="0">
              <a:defRPr sz="900">
                <a:solidFill>
                  <a:schemeClr val="accent1"/>
                </a:solidFill>
                <a:latin typeface="+mn-lt"/>
                <a:cs typeface="Arial" panose="020B0604020202020204" pitchFamily="34" charset="0"/>
              </a:defRPr>
            </a:lvl1pPr>
          </a:lstStyle>
          <a:p>
            <a:endParaRPr lang="de-DE"/>
          </a:p>
        </p:txBody>
      </p:sp>
    </p:spTree>
    <p:extLst>
      <p:ext uri="{BB962C8B-B14F-4D97-AF65-F5344CB8AC3E}">
        <p14:creationId xmlns:p14="http://schemas.microsoft.com/office/powerpoint/2010/main" val="42000604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ignatures_4people">
    <p:spTree>
      <p:nvGrpSpPr>
        <p:cNvPr id="1" name=""/>
        <p:cNvGrpSpPr/>
        <p:nvPr/>
      </p:nvGrpSpPr>
      <p:grpSpPr>
        <a:xfrm>
          <a:off x="0" y="0"/>
          <a:ext cx="0" cy="0"/>
          <a:chOff x="0" y="0"/>
          <a:chExt cx="0" cy="0"/>
        </a:xfrm>
      </p:grpSpPr>
      <p:sp>
        <p:nvSpPr>
          <p:cNvPr id="18" name="TextBox 1">
            <a:extLst>
              <a:ext uri="{FF2B5EF4-FFF2-40B4-BE49-F238E27FC236}">
                <a16:creationId xmlns:a16="http://schemas.microsoft.com/office/drawing/2014/main" id="{AEC905F7-007C-235A-76B9-321D911B4606}"/>
              </a:ext>
            </a:extLst>
          </p:cNvPr>
          <p:cNvSpPr txBox="1"/>
          <p:nvPr userDrawn="1"/>
        </p:nvSpPr>
        <p:spPr>
          <a:xfrm>
            <a:off x="293486" y="1073361"/>
            <a:ext cx="4167037" cy="402749"/>
          </a:xfrm>
          <a:prstGeom prst="rect">
            <a:avLst/>
          </a:prstGeom>
          <a:solidFill>
            <a:schemeClr val="accent1">
              <a:lumMod val="20000"/>
              <a:lumOff val="80000"/>
            </a:schemeClr>
          </a:solidFill>
        </p:spPr>
        <p:txBody>
          <a:bodyPr wrap="square" lIns="107987" tIns="107987" rIns="107987" bIns="107987" rtlCol="0">
            <a:spAutoFit/>
          </a:bodyPr>
          <a:lstStyle/>
          <a:p>
            <a:pPr algn="l"/>
            <a:endParaRPr lang="de-DE" sz="1200" b="1">
              <a:solidFill>
                <a:schemeClr val="accent1"/>
              </a:solidFill>
            </a:endParaRPr>
          </a:p>
        </p:txBody>
      </p:sp>
      <p:sp>
        <p:nvSpPr>
          <p:cNvPr id="19" name="TextBox 1">
            <a:extLst>
              <a:ext uri="{FF2B5EF4-FFF2-40B4-BE49-F238E27FC236}">
                <a16:creationId xmlns:a16="http://schemas.microsoft.com/office/drawing/2014/main" id="{3B245D84-05AB-E6DE-659E-4D46561138ED}"/>
              </a:ext>
            </a:extLst>
          </p:cNvPr>
          <p:cNvSpPr txBox="1"/>
          <p:nvPr userDrawn="1"/>
        </p:nvSpPr>
        <p:spPr>
          <a:xfrm>
            <a:off x="4622368" y="1073361"/>
            <a:ext cx="4140000" cy="402749"/>
          </a:xfrm>
          <a:prstGeom prst="rect">
            <a:avLst/>
          </a:prstGeom>
          <a:solidFill>
            <a:schemeClr val="accent2">
              <a:lumMod val="20000"/>
              <a:lumOff val="80000"/>
            </a:schemeClr>
          </a:solidFill>
        </p:spPr>
        <p:txBody>
          <a:bodyPr wrap="square" lIns="107987" tIns="107987" rIns="107987" bIns="107987" rtlCol="0">
            <a:spAutoFit/>
          </a:bodyPr>
          <a:lstStyle/>
          <a:p>
            <a:pPr algn="l"/>
            <a:endParaRPr lang="de-DE" sz="1200" b="0">
              <a:solidFill>
                <a:schemeClr val="accent1"/>
              </a:solidFill>
            </a:endParaRPr>
          </a:p>
        </p:txBody>
      </p:sp>
      <p:graphicFrame>
        <p:nvGraphicFramePr>
          <p:cNvPr id="5" name="Object 4" hidden="1">
            <a:extLst>
              <a:ext uri="{FF2B5EF4-FFF2-40B4-BE49-F238E27FC236}">
                <a16:creationId xmlns:a16="http://schemas.microsoft.com/office/drawing/2014/main" id="{963CF824-0541-B29E-8E4D-682D7B6A2E1A}"/>
              </a:ext>
            </a:extLst>
          </p:cNvPr>
          <p:cNvGraphicFramePr>
            <a:graphicFrameLocks noChangeAspect="1"/>
          </p:cNvGraphicFramePr>
          <p:nvPr userDrawn="1">
            <p:custDataLst>
              <p:tags r:id="rId1"/>
            </p:custDataLst>
            <p:extLst>
              <p:ext uri="{D42A27DB-BD31-4B8C-83A1-F6EECF244321}">
                <p14:modId xmlns:p14="http://schemas.microsoft.com/office/powerpoint/2010/main" val="300874512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963CF824-0541-B29E-8E4D-682D7B6A2E1A}"/>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0660FE9-7058-445A-A87D-587C9395E97C}"/>
              </a:ext>
            </a:extLst>
          </p:cNvPr>
          <p:cNvSpPr/>
          <p:nvPr userDrawn="1"/>
        </p:nvSpPr>
        <p:spPr>
          <a:xfrm>
            <a:off x="9085635" y="0"/>
            <a:ext cx="3106365"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algn="ctr"/>
            <a:endParaRPr lang="en-US" sz="1000">
              <a:latin typeface="+mn-lt"/>
              <a:cs typeface="Arial" panose="020B0604020202020204" pitchFamily="34" charset="0"/>
            </a:endParaRPr>
          </a:p>
        </p:txBody>
      </p:sp>
      <p:sp>
        <p:nvSpPr>
          <p:cNvPr id="35" name="TextBox 34">
            <a:extLst>
              <a:ext uri="{FF2B5EF4-FFF2-40B4-BE49-F238E27FC236}">
                <a16:creationId xmlns:a16="http://schemas.microsoft.com/office/drawing/2014/main" id="{20454A9A-E833-4775-8C2D-33EB42BCE6B5}"/>
              </a:ext>
            </a:extLst>
          </p:cNvPr>
          <p:cNvSpPr txBox="1"/>
          <p:nvPr userDrawn="1"/>
        </p:nvSpPr>
        <p:spPr>
          <a:xfrm>
            <a:off x="11158233" y="6548970"/>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9" name="ZRS Logo Horozontal">
            <a:extLst>
              <a:ext uri="{FF2B5EF4-FFF2-40B4-BE49-F238E27FC236}">
                <a16:creationId xmlns:a16="http://schemas.microsoft.com/office/drawing/2014/main" id="{C3961665-A7EF-AB66-D1CA-A82B5370E1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00530" y="190545"/>
            <a:ext cx="1338812" cy="444537"/>
          </a:xfrm>
          <a:prstGeom prst="rect">
            <a:avLst/>
          </a:prstGeom>
        </p:spPr>
      </p:pic>
      <p:pic>
        <p:nvPicPr>
          <p:cNvPr id="21" name="Picture 20" descr="A blue pencil on a paper&#10;&#10;Description automatically generated">
            <a:extLst>
              <a:ext uri="{FF2B5EF4-FFF2-40B4-BE49-F238E27FC236}">
                <a16:creationId xmlns:a16="http://schemas.microsoft.com/office/drawing/2014/main" id="{092C1C05-EF94-6730-123D-A0F8D5BF57D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815512" y="1208728"/>
            <a:ext cx="1778000" cy="1778000"/>
          </a:xfrm>
          <a:prstGeom prst="rect">
            <a:avLst/>
          </a:prstGeom>
        </p:spPr>
      </p:pic>
      <p:sp>
        <p:nvSpPr>
          <p:cNvPr id="23" name="TextBox 22">
            <a:extLst>
              <a:ext uri="{FF2B5EF4-FFF2-40B4-BE49-F238E27FC236}">
                <a16:creationId xmlns:a16="http://schemas.microsoft.com/office/drawing/2014/main" id="{39793E7F-29F8-9075-CF73-41E7DC3968DB}"/>
              </a:ext>
            </a:extLst>
          </p:cNvPr>
          <p:cNvSpPr txBox="1"/>
          <p:nvPr userDrawn="1"/>
        </p:nvSpPr>
        <p:spPr>
          <a:xfrm>
            <a:off x="167277" y="568728"/>
            <a:ext cx="7189967" cy="371971"/>
          </a:xfrm>
          <a:prstGeom prst="rect">
            <a:avLst/>
          </a:prstGeom>
          <a:noFill/>
        </p:spPr>
        <p:txBody>
          <a:bodyPr wrap="square" lIns="107987" tIns="107987" rIns="107987" bIns="107987" rtlCol="0">
            <a:spAutoFit/>
          </a:bodyPr>
          <a:lstStyle/>
          <a:p>
            <a:pPr algn="l"/>
            <a:r>
              <a:rPr lang="en-US" sz="1000">
                <a:solidFill>
                  <a:schemeClr val="accent1"/>
                </a:solidFill>
              </a:rPr>
              <a:t>This Agreement has been signed on the dates listed below by the duly authorized representatives of the Parties.</a:t>
            </a:r>
            <a:endParaRPr lang="de-DE" sz="1000">
              <a:solidFill>
                <a:schemeClr val="accent1"/>
              </a:solidFill>
            </a:endParaRPr>
          </a:p>
        </p:txBody>
      </p:sp>
      <p:sp>
        <p:nvSpPr>
          <p:cNvPr id="27" name="TextBox 26">
            <a:extLst>
              <a:ext uri="{FF2B5EF4-FFF2-40B4-BE49-F238E27FC236}">
                <a16:creationId xmlns:a16="http://schemas.microsoft.com/office/drawing/2014/main" id="{B9021133-D1D0-DB93-C8AB-DBD29F9341C7}"/>
              </a:ext>
            </a:extLst>
          </p:cNvPr>
          <p:cNvSpPr txBox="1"/>
          <p:nvPr userDrawn="1"/>
        </p:nvSpPr>
        <p:spPr>
          <a:xfrm>
            <a:off x="250829" y="1799489"/>
            <a:ext cx="1117601" cy="244755"/>
          </a:xfrm>
          <a:prstGeom prst="rect">
            <a:avLst/>
          </a:prstGeom>
          <a:noFill/>
        </p:spPr>
        <p:txBody>
          <a:bodyPr wrap="square" lIns="71991" tIns="53993" rIns="71991" bIns="35995" rtlCol="0">
            <a:spAutoFit/>
          </a:bodyPr>
          <a:lstStyle/>
          <a:p>
            <a:pPr algn="l"/>
            <a:r>
              <a:rPr lang="de-DE" sz="1000" b="0" i="1">
                <a:solidFill>
                  <a:schemeClr val="accent1"/>
                </a:solidFill>
                <a:latin typeface="Zurich Sans Light" panose="02000000000000000000" pitchFamily="2" charset="0"/>
              </a:rPr>
              <a:t>Name, Title</a:t>
            </a:r>
          </a:p>
        </p:txBody>
      </p:sp>
      <p:sp>
        <p:nvSpPr>
          <p:cNvPr id="28" name="TextBox 27">
            <a:extLst>
              <a:ext uri="{FF2B5EF4-FFF2-40B4-BE49-F238E27FC236}">
                <a16:creationId xmlns:a16="http://schemas.microsoft.com/office/drawing/2014/main" id="{D321601B-8BCD-855C-43BA-7D4E7C7BDC86}"/>
              </a:ext>
            </a:extLst>
          </p:cNvPr>
          <p:cNvSpPr txBox="1"/>
          <p:nvPr userDrawn="1"/>
        </p:nvSpPr>
        <p:spPr>
          <a:xfrm>
            <a:off x="275829" y="2406996"/>
            <a:ext cx="1117601" cy="244755"/>
          </a:xfrm>
          <a:prstGeom prst="rect">
            <a:avLst/>
          </a:prstGeom>
          <a:noFill/>
        </p:spPr>
        <p:txBody>
          <a:bodyPr wrap="square" lIns="71991" tIns="53993" rIns="71991" bIns="35995" rtlCol="0">
            <a:spAutoFit/>
          </a:bodyPr>
          <a:lstStyle/>
          <a:p>
            <a:pPr algn="l"/>
            <a:r>
              <a:rPr lang="de-DE" sz="1000" b="0" i="1">
                <a:solidFill>
                  <a:schemeClr val="accent1"/>
                </a:solidFill>
                <a:latin typeface="Zurich Sans Light" panose="02000000000000000000" pitchFamily="2" charset="0"/>
              </a:rPr>
              <a:t>Place, Date</a:t>
            </a:r>
          </a:p>
        </p:txBody>
      </p:sp>
      <p:cxnSp>
        <p:nvCxnSpPr>
          <p:cNvPr id="30" name="Straight Connector 29">
            <a:extLst>
              <a:ext uri="{FF2B5EF4-FFF2-40B4-BE49-F238E27FC236}">
                <a16:creationId xmlns:a16="http://schemas.microsoft.com/office/drawing/2014/main" id="{F5AA79EA-09FC-BAB5-ABDF-8A67B96F0BE1}"/>
              </a:ext>
            </a:extLst>
          </p:cNvPr>
          <p:cNvCxnSpPr>
            <a:cxnSpLocks/>
          </p:cNvCxnSpPr>
          <p:nvPr userDrawn="1"/>
        </p:nvCxnSpPr>
        <p:spPr>
          <a:xfrm>
            <a:off x="256301" y="2355419"/>
            <a:ext cx="414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B188C45-76BD-6270-2111-51D9E828A930}"/>
              </a:ext>
            </a:extLst>
          </p:cNvPr>
          <p:cNvCxnSpPr>
            <a:cxnSpLocks/>
          </p:cNvCxnSpPr>
          <p:nvPr userDrawn="1"/>
        </p:nvCxnSpPr>
        <p:spPr>
          <a:xfrm>
            <a:off x="284363" y="2939623"/>
            <a:ext cx="414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018C3A1-52B4-671C-AAC8-E8DFF892E98E}"/>
              </a:ext>
            </a:extLst>
          </p:cNvPr>
          <p:cNvCxnSpPr>
            <a:cxnSpLocks/>
          </p:cNvCxnSpPr>
          <p:nvPr userDrawn="1"/>
        </p:nvCxnSpPr>
        <p:spPr>
          <a:xfrm>
            <a:off x="4601600" y="2349767"/>
            <a:ext cx="414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6B15ED-D733-8923-BCDA-700932821D28}"/>
              </a:ext>
            </a:extLst>
          </p:cNvPr>
          <p:cNvCxnSpPr>
            <a:cxnSpLocks/>
          </p:cNvCxnSpPr>
          <p:nvPr userDrawn="1"/>
        </p:nvCxnSpPr>
        <p:spPr>
          <a:xfrm>
            <a:off x="4601600" y="2947512"/>
            <a:ext cx="414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3" name="Picture Placeholder 52">
            <a:extLst>
              <a:ext uri="{FF2B5EF4-FFF2-40B4-BE49-F238E27FC236}">
                <a16:creationId xmlns:a16="http://schemas.microsoft.com/office/drawing/2014/main" id="{3557792E-235E-DDAF-434C-4FBE893CA1A0}"/>
              </a:ext>
            </a:extLst>
          </p:cNvPr>
          <p:cNvSpPr>
            <a:spLocks noGrp="1"/>
          </p:cNvSpPr>
          <p:nvPr>
            <p:ph type="pic" sz="quarter" idx="36" hasCustomPrompt="1"/>
          </p:nvPr>
        </p:nvSpPr>
        <p:spPr>
          <a:xfrm>
            <a:off x="298335" y="3251593"/>
            <a:ext cx="4097967" cy="777044"/>
          </a:xfrm>
        </p:spPr>
        <p:txBody>
          <a:bodyPr anchor="t"/>
          <a:lstStyle>
            <a:lvl1pPr marL="0" indent="0" algn="ctr">
              <a:buNone/>
              <a:defRPr sz="1200"/>
            </a:lvl1pPr>
          </a:lstStyle>
          <a:p>
            <a:r>
              <a:rPr lang="en-ES"/>
              <a:t>Add Signature</a:t>
            </a:r>
          </a:p>
        </p:txBody>
      </p:sp>
      <p:sp>
        <p:nvSpPr>
          <p:cNvPr id="63" name="TextBox 62">
            <a:extLst>
              <a:ext uri="{FF2B5EF4-FFF2-40B4-BE49-F238E27FC236}">
                <a16:creationId xmlns:a16="http://schemas.microsoft.com/office/drawing/2014/main" id="{6AD74B49-4D77-C3FF-7269-C5C085742E99}"/>
              </a:ext>
            </a:extLst>
          </p:cNvPr>
          <p:cNvSpPr txBox="1"/>
          <p:nvPr userDrawn="1"/>
        </p:nvSpPr>
        <p:spPr>
          <a:xfrm>
            <a:off x="298337" y="2982975"/>
            <a:ext cx="1117601" cy="244755"/>
          </a:xfrm>
          <a:prstGeom prst="rect">
            <a:avLst/>
          </a:prstGeom>
          <a:noFill/>
        </p:spPr>
        <p:txBody>
          <a:bodyPr wrap="square" lIns="71991" tIns="53993" rIns="71991" bIns="35995" rtlCol="0">
            <a:spAutoFit/>
          </a:bodyPr>
          <a:lstStyle/>
          <a:p>
            <a:pPr algn="l"/>
            <a:r>
              <a:rPr lang="de-DE" sz="1000" b="0" i="1" err="1">
                <a:solidFill>
                  <a:schemeClr val="accent1"/>
                </a:solidFill>
                <a:latin typeface="Zurich Sans Light" panose="02000000000000000000" pitchFamily="2" charset="0"/>
              </a:rPr>
              <a:t>Signature</a:t>
            </a:r>
            <a:endParaRPr lang="de-DE" sz="1000" b="0" i="1">
              <a:solidFill>
                <a:schemeClr val="accent1"/>
              </a:solidFill>
              <a:latin typeface="Zurich Sans Light" panose="02000000000000000000" pitchFamily="2" charset="0"/>
            </a:endParaRPr>
          </a:p>
        </p:txBody>
      </p:sp>
      <p:sp>
        <p:nvSpPr>
          <p:cNvPr id="64" name="TextBox 63">
            <a:extLst>
              <a:ext uri="{FF2B5EF4-FFF2-40B4-BE49-F238E27FC236}">
                <a16:creationId xmlns:a16="http://schemas.microsoft.com/office/drawing/2014/main" id="{FAC9A9E9-0830-F65D-8942-E2DE7B8D93DB}"/>
              </a:ext>
            </a:extLst>
          </p:cNvPr>
          <p:cNvSpPr txBox="1"/>
          <p:nvPr userDrawn="1"/>
        </p:nvSpPr>
        <p:spPr>
          <a:xfrm>
            <a:off x="4599514" y="1788104"/>
            <a:ext cx="1117601" cy="244755"/>
          </a:xfrm>
          <a:prstGeom prst="rect">
            <a:avLst/>
          </a:prstGeom>
          <a:noFill/>
        </p:spPr>
        <p:txBody>
          <a:bodyPr wrap="square" lIns="71991" tIns="53993" rIns="71991" bIns="35995" rtlCol="0">
            <a:spAutoFit/>
          </a:bodyPr>
          <a:lstStyle/>
          <a:p>
            <a:pPr algn="l"/>
            <a:r>
              <a:rPr lang="de-DE" sz="1000" b="0" i="1">
                <a:solidFill>
                  <a:schemeClr val="accent1"/>
                </a:solidFill>
                <a:latin typeface="Zurich Sans Light" panose="02000000000000000000" pitchFamily="2" charset="0"/>
              </a:rPr>
              <a:t>Name, Title</a:t>
            </a:r>
          </a:p>
        </p:txBody>
      </p:sp>
      <p:sp>
        <p:nvSpPr>
          <p:cNvPr id="65" name="TextBox 64">
            <a:extLst>
              <a:ext uri="{FF2B5EF4-FFF2-40B4-BE49-F238E27FC236}">
                <a16:creationId xmlns:a16="http://schemas.microsoft.com/office/drawing/2014/main" id="{9A37420D-0A26-33AE-E0E7-DA237F8052A3}"/>
              </a:ext>
            </a:extLst>
          </p:cNvPr>
          <p:cNvSpPr txBox="1"/>
          <p:nvPr userDrawn="1"/>
        </p:nvSpPr>
        <p:spPr>
          <a:xfrm>
            <a:off x="4624513" y="2387184"/>
            <a:ext cx="1117601" cy="244755"/>
          </a:xfrm>
          <a:prstGeom prst="rect">
            <a:avLst/>
          </a:prstGeom>
          <a:noFill/>
        </p:spPr>
        <p:txBody>
          <a:bodyPr wrap="square" lIns="71991" tIns="53993" rIns="71991" bIns="35995" rtlCol="0">
            <a:spAutoFit/>
          </a:bodyPr>
          <a:lstStyle/>
          <a:p>
            <a:pPr algn="l"/>
            <a:r>
              <a:rPr lang="de-DE" sz="1000" b="0" i="1">
                <a:solidFill>
                  <a:schemeClr val="accent1"/>
                </a:solidFill>
                <a:latin typeface="Zurich Sans Light" panose="02000000000000000000" pitchFamily="2" charset="0"/>
              </a:rPr>
              <a:t>Place, Date</a:t>
            </a:r>
          </a:p>
        </p:txBody>
      </p:sp>
      <p:sp>
        <p:nvSpPr>
          <p:cNvPr id="67" name="Picture Placeholder 52">
            <a:extLst>
              <a:ext uri="{FF2B5EF4-FFF2-40B4-BE49-F238E27FC236}">
                <a16:creationId xmlns:a16="http://schemas.microsoft.com/office/drawing/2014/main" id="{C14F81CD-7C41-6EAE-F2A2-153A9839E593}"/>
              </a:ext>
            </a:extLst>
          </p:cNvPr>
          <p:cNvSpPr>
            <a:spLocks noGrp="1"/>
          </p:cNvSpPr>
          <p:nvPr>
            <p:ph type="pic" sz="quarter" idx="37" hasCustomPrompt="1"/>
          </p:nvPr>
        </p:nvSpPr>
        <p:spPr>
          <a:xfrm>
            <a:off x="4584832" y="3260747"/>
            <a:ext cx="4147307" cy="764016"/>
          </a:xfrm>
        </p:spPr>
        <p:txBody>
          <a:bodyPr/>
          <a:lstStyle>
            <a:lvl1pPr marL="0" indent="0" algn="ctr">
              <a:buNone/>
              <a:defRPr sz="1200"/>
            </a:lvl1pPr>
          </a:lstStyle>
          <a:p>
            <a:r>
              <a:rPr lang="en-ES"/>
              <a:t>Add Signature</a:t>
            </a:r>
          </a:p>
        </p:txBody>
      </p:sp>
      <p:sp>
        <p:nvSpPr>
          <p:cNvPr id="29" name="Text Placeholder 28">
            <a:extLst>
              <a:ext uri="{FF2B5EF4-FFF2-40B4-BE49-F238E27FC236}">
                <a16:creationId xmlns:a16="http://schemas.microsoft.com/office/drawing/2014/main" id="{567D618D-FB04-7CA1-0BBE-FD6C6EA026E3}"/>
              </a:ext>
            </a:extLst>
          </p:cNvPr>
          <p:cNvSpPr>
            <a:spLocks noGrp="1"/>
          </p:cNvSpPr>
          <p:nvPr>
            <p:ph type="body" sz="quarter" idx="38" hasCustomPrompt="1"/>
          </p:nvPr>
        </p:nvSpPr>
        <p:spPr>
          <a:xfrm>
            <a:off x="298336" y="2620239"/>
            <a:ext cx="4144963" cy="316687"/>
          </a:xfrm>
        </p:spPr>
        <p:txBody>
          <a:bodyPr lIns="72000" tIns="72000" rIns="72000" bIns="72000"/>
          <a:lstStyle>
            <a:lvl1pPr marL="0" indent="0">
              <a:buNone/>
              <a:defRPr sz="1200"/>
            </a:lvl1pPr>
            <a:lvl4pPr marL="50793" indent="0">
              <a:buNone/>
              <a:tabLst/>
              <a:defRPr/>
            </a:lvl4pPr>
            <a:lvl5pPr marL="898390" indent="0">
              <a:buNone/>
              <a:defRPr/>
            </a:lvl5pPr>
          </a:lstStyle>
          <a:p>
            <a:pPr algn="l"/>
            <a:r>
              <a:rPr lang="de-DE" sz="1200" b="0" err="1">
                <a:solidFill>
                  <a:schemeClr val="accent1"/>
                </a:solidFill>
                <a:latin typeface="+mn-lt"/>
              </a:rPr>
              <a:t>Zurich</a:t>
            </a:r>
            <a:r>
              <a:rPr lang="de-DE" sz="1200" b="0">
                <a:solidFill>
                  <a:schemeClr val="accent1"/>
                </a:solidFill>
                <a:latin typeface="+mn-lt"/>
              </a:rPr>
              <a:t>, </a:t>
            </a:r>
            <a:r>
              <a:rPr lang="de-DE" sz="1200" b="0" err="1">
                <a:solidFill>
                  <a:schemeClr val="accent1"/>
                </a:solidFill>
                <a:latin typeface="+mn-lt"/>
              </a:rPr>
              <a:t>January</a:t>
            </a:r>
            <a:r>
              <a:rPr lang="de-DE" sz="1200" b="0">
                <a:solidFill>
                  <a:schemeClr val="accent1"/>
                </a:solidFill>
                <a:latin typeface="+mn-lt"/>
              </a:rPr>
              <a:t> 22,  2024</a:t>
            </a:r>
          </a:p>
        </p:txBody>
      </p:sp>
      <p:sp>
        <p:nvSpPr>
          <p:cNvPr id="33" name="Text Placeholder 28">
            <a:extLst>
              <a:ext uri="{FF2B5EF4-FFF2-40B4-BE49-F238E27FC236}">
                <a16:creationId xmlns:a16="http://schemas.microsoft.com/office/drawing/2014/main" id="{86274710-CD4C-70EA-A7A4-835587139757}"/>
              </a:ext>
            </a:extLst>
          </p:cNvPr>
          <p:cNvSpPr>
            <a:spLocks noGrp="1"/>
          </p:cNvSpPr>
          <p:nvPr>
            <p:ph type="body" sz="quarter" idx="39" hasCustomPrompt="1"/>
          </p:nvPr>
        </p:nvSpPr>
        <p:spPr>
          <a:xfrm>
            <a:off x="4599513" y="2616887"/>
            <a:ext cx="4144963" cy="324635"/>
          </a:xfrm>
        </p:spPr>
        <p:txBody>
          <a:bodyPr lIns="72000" tIns="72000" rIns="72000" bIns="72000"/>
          <a:lstStyle>
            <a:lvl1pPr marL="0" indent="0">
              <a:buNone/>
              <a:defRPr sz="1200"/>
            </a:lvl1pPr>
            <a:lvl4pPr marL="50793" indent="0">
              <a:buNone/>
              <a:tabLst/>
              <a:defRPr/>
            </a:lvl4pPr>
            <a:lvl5pPr marL="898390" indent="0">
              <a:buNone/>
              <a:defRPr/>
            </a:lvl5pPr>
          </a:lstStyle>
          <a:p>
            <a:pPr algn="l"/>
            <a:r>
              <a:rPr lang="de-DE" sz="1200" b="0" err="1">
                <a:solidFill>
                  <a:schemeClr val="accent1"/>
                </a:solidFill>
                <a:latin typeface="+mn-lt"/>
              </a:rPr>
              <a:t>Zurich</a:t>
            </a:r>
            <a:r>
              <a:rPr lang="de-DE" sz="1200" b="0">
                <a:solidFill>
                  <a:schemeClr val="accent1"/>
                </a:solidFill>
                <a:latin typeface="+mn-lt"/>
              </a:rPr>
              <a:t>, </a:t>
            </a:r>
            <a:r>
              <a:rPr lang="de-DE" sz="1200" b="0" err="1">
                <a:solidFill>
                  <a:schemeClr val="accent1"/>
                </a:solidFill>
                <a:latin typeface="+mn-lt"/>
              </a:rPr>
              <a:t>January</a:t>
            </a:r>
            <a:r>
              <a:rPr lang="de-DE" sz="1200" b="0">
                <a:solidFill>
                  <a:schemeClr val="accent1"/>
                </a:solidFill>
                <a:latin typeface="+mn-lt"/>
              </a:rPr>
              <a:t> 22,  2024</a:t>
            </a:r>
          </a:p>
        </p:txBody>
      </p:sp>
      <p:sp>
        <p:nvSpPr>
          <p:cNvPr id="38" name="Text Placeholder 28">
            <a:extLst>
              <a:ext uri="{FF2B5EF4-FFF2-40B4-BE49-F238E27FC236}">
                <a16:creationId xmlns:a16="http://schemas.microsoft.com/office/drawing/2014/main" id="{64509B9B-B1B9-43E2-68EE-A324E03BE479}"/>
              </a:ext>
            </a:extLst>
          </p:cNvPr>
          <p:cNvSpPr>
            <a:spLocks noGrp="1"/>
          </p:cNvSpPr>
          <p:nvPr>
            <p:ph type="body" sz="quarter" idx="40" hasCustomPrompt="1"/>
          </p:nvPr>
        </p:nvSpPr>
        <p:spPr>
          <a:xfrm>
            <a:off x="271507" y="2040345"/>
            <a:ext cx="4144963" cy="311059"/>
          </a:xfrm>
        </p:spPr>
        <p:txBody>
          <a:bodyPr lIns="72000" tIns="72000" rIns="72000" bIns="36000"/>
          <a:lstStyle>
            <a:lvl1pPr marL="0" indent="0">
              <a:buNone/>
              <a:defRPr sz="1200"/>
            </a:lvl1pPr>
            <a:lvl4pPr marL="50793" indent="0">
              <a:buNone/>
              <a:tabLst/>
              <a:defRPr/>
            </a:lvl4pPr>
            <a:lvl5pPr marL="898390" indent="0">
              <a:buNone/>
              <a:defRPr/>
            </a:lvl5pPr>
          </a:lstStyle>
          <a:p>
            <a:pPr algn="l"/>
            <a:r>
              <a:rPr lang="de-DE" sz="1200" b="0">
                <a:solidFill>
                  <a:schemeClr val="accent1"/>
                </a:solidFill>
                <a:latin typeface="+mn-lt"/>
              </a:rPr>
              <a:t>John Sample, Project Manager</a:t>
            </a:r>
          </a:p>
        </p:txBody>
      </p:sp>
      <p:sp>
        <p:nvSpPr>
          <p:cNvPr id="40" name="Text Placeholder 28">
            <a:extLst>
              <a:ext uri="{FF2B5EF4-FFF2-40B4-BE49-F238E27FC236}">
                <a16:creationId xmlns:a16="http://schemas.microsoft.com/office/drawing/2014/main" id="{8CF181DD-9712-F721-AD3E-29BB9AEBCA67}"/>
              </a:ext>
            </a:extLst>
          </p:cNvPr>
          <p:cNvSpPr>
            <a:spLocks noGrp="1"/>
          </p:cNvSpPr>
          <p:nvPr>
            <p:ph type="body" sz="quarter" idx="41" hasCustomPrompt="1"/>
          </p:nvPr>
        </p:nvSpPr>
        <p:spPr>
          <a:xfrm>
            <a:off x="4624513" y="2030157"/>
            <a:ext cx="4144963" cy="317160"/>
          </a:xfrm>
        </p:spPr>
        <p:txBody>
          <a:bodyPr lIns="72000" tIns="72000" rIns="72000" bIns="36000"/>
          <a:lstStyle>
            <a:lvl1pPr marL="0" indent="0">
              <a:buNone/>
              <a:defRPr sz="1200"/>
            </a:lvl1pPr>
            <a:lvl4pPr marL="50793" indent="0">
              <a:buNone/>
              <a:tabLst/>
              <a:defRPr/>
            </a:lvl4pPr>
            <a:lvl5pPr marL="898390" indent="0">
              <a:buNone/>
              <a:defRPr/>
            </a:lvl5pPr>
          </a:lstStyle>
          <a:p>
            <a:pPr algn="l"/>
            <a:r>
              <a:rPr lang="de-DE" sz="1200" b="0">
                <a:solidFill>
                  <a:schemeClr val="accent1"/>
                </a:solidFill>
                <a:latin typeface="+mn-lt"/>
              </a:rPr>
              <a:t>John Sample, Project Manager</a:t>
            </a:r>
          </a:p>
        </p:txBody>
      </p:sp>
      <p:sp>
        <p:nvSpPr>
          <p:cNvPr id="46" name="TextBox 45">
            <a:extLst>
              <a:ext uri="{FF2B5EF4-FFF2-40B4-BE49-F238E27FC236}">
                <a16:creationId xmlns:a16="http://schemas.microsoft.com/office/drawing/2014/main" id="{64BE1BDD-7F50-3D19-E475-DF6A45646326}"/>
              </a:ext>
            </a:extLst>
          </p:cNvPr>
          <p:cNvSpPr txBox="1"/>
          <p:nvPr userDrawn="1"/>
        </p:nvSpPr>
        <p:spPr>
          <a:xfrm>
            <a:off x="4575373" y="2982975"/>
            <a:ext cx="1117601" cy="244755"/>
          </a:xfrm>
          <a:prstGeom prst="rect">
            <a:avLst/>
          </a:prstGeom>
          <a:noFill/>
        </p:spPr>
        <p:txBody>
          <a:bodyPr wrap="square" lIns="71991" tIns="53993" rIns="71991" bIns="35995" rtlCol="0">
            <a:spAutoFit/>
          </a:bodyPr>
          <a:lstStyle/>
          <a:p>
            <a:pPr algn="l"/>
            <a:r>
              <a:rPr lang="de-DE" sz="1000" b="0" i="1" err="1">
                <a:solidFill>
                  <a:schemeClr val="accent1"/>
                </a:solidFill>
                <a:latin typeface="Zurich Sans Light" panose="02000000000000000000" pitchFamily="2" charset="0"/>
              </a:rPr>
              <a:t>Signature</a:t>
            </a:r>
            <a:endParaRPr lang="de-DE" sz="1000" b="0" i="1">
              <a:solidFill>
                <a:schemeClr val="accent1"/>
              </a:solidFill>
              <a:latin typeface="Zurich Sans Light" panose="02000000000000000000" pitchFamily="2" charset="0"/>
            </a:endParaRPr>
          </a:p>
        </p:txBody>
      </p:sp>
      <p:sp>
        <p:nvSpPr>
          <p:cNvPr id="169" name="TextBox 168">
            <a:extLst>
              <a:ext uri="{FF2B5EF4-FFF2-40B4-BE49-F238E27FC236}">
                <a16:creationId xmlns:a16="http://schemas.microsoft.com/office/drawing/2014/main" id="{17917F1D-5490-6FCC-2DC9-5101071A8E56}"/>
              </a:ext>
            </a:extLst>
          </p:cNvPr>
          <p:cNvSpPr txBox="1"/>
          <p:nvPr userDrawn="1"/>
        </p:nvSpPr>
        <p:spPr>
          <a:xfrm>
            <a:off x="297826" y="4143005"/>
            <a:ext cx="1117601" cy="244755"/>
          </a:xfrm>
          <a:prstGeom prst="rect">
            <a:avLst/>
          </a:prstGeom>
          <a:noFill/>
        </p:spPr>
        <p:txBody>
          <a:bodyPr wrap="square" lIns="71991" tIns="53993" rIns="71991" bIns="35995" rtlCol="0">
            <a:spAutoFit/>
          </a:bodyPr>
          <a:lstStyle/>
          <a:p>
            <a:pPr algn="l"/>
            <a:r>
              <a:rPr lang="de-DE" sz="1000" b="0" i="1">
                <a:solidFill>
                  <a:schemeClr val="accent1"/>
                </a:solidFill>
                <a:latin typeface="Zurich Sans Light" panose="02000000000000000000" pitchFamily="2" charset="0"/>
              </a:rPr>
              <a:t>Name, Title</a:t>
            </a:r>
          </a:p>
        </p:txBody>
      </p:sp>
      <p:sp>
        <p:nvSpPr>
          <p:cNvPr id="170" name="TextBox 169">
            <a:extLst>
              <a:ext uri="{FF2B5EF4-FFF2-40B4-BE49-F238E27FC236}">
                <a16:creationId xmlns:a16="http://schemas.microsoft.com/office/drawing/2014/main" id="{B23D1C78-7EE7-E7C5-D637-7FE14F6DC991}"/>
              </a:ext>
            </a:extLst>
          </p:cNvPr>
          <p:cNvSpPr txBox="1"/>
          <p:nvPr userDrawn="1"/>
        </p:nvSpPr>
        <p:spPr>
          <a:xfrm>
            <a:off x="322825" y="4750511"/>
            <a:ext cx="1117601" cy="244755"/>
          </a:xfrm>
          <a:prstGeom prst="rect">
            <a:avLst/>
          </a:prstGeom>
          <a:noFill/>
        </p:spPr>
        <p:txBody>
          <a:bodyPr wrap="square" lIns="71991" tIns="53993" rIns="71991" bIns="35995" rtlCol="0">
            <a:spAutoFit/>
          </a:bodyPr>
          <a:lstStyle/>
          <a:p>
            <a:pPr algn="l"/>
            <a:r>
              <a:rPr lang="de-DE" sz="1000" b="0" i="1">
                <a:solidFill>
                  <a:schemeClr val="accent1"/>
                </a:solidFill>
                <a:latin typeface="Zurich Sans Light" panose="02000000000000000000" pitchFamily="2" charset="0"/>
              </a:rPr>
              <a:t>Place, Date</a:t>
            </a:r>
          </a:p>
        </p:txBody>
      </p:sp>
      <p:cxnSp>
        <p:nvCxnSpPr>
          <p:cNvPr id="171" name="Straight Connector 170">
            <a:extLst>
              <a:ext uri="{FF2B5EF4-FFF2-40B4-BE49-F238E27FC236}">
                <a16:creationId xmlns:a16="http://schemas.microsoft.com/office/drawing/2014/main" id="{B040EF71-A486-2A52-7DD5-64DF129E343F}"/>
              </a:ext>
            </a:extLst>
          </p:cNvPr>
          <p:cNvCxnSpPr>
            <a:cxnSpLocks/>
          </p:cNvCxnSpPr>
          <p:nvPr userDrawn="1"/>
        </p:nvCxnSpPr>
        <p:spPr>
          <a:xfrm>
            <a:off x="303299" y="4698935"/>
            <a:ext cx="414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06024ECD-31D1-D368-3F6C-A67A8BA93C52}"/>
              </a:ext>
            </a:extLst>
          </p:cNvPr>
          <p:cNvCxnSpPr>
            <a:cxnSpLocks/>
          </p:cNvCxnSpPr>
          <p:nvPr userDrawn="1"/>
        </p:nvCxnSpPr>
        <p:spPr>
          <a:xfrm>
            <a:off x="331360" y="5283139"/>
            <a:ext cx="414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2731F95D-BF4B-4E56-D252-B39D9A17C608}"/>
              </a:ext>
            </a:extLst>
          </p:cNvPr>
          <p:cNvCxnSpPr>
            <a:cxnSpLocks/>
          </p:cNvCxnSpPr>
          <p:nvPr userDrawn="1"/>
        </p:nvCxnSpPr>
        <p:spPr>
          <a:xfrm>
            <a:off x="4648599" y="4693281"/>
            <a:ext cx="414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EF98D515-A217-9E6D-57F4-12A87773B86A}"/>
              </a:ext>
            </a:extLst>
          </p:cNvPr>
          <p:cNvCxnSpPr>
            <a:cxnSpLocks/>
          </p:cNvCxnSpPr>
          <p:nvPr userDrawn="1"/>
        </p:nvCxnSpPr>
        <p:spPr>
          <a:xfrm>
            <a:off x="4648599" y="5291027"/>
            <a:ext cx="414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77" name="Picture Placeholder 52">
            <a:extLst>
              <a:ext uri="{FF2B5EF4-FFF2-40B4-BE49-F238E27FC236}">
                <a16:creationId xmlns:a16="http://schemas.microsoft.com/office/drawing/2014/main" id="{761A6269-B36D-FED7-CD18-E225A488F41D}"/>
              </a:ext>
            </a:extLst>
          </p:cNvPr>
          <p:cNvSpPr>
            <a:spLocks noGrp="1"/>
          </p:cNvSpPr>
          <p:nvPr>
            <p:ph type="pic" sz="quarter" idx="42" hasCustomPrompt="1"/>
          </p:nvPr>
        </p:nvSpPr>
        <p:spPr>
          <a:xfrm>
            <a:off x="345333" y="5595107"/>
            <a:ext cx="4097967" cy="777044"/>
          </a:xfrm>
        </p:spPr>
        <p:txBody>
          <a:bodyPr anchor="t"/>
          <a:lstStyle>
            <a:lvl1pPr marL="0" indent="0" algn="ctr">
              <a:buNone/>
              <a:defRPr sz="1200"/>
            </a:lvl1pPr>
          </a:lstStyle>
          <a:p>
            <a:r>
              <a:rPr lang="en-ES"/>
              <a:t>Add Signature</a:t>
            </a:r>
          </a:p>
        </p:txBody>
      </p:sp>
      <p:sp>
        <p:nvSpPr>
          <p:cNvPr id="178" name="TextBox 177">
            <a:extLst>
              <a:ext uri="{FF2B5EF4-FFF2-40B4-BE49-F238E27FC236}">
                <a16:creationId xmlns:a16="http://schemas.microsoft.com/office/drawing/2014/main" id="{20326676-08D8-2244-A267-BADD52F58F30}"/>
              </a:ext>
            </a:extLst>
          </p:cNvPr>
          <p:cNvSpPr txBox="1"/>
          <p:nvPr userDrawn="1"/>
        </p:nvSpPr>
        <p:spPr>
          <a:xfrm>
            <a:off x="345334" y="5326489"/>
            <a:ext cx="1117601" cy="244755"/>
          </a:xfrm>
          <a:prstGeom prst="rect">
            <a:avLst/>
          </a:prstGeom>
          <a:noFill/>
        </p:spPr>
        <p:txBody>
          <a:bodyPr wrap="square" lIns="71991" tIns="53993" rIns="71991" bIns="35995" rtlCol="0">
            <a:spAutoFit/>
          </a:bodyPr>
          <a:lstStyle/>
          <a:p>
            <a:pPr algn="l"/>
            <a:r>
              <a:rPr lang="de-DE" sz="1000" b="0" i="1" err="1">
                <a:solidFill>
                  <a:schemeClr val="accent1"/>
                </a:solidFill>
                <a:latin typeface="Zurich Sans Light" panose="02000000000000000000" pitchFamily="2" charset="0"/>
              </a:rPr>
              <a:t>Signature</a:t>
            </a:r>
            <a:endParaRPr lang="de-DE" sz="1000" b="0" i="1">
              <a:solidFill>
                <a:schemeClr val="accent1"/>
              </a:solidFill>
              <a:latin typeface="Zurich Sans Light" panose="02000000000000000000" pitchFamily="2" charset="0"/>
            </a:endParaRPr>
          </a:p>
        </p:txBody>
      </p:sp>
      <p:sp>
        <p:nvSpPr>
          <p:cNvPr id="179" name="TextBox 178">
            <a:extLst>
              <a:ext uri="{FF2B5EF4-FFF2-40B4-BE49-F238E27FC236}">
                <a16:creationId xmlns:a16="http://schemas.microsoft.com/office/drawing/2014/main" id="{71152292-3700-7B1D-0B98-6635D8FD313A}"/>
              </a:ext>
            </a:extLst>
          </p:cNvPr>
          <p:cNvSpPr txBox="1"/>
          <p:nvPr userDrawn="1"/>
        </p:nvSpPr>
        <p:spPr>
          <a:xfrm>
            <a:off x="4646512" y="4131619"/>
            <a:ext cx="1117601" cy="244755"/>
          </a:xfrm>
          <a:prstGeom prst="rect">
            <a:avLst/>
          </a:prstGeom>
          <a:noFill/>
        </p:spPr>
        <p:txBody>
          <a:bodyPr wrap="square" lIns="71991" tIns="53993" rIns="71991" bIns="35995" rtlCol="0">
            <a:spAutoFit/>
          </a:bodyPr>
          <a:lstStyle/>
          <a:p>
            <a:pPr algn="l"/>
            <a:r>
              <a:rPr lang="de-DE" sz="1000" b="0" i="1">
                <a:solidFill>
                  <a:schemeClr val="accent1"/>
                </a:solidFill>
                <a:latin typeface="Zurich Sans Light" panose="02000000000000000000" pitchFamily="2" charset="0"/>
              </a:rPr>
              <a:t>Name, Title</a:t>
            </a:r>
          </a:p>
        </p:txBody>
      </p:sp>
      <p:sp>
        <p:nvSpPr>
          <p:cNvPr id="180" name="TextBox 179">
            <a:extLst>
              <a:ext uri="{FF2B5EF4-FFF2-40B4-BE49-F238E27FC236}">
                <a16:creationId xmlns:a16="http://schemas.microsoft.com/office/drawing/2014/main" id="{EFDDEF58-3282-538B-B88C-36E90380D54D}"/>
              </a:ext>
            </a:extLst>
          </p:cNvPr>
          <p:cNvSpPr txBox="1"/>
          <p:nvPr userDrawn="1"/>
        </p:nvSpPr>
        <p:spPr>
          <a:xfrm>
            <a:off x="4671510" y="4730699"/>
            <a:ext cx="1117601" cy="244755"/>
          </a:xfrm>
          <a:prstGeom prst="rect">
            <a:avLst/>
          </a:prstGeom>
          <a:noFill/>
        </p:spPr>
        <p:txBody>
          <a:bodyPr wrap="square" lIns="71991" tIns="53993" rIns="71991" bIns="35995" rtlCol="0">
            <a:spAutoFit/>
          </a:bodyPr>
          <a:lstStyle/>
          <a:p>
            <a:pPr algn="l"/>
            <a:r>
              <a:rPr lang="de-DE" sz="1000" b="0" i="1">
                <a:solidFill>
                  <a:schemeClr val="accent1"/>
                </a:solidFill>
                <a:latin typeface="Zurich Sans Light" panose="02000000000000000000" pitchFamily="2" charset="0"/>
              </a:rPr>
              <a:t>Place, Date</a:t>
            </a:r>
          </a:p>
        </p:txBody>
      </p:sp>
      <p:sp>
        <p:nvSpPr>
          <p:cNvPr id="181" name="Picture Placeholder 52">
            <a:extLst>
              <a:ext uri="{FF2B5EF4-FFF2-40B4-BE49-F238E27FC236}">
                <a16:creationId xmlns:a16="http://schemas.microsoft.com/office/drawing/2014/main" id="{248C41FC-1FF3-EE26-3D0F-D792A6F3212E}"/>
              </a:ext>
            </a:extLst>
          </p:cNvPr>
          <p:cNvSpPr>
            <a:spLocks noGrp="1"/>
          </p:cNvSpPr>
          <p:nvPr>
            <p:ph type="pic" sz="quarter" idx="43" hasCustomPrompt="1"/>
          </p:nvPr>
        </p:nvSpPr>
        <p:spPr>
          <a:xfrm>
            <a:off x="4631829" y="5604261"/>
            <a:ext cx="4147307" cy="764016"/>
          </a:xfrm>
        </p:spPr>
        <p:txBody>
          <a:bodyPr/>
          <a:lstStyle>
            <a:lvl1pPr marL="0" indent="0" algn="ctr">
              <a:buNone/>
              <a:defRPr sz="1200"/>
            </a:lvl1pPr>
          </a:lstStyle>
          <a:p>
            <a:r>
              <a:rPr lang="en-ES"/>
              <a:t>Add Signature</a:t>
            </a:r>
          </a:p>
        </p:txBody>
      </p:sp>
      <p:sp>
        <p:nvSpPr>
          <p:cNvPr id="182" name="Text Placeholder 28">
            <a:extLst>
              <a:ext uri="{FF2B5EF4-FFF2-40B4-BE49-F238E27FC236}">
                <a16:creationId xmlns:a16="http://schemas.microsoft.com/office/drawing/2014/main" id="{AB8A881C-FA3E-97CC-249C-DD7B78E05F37}"/>
              </a:ext>
            </a:extLst>
          </p:cNvPr>
          <p:cNvSpPr>
            <a:spLocks noGrp="1"/>
          </p:cNvSpPr>
          <p:nvPr>
            <p:ph type="body" sz="quarter" idx="44" hasCustomPrompt="1"/>
          </p:nvPr>
        </p:nvSpPr>
        <p:spPr>
          <a:xfrm>
            <a:off x="345333" y="4963754"/>
            <a:ext cx="4144963" cy="316687"/>
          </a:xfrm>
        </p:spPr>
        <p:txBody>
          <a:bodyPr lIns="72000" tIns="72000" rIns="72000" bIns="72000"/>
          <a:lstStyle>
            <a:lvl1pPr marL="0" indent="0">
              <a:buNone/>
              <a:defRPr sz="1200"/>
            </a:lvl1pPr>
            <a:lvl4pPr marL="50793" indent="0">
              <a:buNone/>
              <a:tabLst/>
              <a:defRPr/>
            </a:lvl4pPr>
            <a:lvl5pPr marL="898390" indent="0">
              <a:buNone/>
              <a:defRPr/>
            </a:lvl5pPr>
          </a:lstStyle>
          <a:p>
            <a:pPr algn="l"/>
            <a:r>
              <a:rPr lang="de-DE" sz="1200" b="0" err="1">
                <a:solidFill>
                  <a:schemeClr val="accent1"/>
                </a:solidFill>
                <a:latin typeface="+mn-lt"/>
              </a:rPr>
              <a:t>Zurich</a:t>
            </a:r>
            <a:r>
              <a:rPr lang="de-DE" sz="1200" b="0">
                <a:solidFill>
                  <a:schemeClr val="accent1"/>
                </a:solidFill>
                <a:latin typeface="+mn-lt"/>
              </a:rPr>
              <a:t>, </a:t>
            </a:r>
            <a:r>
              <a:rPr lang="de-DE" sz="1200" b="0" err="1">
                <a:solidFill>
                  <a:schemeClr val="accent1"/>
                </a:solidFill>
                <a:latin typeface="+mn-lt"/>
              </a:rPr>
              <a:t>January</a:t>
            </a:r>
            <a:r>
              <a:rPr lang="de-DE" sz="1200" b="0">
                <a:solidFill>
                  <a:schemeClr val="accent1"/>
                </a:solidFill>
                <a:latin typeface="+mn-lt"/>
              </a:rPr>
              <a:t> 22,  2024</a:t>
            </a:r>
          </a:p>
        </p:txBody>
      </p:sp>
      <p:sp>
        <p:nvSpPr>
          <p:cNvPr id="183" name="Text Placeholder 28">
            <a:extLst>
              <a:ext uri="{FF2B5EF4-FFF2-40B4-BE49-F238E27FC236}">
                <a16:creationId xmlns:a16="http://schemas.microsoft.com/office/drawing/2014/main" id="{E866F095-BDF0-1314-58E3-7472F46EB5E5}"/>
              </a:ext>
            </a:extLst>
          </p:cNvPr>
          <p:cNvSpPr>
            <a:spLocks noGrp="1"/>
          </p:cNvSpPr>
          <p:nvPr>
            <p:ph type="body" sz="quarter" idx="45" hasCustomPrompt="1"/>
          </p:nvPr>
        </p:nvSpPr>
        <p:spPr>
          <a:xfrm>
            <a:off x="4646511" y="4960401"/>
            <a:ext cx="4144963" cy="324635"/>
          </a:xfrm>
        </p:spPr>
        <p:txBody>
          <a:bodyPr lIns="72000" tIns="72000" rIns="72000" bIns="72000"/>
          <a:lstStyle>
            <a:lvl1pPr marL="0" indent="0">
              <a:buNone/>
              <a:defRPr sz="1200"/>
            </a:lvl1pPr>
            <a:lvl4pPr marL="50793" indent="0">
              <a:buNone/>
              <a:tabLst/>
              <a:defRPr/>
            </a:lvl4pPr>
            <a:lvl5pPr marL="898390" indent="0">
              <a:buNone/>
              <a:defRPr/>
            </a:lvl5pPr>
          </a:lstStyle>
          <a:p>
            <a:pPr algn="l"/>
            <a:r>
              <a:rPr lang="de-DE" sz="1200" b="0" err="1">
                <a:solidFill>
                  <a:schemeClr val="accent1"/>
                </a:solidFill>
                <a:latin typeface="+mn-lt"/>
              </a:rPr>
              <a:t>Zurich</a:t>
            </a:r>
            <a:r>
              <a:rPr lang="de-DE" sz="1200" b="0">
                <a:solidFill>
                  <a:schemeClr val="accent1"/>
                </a:solidFill>
                <a:latin typeface="+mn-lt"/>
              </a:rPr>
              <a:t>, </a:t>
            </a:r>
            <a:r>
              <a:rPr lang="de-DE" sz="1200" b="0" err="1">
                <a:solidFill>
                  <a:schemeClr val="accent1"/>
                </a:solidFill>
                <a:latin typeface="+mn-lt"/>
              </a:rPr>
              <a:t>January</a:t>
            </a:r>
            <a:r>
              <a:rPr lang="de-DE" sz="1200" b="0">
                <a:solidFill>
                  <a:schemeClr val="accent1"/>
                </a:solidFill>
                <a:latin typeface="+mn-lt"/>
              </a:rPr>
              <a:t> 22,  2024</a:t>
            </a:r>
          </a:p>
        </p:txBody>
      </p:sp>
      <p:sp>
        <p:nvSpPr>
          <p:cNvPr id="184" name="Text Placeholder 28">
            <a:extLst>
              <a:ext uri="{FF2B5EF4-FFF2-40B4-BE49-F238E27FC236}">
                <a16:creationId xmlns:a16="http://schemas.microsoft.com/office/drawing/2014/main" id="{A2DAA0BE-3DE9-E193-4263-7C247A9C34F2}"/>
              </a:ext>
            </a:extLst>
          </p:cNvPr>
          <p:cNvSpPr>
            <a:spLocks noGrp="1"/>
          </p:cNvSpPr>
          <p:nvPr>
            <p:ph type="body" sz="quarter" idx="46" hasCustomPrompt="1"/>
          </p:nvPr>
        </p:nvSpPr>
        <p:spPr>
          <a:xfrm>
            <a:off x="318504" y="4383861"/>
            <a:ext cx="4144963" cy="311059"/>
          </a:xfrm>
        </p:spPr>
        <p:txBody>
          <a:bodyPr lIns="72000" tIns="72000" rIns="72000" bIns="36000"/>
          <a:lstStyle>
            <a:lvl1pPr marL="0" indent="0">
              <a:buNone/>
              <a:defRPr sz="1200"/>
            </a:lvl1pPr>
            <a:lvl4pPr marL="50793" indent="0">
              <a:buNone/>
              <a:tabLst/>
              <a:defRPr/>
            </a:lvl4pPr>
            <a:lvl5pPr marL="898390" indent="0">
              <a:buNone/>
              <a:defRPr/>
            </a:lvl5pPr>
          </a:lstStyle>
          <a:p>
            <a:pPr algn="l"/>
            <a:r>
              <a:rPr lang="de-DE" sz="1200" b="0">
                <a:solidFill>
                  <a:schemeClr val="accent1"/>
                </a:solidFill>
                <a:latin typeface="+mn-lt"/>
              </a:rPr>
              <a:t>John Sample, Project Manager</a:t>
            </a:r>
          </a:p>
        </p:txBody>
      </p:sp>
      <p:sp>
        <p:nvSpPr>
          <p:cNvPr id="185" name="Text Placeholder 28">
            <a:extLst>
              <a:ext uri="{FF2B5EF4-FFF2-40B4-BE49-F238E27FC236}">
                <a16:creationId xmlns:a16="http://schemas.microsoft.com/office/drawing/2014/main" id="{039E1190-BF68-CA15-8186-F99B59AF7556}"/>
              </a:ext>
            </a:extLst>
          </p:cNvPr>
          <p:cNvSpPr>
            <a:spLocks noGrp="1"/>
          </p:cNvSpPr>
          <p:nvPr>
            <p:ph type="body" sz="quarter" idx="47" hasCustomPrompt="1"/>
          </p:nvPr>
        </p:nvSpPr>
        <p:spPr>
          <a:xfrm>
            <a:off x="4671509" y="4373672"/>
            <a:ext cx="4144963" cy="317160"/>
          </a:xfrm>
        </p:spPr>
        <p:txBody>
          <a:bodyPr lIns="72000" tIns="72000" rIns="72000" bIns="36000"/>
          <a:lstStyle>
            <a:lvl1pPr marL="0" indent="0">
              <a:buNone/>
              <a:defRPr sz="1200"/>
            </a:lvl1pPr>
            <a:lvl4pPr marL="50793" indent="0">
              <a:buNone/>
              <a:tabLst/>
              <a:defRPr/>
            </a:lvl4pPr>
            <a:lvl5pPr marL="898390" indent="0">
              <a:buNone/>
              <a:defRPr/>
            </a:lvl5pPr>
          </a:lstStyle>
          <a:p>
            <a:pPr algn="l"/>
            <a:r>
              <a:rPr lang="de-DE" sz="1200" b="0">
                <a:solidFill>
                  <a:schemeClr val="accent1"/>
                </a:solidFill>
                <a:latin typeface="+mn-lt"/>
              </a:rPr>
              <a:t>John Sample, Project Manager</a:t>
            </a:r>
          </a:p>
        </p:txBody>
      </p:sp>
      <p:sp>
        <p:nvSpPr>
          <p:cNvPr id="186" name="TextBox 185">
            <a:extLst>
              <a:ext uri="{FF2B5EF4-FFF2-40B4-BE49-F238E27FC236}">
                <a16:creationId xmlns:a16="http://schemas.microsoft.com/office/drawing/2014/main" id="{EF50913A-2F03-BC3D-7CA6-7E464810B79C}"/>
              </a:ext>
            </a:extLst>
          </p:cNvPr>
          <p:cNvSpPr txBox="1"/>
          <p:nvPr userDrawn="1"/>
        </p:nvSpPr>
        <p:spPr>
          <a:xfrm>
            <a:off x="4622370" y="5326489"/>
            <a:ext cx="1117601" cy="244755"/>
          </a:xfrm>
          <a:prstGeom prst="rect">
            <a:avLst/>
          </a:prstGeom>
          <a:noFill/>
        </p:spPr>
        <p:txBody>
          <a:bodyPr wrap="square" lIns="71991" tIns="53993" rIns="71991" bIns="35995" rtlCol="0">
            <a:spAutoFit/>
          </a:bodyPr>
          <a:lstStyle/>
          <a:p>
            <a:pPr algn="l"/>
            <a:r>
              <a:rPr lang="de-DE" sz="1000" b="0" i="1" err="1">
                <a:solidFill>
                  <a:schemeClr val="accent1"/>
                </a:solidFill>
                <a:latin typeface="Zurich Sans Light" panose="02000000000000000000" pitchFamily="2" charset="0"/>
              </a:rPr>
              <a:t>Signature</a:t>
            </a:r>
            <a:endParaRPr lang="de-DE" sz="1000" b="0" i="1">
              <a:solidFill>
                <a:schemeClr val="accent1"/>
              </a:solidFill>
              <a:latin typeface="Zurich Sans Light" panose="02000000000000000000" pitchFamily="2" charset="0"/>
            </a:endParaRPr>
          </a:p>
        </p:txBody>
      </p:sp>
      <p:sp>
        <p:nvSpPr>
          <p:cNvPr id="3" name="Slide Number Placeholder 5">
            <a:extLst>
              <a:ext uri="{FF2B5EF4-FFF2-40B4-BE49-F238E27FC236}">
                <a16:creationId xmlns:a16="http://schemas.microsoft.com/office/drawing/2014/main" id="{07BB2B49-D514-2A00-C96B-BD1B73927C5A}"/>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14" name="Text Placeholder 13">
            <a:extLst>
              <a:ext uri="{FF2B5EF4-FFF2-40B4-BE49-F238E27FC236}">
                <a16:creationId xmlns:a16="http://schemas.microsoft.com/office/drawing/2014/main" id="{2AC964C8-AC36-FE3F-4839-8F7F0946C95F}"/>
              </a:ext>
            </a:extLst>
          </p:cNvPr>
          <p:cNvSpPr>
            <a:spLocks noGrp="1"/>
          </p:cNvSpPr>
          <p:nvPr>
            <p:ph type="body" sz="quarter" idx="51" hasCustomPrompt="1"/>
          </p:nvPr>
        </p:nvSpPr>
        <p:spPr>
          <a:xfrm>
            <a:off x="297824" y="1086652"/>
            <a:ext cx="4071939" cy="372189"/>
          </a:xfrm>
        </p:spPr>
        <p:txBody>
          <a:bodyPr lIns="108000" rIns="108000" anchor="ctr"/>
          <a:lstStyle>
            <a:lvl3pPr marL="7937" indent="0">
              <a:buNone/>
              <a:tabLst/>
              <a:defRPr/>
            </a:lvl3pPr>
          </a:lstStyle>
          <a:p>
            <a:pPr lvl="2"/>
            <a:r>
              <a:rPr lang="en-GB"/>
              <a:t>Appropriate Zurich Legal Entity</a:t>
            </a:r>
          </a:p>
        </p:txBody>
      </p:sp>
      <p:sp>
        <p:nvSpPr>
          <p:cNvPr id="15" name="Text Placeholder 13">
            <a:extLst>
              <a:ext uri="{FF2B5EF4-FFF2-40B4-BE49-F238E27FC236}">
                <a16:creationId xmlns:a16="http://schemas.microsoft.com/office/drawing/2014/main" id="{2D6A86BF-FB37-3C8C-FCE9-2AFA27625E85}"/>
              </a:ext>
            </a:extLst>
          </p:cNvPr>
          <p:cNvSpPr>
            <a:spLocks noGrp="1"/>
          </p:cNvSpPr>
          <p:nvPr>
            <p:ph type="body" sz="quarter" idx="52" hasCustomPrompt="1"/>
          </p:nvPr>
        </p:nvSpPr>
        <p:spPr>
          <a:xfrm>
            <a:off x="4631829" y="1087152"/>
            <a:ext cx="4071939" cy="372189"/>
          </a:xfrm>
        </p:spPr>
        <p:txBody>
          <a:bodyPr lIns="108000" rIns="108000" anchor="ctr"/>
          <a:lstStyle>
            <a:lvl3pPr marL="7937" indent="0">
              <a:buNone/>
              <a:tabLst/>
              <a:defRPr/>
            </a:lvl3pPr>
          </a:lstStyle>
          <a:p>
            <a:pPr lvl="2"/>
            <a:r>
              <a:rPr lang="en-GB"/>
              <a:t>Customer Name</a:t>
            </a:r>
          </a:p>
        </p:txBody>
      </p:sp>
      <p:sp>
        <p:nvSpPr>
          <p:cNvPr id="16" name="Title 5">
            <a:extLst>
              <a:ext uri="{FF2B5EF4-FFF2-40B4-BE49-F238E27FC236}">
                <a16:creationId xmlns:a16="http://schemas.microsoft.com/office/drawing/2014/main" id="{CCF21853-B0C6-5F84-6DE9-55F2DD1E74E4}"/>
              </a:ext>
            </a:extLst>
          </p:cNvPr>
          <p:cNvSpPr>
            <a:spLocks noGrp="1"/>
          </p:cNvSpPr>
          <p:nvPr>
            <p:ph type="title"/>
          </p:nvPr>
        </p:nvSpPr>
        <p:spPr>
          <a:xfrm>
            <a:off x="271507" y="255437"/>
            <a:ext cx="8486732" cy="332399"/>
          </a:xfrm>
        </p:spPr>
        <p:txBody>
          <a:bodyPr/>
          <a:lstStyle/>
          <a:p>
            <a:r>
              <a:rPr lang="en-ES"/>
              <a:t>Signatures</a:t>
            </a:r>
          </a:p>
        </p:txBody>
      </p:sp>
    </p:spTree>
    <p:extLst>
      <p:ext uri="{BB962C8B-B14F-4D97-AF65-F5344CB8AC3E}">
        <p14:creationId xmlns:p14="http://schemas.microsoft.com/office/powerpoint/2010/main" val="310620893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V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3CF824-0541-B29E-8E4D-682D7B6A2E1A}"/>
              </a:ext>
            </a:extLst>
          </p:cNvPr>
          <p:cNvGraphicFramePr>
            <a:graphicFrameLocks noChangeAspect="1"/>
          </p:cNvGraphicFramePr>
          <p:nvPr userDrawn="1">
            <p:custDataLst>
              <p:tags r:id="rId1"/>
            </p:custDataLst>
            <p:extLst>
              <p:ext uri="{D42A27DB-BD31-4B8C-83A1-F6EECF244321}">
                <p14:modId xmlns:p14="http://schemas.microsoft.com/office/powerpoint/2010/main" val="300874512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963CF824-0541-B29E-8E4D-682D7B6A2E1A}"/>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33" name="Content Placeholder 2">
            <a:extLst>
              <a:ext uri="{FF2B5EF4-FFF2-40B4-BE49-F238E27FC236}">
                <a16:creationId xmlns:a16="http://schemas.microsoft.com/office/drawing/2014/main" id="{22F76E53-ED3E-4712-828A-462700FD54D1}"/>
              </a:ext>
            </a:extLst>
          </p:cNvPr>
          <p:cNvSpPr>
            <a:spLocks noGrp="1"/>
          </p:cNvSpPr>
          <p:nvPr>
            <p:ph idx="1" hasCustomPrompt="1"/>
          </p:nvPr>
        </p:nvSpPr>
        <p:spPr>
          <a:xfrm>
            <a:off x="501650" y="1339763"/>
            <a:ext cx="3452119" cy="677895"/>
          </a:xfrm>
        </p:spPr>
        <p:txBody>
          <a:bodyPr lIns="0" tIns="0" rIns="0" bIns="0"/>
          <a:lstStyle>
            <a:lvl1pPr marL="0" indent="0">
              <a:buNone/>
              <a:defRPr sz="1800" b="0" i="1">
                <a:latin typeface="Zurich Sans Light" panose="02000000000000000000" pitchFamily="2" charset="0"/>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Quote</a:t>
            </a:r>
          </a:p>
        </p:txBody>
      </p:sp>
      <p:sp>
        <p:nvSpPr>
          <p:cNvPr id="34" name="Slide Number Placeholder 5">
            <a:extLst>
              <a:ext uri="{FF2B5EF4-FFF2-40B4-BE49-F238E27FC236}">
                <a16:creationId xmlns:a16="http://schemas.microsoft.com/office/drawing/2014/main" id="{3E83A98D-348B-40D1-B8DE-954D062DE5ED}"/>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5" name="TextBox 34">
            <a:extLst>
              <a:ext uri="{FF2B5EF4-FFF2-40B4-BE49-F238E27FC236}">
                <a16:creationId xmlns:a16="http://schemas.microsoft.com/office/drawing/2014/main" id="{20454A9A-E833-4775-8C2D-33EB42BCE6B5}"/>
              </a:ext>
            </a:extLst>
          </p:cNvPr>
          <p:cNvSpPr txBox="1"/>
          <p:nvPr userDrawn="1"/>
        </p:nvSpPr>
        <p:spPr>
          <a:xfrm>
            <a:off x="11158233" y="6548970"/>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3" name="Title Placeholder 1">
            <a:extLst>
              <a:ext uri="{FF2B5EF4-FFF2-40B4-BE49-F238E27FC236}">
                <a16:creationId xmlns:a16="http://schemas.microsoft.com/office/drawing/2014/main" id="{5FB431D7-B606-4E7E-44D7-8C0E48BF1BD2}"/>
              </a:ext>
            </a:extLst>
          </p:cNvPr>
          <p:cNvSpPr>
            <a:spLocks noGrp="1"/>
          </p:cNvSpPr>
          <p:nvPr>
            <p:ph type="title"/>
          </p:nvPr>
        </p:nvSpPr>
        <p:spPr>
          <a:xfrm>
            <a:off x="250828" y="249929"/>
            <a:ext cx="7621513" cy="332399"/>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8" name="Content Placeholder 14">
            <a:extLst>
              <a:ext uri="{FF2B5EF4-FFF2-40B4-BE49-F238E27FC236}">
                <a16:creationId xmlns:a16="http://schemas.microsoft.com/office/drawing/2014/main" id="{FA72DD7E-DFC5-8204-E32E-7DAE6E4AF994}"/>
              </a:ext>
            </a:extLst>
          </p:cNvPr>
          <p:cNvSpPr>
            <a:spLocks noGrp="1"/>
          </p:cNvSpPr>
          <p:nvPr>
            <p:ph sz="quarter" idx="10" hasCustomPrompt="1"/>
          </p:nvPr>
        </p:nvSpPr>
        <p:spPr>
          <a:xfrm>
            <a:off x="250826" y="666077"/>
            <a:ext cx="7621513" cy="276999"/>
          </a:xfrm>
        </p:spPr>
        <p:txBody>
          <a:bodyPr wrap="square">
            <a:spAutoFit/>
          </a:bodyPr>
          <a:lstStyle>
            <a:lvl1pPr marL="0" indent="0">
              <a:buNone/>
              <a:defRPr sz="1800">
                <a:solidFill>
                  <a:schemeClr val="accent1"/>
                </a:solidFill>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Master subtitle style</a:t>
            </a:r>
          </a:p>
        </p:txBody>
      </p:sp>
      <p:pic>
        <p:nvPicPr>
          <p:cNvPr id="9" name="ZRS Logo Horozontal">
            <a:extLst>
              <a:ext uri="{FF2B5EF4-FFF2-40B4-BE49-F238E27FC236}">
                <a16:creationId xmlns:a16="http://schemas.microsoft.com/office/drawing/2014/main" id="{C3961665-A7EF-AB66-D1CA-A82B5370E1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00530" y="190545"/>
            <a:ext cx="1338812" cy="444537"/>
          </a:xfrm>
          <a:prstGeom prst="rect">
            <a:avLst/>
          </a:prstGeom>
        </p:spPr>
      </p:pic>
      <p:sp>
        <p:nvSpPr>
          <p:cNvPr id="6" name="Content Placeholder 2">
            <a:extLst>
              <a:ext uri="{FF2B5EF4-FFF2-40B4-BE49-F238E27FC236}">
                <a16:creationId xmlns:a16="http://schemas.microsoft.com/office/drawing/2014/main" id="{15C51548-840D-E944-CB68-4FF105CB37B2}"/>
              </a:ext>
            </a:extLst>
          </p:cNvPr>
          <p:cNvSpPr>
            <a:spLocks noGrp="1"/>
          </p:cNvSpPr>
          <p:nvPr>
            <p:ph idx="32" hasCustomPrompt="1"/>
          </p:nvPr>
        </p:nvSpPr>
        <p:spPr>
          <a:xfrm>
            <a:off x="501650" y="2199617"/>
            <a:ext cx="3452119" cy="201075"/>
          </a:xfrm>
        </p:spPr>
        <p:txBody>
          <a:bodyPr lIns="0" tIns="0" rIns="0" bIns="0"/>
          <a:lstStyle>
            <a:lvl1pPr marL="0" indent="0">
              <a:buNone/>
              <a:defRPr sz="12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Name</a:t>
            </a:r>
          </a:p>
        </p:txBody>
      </p:sp>
      <p:sp>
        <p:nvSpPr>
          <p:cNvPr id="7" name="Content Placeholder 2">
            <a:extLst>
              <a:ext uri="{FF2B5EF4-FFF2-40B4-BE49-F238E27FC236}">
                <a16:creationId xmlns:a16="http://schemas.microsoft.com/office/drawing/2014/main" id="{27B88B3D-3A65-EBEF-EC89-E0C4FB00C2CF}"/>
              </a:ext>
            </a:extLst>
          </p:cNvPr>
          <p:cNvSpPr>
            <a:spLocks noGrp="1"/>
          </p:cNvSpPr>
          <p:nvPr>
            <p:ph idx="33" hasCustomPrompt="1"/>
          </p:nvPr>
        </p:nvSpPr>
        <p:spPr>
          <a:xfrm>
            <a:off x="501650" y="2491212"/>
            <a:ext cx="3452119" cy="201075"/>
          </a:xfrm>
        </p:spPr>
        <p:txBody>
          <a:bodyPr lIns="0" tIns="0" rIns="0" bIns="0"/>
          <a:lstStyle>
            <a:lvl1pPr marL="0" indent="0">
              <a:buNone/>
              <a:defRPr sz="12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Role</a:t>
            </a:r>
          </a:p>
        </p:txBody>
      </p:sp>
      <p:sp>
        <p:nvSpPr>
          <p:cNvPr id="10" name="Content Placeholder 2">
            <a:extLst>
              <a:ext uri="{FF2B5EF4-FFF2-40B4-BE49-F238E27FC236}">
                <a16:creationId xmlns:a16="http://schemas.microsoft.com/office/drawing/2014/main" id="{BBE6C925-F37D-90F2-8E9A-C77C4D8BCEBC}"/>
              </a:ext>
            </a:extLst>
          </p:cNvPr>
          <p:cNvSpPr>
            <a:spLocks noGrp="1"/>
          </p:cNvSpPr>
          <p:nvPr>
            <p:ph idx="34" hasCustomPrompt="1"/>
          </p:nvPr>
        </p:nvSpPr>
        <p:spPr>
          <a:xfrm>
            <a:off x="501650" y="2782805"/>
            <a:ext cx="3452119" cy="201075"/>
          </a:xfrm>
        </p:spPr>
        <p:txBody>
          <a:bodyPr lIns="0" tIns="0" rIns="0" bIns="0"/>
          <a:lstStyle>
            <a:lvl1pPr marL="0" indent="0">
              <a:buNone/>
              <a:defRPr sz="12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Customer organization</a:t>
            </a:r>
          </a:p>
        </p:txBody>
      </p:sp>
      <p:sp>
        <p:nvSpPr>
          <p:cNvPr id="11" name="Content Placeholder 2">
            <a:extLst>
              <a:ext uri="{FF2B5EF4-FFF2-40B4-BE49-F238E27FC236}">
                <a16:creationId xmlns:a16="http://schemas.microsoft.com/office/drawing/2014/main" id="{424D6C25-9BFF-E76A-9C6D-D7A3920B15BD}"/>
              </a:ext>
            </a:extLst>
          </p:cNvPr>
          <p:cNvSpPr>
            <a:spLocks noGrp="1"/>
          </p:cNvSpPr>
          <p:nvPr>
            <p:ph idx="35" hasCustomPrompt="1"/>
          </p:nvPr>
        </p:nvSpPr>
        <p:spPr>
          <a:xfrm>
            <a:off x="501650" y="3874126"/>
            <a:ext cx="3452119" cy="677895"/>
          </a:xfrm>
        </p:spPr>
        <p:txBody>
          <a:bodyPr lIns="0" tIns="0" rIns="0" bIns="0"/>
          <a:lstStyle>
            <a:lvl1pPr marL="0" indent="0">
              <a:buNone/>
              <a:defRPr sz="1800" b="0" i="1">
                <a:latin typeface="Zurich Sans Light" panose="02000000000000000000" pitchFamily="2" charset="0"/>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Quote</a:t>
            </a:r>
          </a:p>
        </p:txBody>
      </p:sp>
      <p:sp>
        <p:nvSpPr>
          <p:cNvPr id="12" name="Content Placeholder 2">
            <a:extLst>
              <a:ext uri="{FF2B5EF4-FFF2-40B4-BE49-F238E27FC236}">
                <a16:creationId xmlns:a16="http://schemas.microsoft.com/office/drawing/2014/main" id="{0B400678-A131-AB54-2187-E49B7E78B34D}"/>
              </a:ext>
            </a:extLst>
          </p:cNvPr>
          <p:cNvSpPr>
            <a:spLocks noGrp="1"/>
          </p:cNvSpPr>
          <p:nvPr>
            <p:ph idx="36" hasCustomPrompt="1"/>
          </p:nvPr>
        </p:nvSpPr>
        <p:spPr>
          <a:xfrm>
            <a:off x="501650" y="4733980"/>
            <a:ext cx="3452119" cy="201075"/>
          </a:xfrm>
        </p:spPr>
        <p:txBody>
          <a:bodyPr lIns="0" tIns="0" rIns="0" bIns="0"/>
          <a:lstStyle>
            <a:lvl1pPr marL="0" indent="0">
              <a:buNone/>
              <a:defRPr sz="12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Name</a:t>
            </a:r>
          </a:p>
        </p:txBody>
      </p:sp>
      <p:sp>
        <p:nvSpPr>
          <p:cNvPr id="13" name="Content Placeholder 2">
            <a:extLst>
              <a:ext uri="{FF2B5EF4-FFF2-40B4-BE49-F238E27FC236}">
                <a16:creationId xmlns:a16="http://schemas.microsoft.com/office/drawing/2014/main" id="{E85F4CA5-21F4-A1D4-DF50-7E23F224257A}"/>
              </a:ext>
            </a:extLst>
          </p:cNvPr>
          <p:cNvSpPr>
            <a:spLocks noGrp="1"/>
          </p:cNvSpPr>
          <p:nvPr>
            <p:ph idx="37" hasCustomPrompt="1"/>
          </p:nvPr>
        </p:nvSpPr>
        <p:spPr>
          <a:xfrm>
            <a:off x="501650" y="5025573"/>
            <a:ext cx="3452119" cy="201075"/>
          </a:xfrm>
        </p:spPr>
        <p:txBody>
          <a:bodyPr lIns="0" tIns="0" rIns="0" bIns="0"/>
          <a:lstStyle>
            <a:lvl1pPr marL="0" indent="0">
              <a:buNone/>
              <a:defRPr sz="12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Role</a:t>
            </a:r>
          </a:p>
        </p:txBody>
      </p:sp>
      <p:sp>
        <p:nvSpPr>
          <p:cNvPr id="14" name="Content Placeholder 2">
            <a:extLst>
              <a:ext uri="{FF2B5EF4-FFF2-40B4-BE49-F238E27FC236}">
                <a16:creationId xmlns:a16="http://schemas.microsoft.com/office/drawing/2014/main" id="{056C8D01-6E36-4606-F055-8A0C2AD810C1}"/>
              </a:ext>
            </a:extLst>
          </p:cNvPr>
          <p:cNvSpPr>
            <a:spLocks noGrp="1"/>
          </p:cNvSpPr>
          <p:nvPr>
            <p:ph idx="38" hasCustomPrompt="1"/>
          </p:nvPr>
        </p:nvSpPr>
        <p:spPr>
          <a:xfrm>
            <a:off x="501650" y="5317168"/>
            <a:ext cx="3452119" cy="201075"/>
          </a:xfrm>
        </p:spPr>
        <p:txBody>
          <a:bodyPr lIns="0" tIns="0" rIns="0" bIns="0"/>
          <a:lstStyle>
            <a:lvl1pPr marL="0" indent="0">
              <a:buNone/>
              <a:defRPr sz="12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Customer organization</a:t>
            </a:r>
          </a:p>
        </p:txBody>
      </p:sp>
      <p:sp>
        <p:nvSpPr>
          <p:cNvPr id="16" name="Text Placeholder 15">
            <a:extLst>
              <a:ext uri="{FF2B5EF4-FFF2-40B4-BE49-F238E27FC236}">
                <a16:creationId xmlns:a16="http://schemas.microsoft.com/office/drawing/2014/main" id="{ADD2A00C-02EB-BA17-F2DC-5F5F2E1370D8}"/>
              </a:ext>
            </a:extLst>
          </p:cNvPr>
          <p:cNvSpPr>
            <a:spLocks noGrp="1"/>
          </p:cNvSpPr>
          <p:nvPr>
            <p:ph type="body" sz="quarter" idx="40" hasCustomPrompt="1"/>
          </p:nvPr>
        </p:nvSpPr>
        <p:spPr>
          <a:xfrm>
            <a:off x="3649665" y="-671838"/>
            <a:ext cx="7054849" cy="360099"/>
          </a:xfrm>
        </p:spPr>
        <p:txBody>
          <a:bodyPr/>
          <a:lstStyle/>
          <a:p>
            <a:pPr marL="0" marR="0" lvl="0" indent="0" algn="l" defTabSz="914240" rtl="0" eaLnBrk="1" fontAlgn="auto" latinLnBrk="0" hangingPunct="1">
              <a:lnSpc>
                <a:spcPct val="100000"/>
              </a:lnSpc>
              <a:spcBef>
                <a:spcPts val="0"/>
              </a:spcBef>
              <a:spcAft>
                <a:spcPts val="800"/>
              </a:spcAft>
              <a:buClrTx/>
              <a:buSzTx/>
              <a:buFont typeface="Arial" panose="020B0604020202020204" pitchFamily="34" charset="0"/>
              <a:buNone/>
              <a:tabLst/>
              <a:defRPr/>
            </a:pPr>
            <a:r>
              <a:rPr lang="en-GB"/>
              <a:t>Space for </a:t>
            </a:r>
            <a:r>
              <a:rPr lang="pl-PL" err="1">
                <a:solidFill>
                  <a:schemeClr val="accent1"/>
                </a:solidFill>
              </a:rPr>
              <a:t>Customer</a:t>
            </a:r>
            <a:r>
              <a:rPr lang="pl-PL">
                <a:solidFill>
                  <a:schemeClr val="accent1"/>
                </a:solidFill>
              </a:rPr>
              <a:t> logos </a:t>
            </a:r>
            <a:r>
              <a:rPr lang="pl-PL" err="1">
                <a:solidFill>
                  <a:schemeClr val="accent1"/>
                </a:solidFill>
              </a:rPr>
              <a:t>categorized</a:t>
            </a:r>
            <a:r>
              <a:rPr lang="pl-PL">
                <a:solidFill>
                  <a:schemeClr val="accent1"/>
                </a:solidFill>
              </a:rPr>
              <a:t> by </a:t>
            </a:r>
            <a:r>
              <a:rPr lang="pl-PL" err="1">
                <a:solidFill>
                  <a:schemeClr val="accent1"/>
                </a:solidFill>
              </a:rPr>
              <a:t>industry</a:t>
            </a:r>
            <a:endParaRPr lang="en-US">
              <a:solidFill>
                <a:schemeClr val="accent1"/>
              </a:solidFill>
            </a:endParaRPr>
          </a:p>
        </p:txBody>
      </p:sp>
      <p:sp>
        <p:nvSpPr>
          <p:cNvPr id="18" name="Picture Placeholder 17">
            <a:extLst>
              <a:ext uri="{FF2B5EF4-FFF2-40B4-BE49-F238E27FC236}">
                <a16:creationId xmlns:a16="http://schemas.microsoft.com/office/drawing/2014/main" id="{832D272C-02F4-B680-76AA-6A3BB4A48DD3}"/>
              </a:ext>
            </a:extLst>
          </p:cNvPr>
          <p:cNvSpPr>
            <a:spLocks noGrp="1"/>
          </p:cNvSpPr>
          <p:nvPr>
            <p:ph type="pic" sz="quarter" idx="41" hasCustomPrompt="1"/>
          </p:nvPr>
        </p:nvSpPr>
        <p:spPr>
          <a:xfrm>
            <a:off x="4592287" y="1065541"/>
            <a:ext cx="1800000" cy="1260000"/>
          </a:xfrm>
        </p:spPr>
        <p:txBody>
          <a:bodyPr anchor="ctr"/>
          <a:lstStyle>
            <a:lvl1pPr marL="0" indent="0" algn="ctr">
              <a:buNone/>
              <a:defRPr/>
            </a:lvl1pPr>
          </a:lstStyle>
          <a:p>
            <a:r>
              <a:rPr lang="en-ES"/>
              <a:t>Logo</a:t>
            </a:r>
          </a:p>
        </p:txBody>
      </p:sp>
      <p:sp>
        <p:nvSpPr>
          <p:cNvPr id="19" name="Picture Placeholder 17">
            <a:extLst>
              <a:ext uri="{FF2B5EF4-FFF2-40B4-BE49-F238E27FC236}">
                <a16:creationId xmlns:a16="http://schemas.microsoft.com/office/drawing/2014/main" id="{237D4E57-E96F-3D1A-9E61-F743EFA2223A}"/>
              </a:ext>
            </a:extLst>
          </p:cNvPr>
          <p:cNvSpPr>
            <a:spLocks noGrp="1"/>
          </p:cNvSpPr>
          <p:nvPr>
            <p:ph type="pic" sz="quarter" idx="42" hasCustomPrompt="1"/>
          </p:nvPr>
        </p:nvSpPr>
        <p:spPr>
          <a:xfrm>
            <a:off x="6421547" y="1065541"/>
            <a:ext cx="1800000" cy="1260000"/>
          </a:xfrm>
        </p:spPr>
        <p:txBody>
          <a:bodyPr anchor="ctr"/>
          <a:lstStyle>
            <a:lvl1pPr marL="0" indent="0" algn="ctr">
              <a:buNone/>
              <a:defRPr/>
            </a:lvl1pPr>
          </a:lstStyle>
          <a:p>
            <a:r>
              <a:rPr lang="en-ES"/>
              <a:t>Logo</a:t>
            </a:r>
          </a:p>
        </p:txBody>
      </p:sp>
      <p:sp>
        <p:nvSpPr>
          <p:cNvPr id="20" name="Picture Placeholder 17">
            <a:extLst>
              <a:ext uri="{FF2B5EF4-FFF2-40B4-BE49-F238E27FC236}">
                <a16:creationId xmlns:a16="http://schemas.microsoft.com/office/drawing/2014/main" id="{D755D06B-6FD7-4CD1-CBC3-DB97608FE045}"/>
              </a:ext>
            </a:extLst>
          </p:cNvPr>
          <p:cNvSpPr>
            <a:spLocks noGrp="1"/>
          </p:cNvSpPr>
          <p:nvPr>
            <p:ph type="pic" sz="quarter" idx="43" hasCustomPrompt="1"/>
          </p:nvPr>
        </p:nvSpPr>
        <p:spPr>
          <a:xfrm>
            <a:off x="10080069" y="1065541"/>
            <a:ext cx="1800000" cy="1260000"/>
          </a:xfrm>
        </p:spPr>
        <p:txBody>
          <a:bodyPr anchor="ctr"/>
          <a:lstStyle>
            <a:lvl1pPr marL="0" indent="0" algn="ctr">
              <a:buNone/>
              <a:defRPr/>
            </a:lvl1pPr>
          </a:lstStyle>
          <a:p>
            <a:r>
              <a:rPr lang="en-ES"/>
              <a:t>Logo</a:t>
            </a:r>
          </a:p>
        </p:txBody>
      </p:sp>
      <p:sp>
        <p:nvSpPr>
          <p:cNvPr id="28" name="Picture Placeholder 17">
            <a:extLst>
              <a:ext uri="{FF2B5EF4-FFF2-40B4-BE49-F238E27FC236}">
                <a16:creationId xmlns:a16="http://schemas.microsoft.com/office/drawing/2014/main" id="{79BF6D2A-5072-4441-55B5-8A14B81C3A69}"/>
              </a:ext>
            </a:extLst>
          </p:cNvPr>
          <p:cNvSpPr>
            <a:spLocks noGrp="1"/>
          </p:cNvSpPr>
          <p:nvPr>
            <p:ph type="pic" sz="quarter" idx="44" hasCustomPrompt="1"/>
          </p:nvPr>
        </p:nvSpPr>
        <p:spPr>
          <a:xfrm>
            <a:off x="8250808" y="1065541"/>
            <a:ext cx="1800000" cy="1260000"/>
          </a:xfrm>
        </p:spPr>
        <p:txBody>
          <a:bodyPr anchor="ctr"/>
          <a:lstStyle>
            <a:lvl1pPr marL="0" indent="0" algn="ctr">
              <a:buNone/>
              <a:defRPr/>
            </a:lvl1pPr>
          </a:lstStyle>
          <a:p>
            <a:r>
              <a:rPr lang="en-ES"/>
              <a:t>Logo</a:t>
            </a:r>
          </a:p>
        </p:txBody>
      </p:sp>
      <p:sp>
        <p:nvSpPr>
          <p:cNvPr id="37" name="Picture Placeholder 17">
            <a:extLst>
              <a:ext uri="{FF2B5EF4-FFF2-40B4-BE49-F238E27FC236}">
                <a16:creationId xmlns:a16="http://schemas.microsoft.com/office/drawing/2014/main" id="{317D08E1-A169-9900-121C-DAEA25A580FF}"/>
              </a:ext>
            </a:extLst>
          </p:cNvPr>
          <p:cNvSpPr>
            <a:spLocks noGrp="1"/>
          </p:cNvSpPr>
          <p:nvPr>
            <p:ph type="pic" sz="quarter" idx="45" hasCustomPrompt="1"/>
          </p:nvPr>
        </p:nvSpPr>
        <p:spPr>
          <a:xfrm>
            <a:off x="4592287" y="2413583"/>
            <a:ext cx="1800000" cy="1260000"/>
          </a:xfrm>
        </p:spPr>
        <p:txBody>
          <a:bodyPr anchor="ctr"/>
          <a:lstStyle>
            <a:lvl1pPr marL="0" indent="0" algn="ctr">
              <a:buNone/>
              <a:defRPr/>
            </a:lvl1pPr>
          </a:lstStyle>
          <a:p>
            <a:r>
              <a:rPr lang="en-ES"/>
              <a:t>Logo</a:t>
            </a:r>
          </a:p>
        </p:txBody>
      </p:sp>
      <p:sp>
        <p:nvSpPr>
          <p:cNvPr id="38" name="Picture Placeholder 17">
            <a:extLst>
              <a:ext uri="{FF2B5EF4-FFF2-40B4-BE49-F238E27FC236}">
                <a16:creationId xmlns:a16="http://schemas.microsoft.com/office/drawing/2014/main" id="{DCFCBF48-26E0-045D-45C0-D33E345944AB}"/>
              </a:ext>
            </a:extLst>
          </p:cNvPr>
          <p:cNvSpPr>
            <a:spLocks noGrp="1"/>
          </p:cNvSpPr>
          <p:nvPr>
            <p:ph type="pic" sz="quarter" idx="46" hasCustomPrompt="1"/>
          </p:nvPr>
        </p:nvSpPr>
        <p:spPr>
          <a:xfrm>
            <a:off x="6421547" y="2413583"/>
            <a:ext cx="1800000" cy="1260000"/>
          </a:xfrm>
        </p:spPr>
        <p:txBody>
          <a:bodyPr anchor="ctr"/>
          <a:lstStyle>
            <a:lvl1pPr marL="0" indent="0" algn="ctr">
              <a:buNone/>
              <a:defRPr/>
            </a:lvl1pPr>
          </a:lstStyle>
          <a:p>
            <a:r>
              <a:rPr lang="en-ES"/>
              <a:t>Logo</a:t>
            </a:r>
          </a:p>
        </p:txBody>
      </p:sp>
      <p:sp>
        <p:nvSpPr>
          <p:cNvPr id="39" name="Picture Placeholder 17">
            <a:extLst>
              <a:ext uri="{FF2B5EF4-FFF2-40B4-BE49-F238E27FC236}">
                <a16:creationId xmlns:a16="http://schemas.microsoft.com/office/drawing/2014/main" id="{8B3E4135-FA56-DF7D-A978-D9F123524A2A}"/>
              </a:ext>
            </a:extLst>
          </p:cNvPr>
          <p:cNvSpPr>
            <a:spLocks noGrp="1"/>
          </p:cNvSpPr>
          <p:nvPr>
            <p:ph type="pic" sz="quarter" idx="47" hasCustomPrompt="1"/>
          </p:nvPr>
        </p:nvSpPr>
        <p:spPr>
          <a:xfrm>
            <a:off x="10080069" y="2413583"/>
            <a:ext cx="1800000" cy="1260000"/>
          </a:xfrm>
        </p:spPr>
        <p:txBody>
          <a:bodyPr anchor="ctr"/>
          <a:lstStyle>
            <a:lvl1pPr marL="0" indent="0" algn="ctr">
              <a:buNone/>
              <a:defRPr/>
            </a:lvl1pPr>
          </a:lstStyle>
          <a:p>
            <a:r>
              <a:rPr lang="en-ES"/>
              <a:t>Logo</a:t>
            </a:r>
          </a:p>
        </p:txBody>
      </p:sp>
      <p:sp>
        <p:nvSpPr>
          <p:cNvPr id="40" name="Picture Placeholder 17">
            <a:extLst>
              <a:ext uri="{FF2B5EF4-FFF2-40B4-BE49-F238E27FC236}">
                <a16:creationId xmlns:a16="http://schemas.microsoft.com/office/drawing/2014/main" id="{75316217-8E94-AD42-2167-EEF7174A1A12}"/>
              </a:ext>
            </a:extLst>
          </p:cNvPr>
          <p:cNvSpPr>
            <a:spLocks noGrp="1"/>
          </p:cNvSpPr>
          <p:nvPr>
            <p:ph type="pic" sz="quarter" idx="48" hasCustomPrompt="1"/>
          </p:nvPr>
        </p:nvSpPr>
        <p:spPr>
          <a:xfrm>
            <a:off x="8250808" y="2413583"/>
            <a:ext cx="1800000" cy="1260000"/>
          </a:xfrm>
        </p:spPr>
        <p:txBody>
          <a:bodyPr anchor="ctr"/>
          <a:lstStyle>
            <a:lvl1pPr marL="0" indent="0" algn="ctr">
              <a:buNone/>
              <a:defRPr/>
            </a:lvl1pPr>
          </a:lstStyle>
          <a:p>
            <a:r>
              <a:rPr lang="en-ES"/>
              <a:t>Logo</a:t>
            </a:r>
          </a:p>
        </p:txBody>
      </p:sp>
      <p:sp>
        <p:nvSpPr>
          <p:cNvPr id="49" name="Picture Placeholder 17">
            <a:extLst>
              <a:ext uri="{FF2B5EF4-FFF2-40B4-BE49-F238E27FC236}">
                <a16:creationId xmlns:a16="http://schemas.microsoft.com/office/drawing/2014/main" id="{B592B284-FC61-CE16-A736-89CB7CA61858}"/>
              </a:ext>
            </a:extLst>
          </p:cNvPr>
          <p:cNvSpPr>
            <a:spLocks noGrp="1"/>
          </p:cNvSpPr>
          <p:nvPr>
            <p:ph type="pic" sz="quarter" idx="49" hasCustomPrompt="1"/>
          </p:nvPr>
        </p:nvSpPr>
        <p:spPr>
          <a:xfrm>
            <a:off x="4592287" y="3758355"/>
            <a:ext cx="1800000" cy="1260000"/>
          </a:xfrm>
        </p:spPr>
        <p:txBody>
          <a:bodyPr anchor="ctr"/>
          <a:lstStyle>
            <a:lvl1pPr marL="0" indent="0" algn="ctr">
              <a:buNone/>
              <a:defRPr/>
            </a:lvl1pPr>
          </a:lstStyle>
          <a:p>
            <a:r>
              <a:rPr lang="en-ES"/>
              <a:t>Logo</a:t>
            </a:r>
          </a:p>
        </p:txBody>
      </p:sp>
      <p:sp>
        <p:nvSpPr>
          <p:cNvPr id="50" name="Picture Placeholder 17">
            <a:extLst>
              <a:ext uri="{FF2B5EF4-FFF2-40B4-BE49-F238E27FC236}">
                <a16:creationId xmlns:a16="http://schemas.microsoft.com/office/drawing/2014/main" id="{9268D160-62DC-4169-4ED4-4DA61BA6EEEA}"/>
              </a:ext>
            </a:extLst>
          </p:cNvPr>
          <p:cNvSpPr>
            <a:spLocks noGrp="1"/>
          </p:cNvSpPr>
          <p:nvPr>
            <p:ph type="pic" sz="quarter" idx="50" hasCustomPrompt="1"/>
          </p:nvPr>
        </p:nvSpPr>
        <p:spPr>
          <a:xfrm>
            <a:off x="6421547" y="3758355"/>
            <a:ext cx="1800000" cy="1260000"/>
          </a:xfrm>
        </p:spPr>
        <p:txBody>
          <a:bodyPr anchor="ctr"/>
          <a:lstStyle>
            <a:lvl1pPr marL="0" indent="0" algn="ctr">
              <a:buNone/>
              <a:defRPr/>
            </a:lvl1pPr>
          </a:lstStyle>
          <a:p>
            <a:r>
              <a:rPr lang="en-ES"/>
              <a:t>Logo</a:t>
            </a:r>
          </a:p>
        </p:txBody>
      </p:sp>
      <p:sp>
        <p:nvSpPr>
          <p:cNvPr id="51" name="Picture Placeholder 17">
            <a:extLst>
              <a:ext uri="{FF2B5EF4-FFF2-40B4-BE49-F238E27FC236}">
                <a16:creationId xmlns:a16="http://schemas.microsoft.com/office/drawing/2014/main" id="{A22F9B9E-694E-AFF1-3F5C-2F2C00FF4891}"/>
              </a:ext>
            </a:extLst>
          </p:cNvPr>
          <p:cNvSpPr>
            <a:spLocks noGrp="1"/>
          </p:cNvSpPr>
          <p:nvPr>
            <p:ph type="pic" sz="quarter" idx="51" hasCustomPrompt="1"/>
          </p:nvPr>
        </p:nvSpPr>
        <p:spPr>
          <a:xfrm>
            <a:off x="10080069" y="3758355"/>
            <a:ext cx="1800000" cy="1260000"/>
          </a:xfrm>
        </p:spPr>
        <p:txBody>
          <a:bodyPr anchor="ctr"/>
          <a:lstStyle>
            <a:lvl1pPr marL="0" indent="0" algn="ctr">
              <a:buNone/>
              <a:defRPr/>
            </a:lvl1pPr>
          </a:lstStyle>
          <a:p>
            <a:r>
              <a:rPr lang="en-ES"/>
              <a:t>Logo</a:t>
            </a:r>
          </a:p>
        </p:txBody>
      </p:sp>
      <p:sp>
        <p:nvSpPr>
          <p:cNvPr id="52" name="Picture Placeholder 17">
            <a:extLst>
              <a:ext uri="{FF2B5EF4-FFF2-40B4-BE49-F238E27FC236}">
                <a16:creationId xmlns:a16="http://schemas.microsoft.com/office/drawing/2014/main" id="{F420D4A9-033C-74E7-1C09-BB368E4A25AF}"/>
              </a:ext>
            </a:extLst>
          </p:cNvPr>
          <p:cNvSpPr>
            <a:spLocks noGrp="1"/>
          </p:cNvSpPr>
          <p:nvPr>
            <p:ph type="pic" sz="quarter" idx="52" hasCustomPrompt="1"/>
          </p:nvPr>
        </p:nvSpPr>
        <p:spPr>
          <a:xfrm>
            <a:off x="8250808" y="3758355"/>
            <a:ext cx="1800000" cy="1260000"/>
          </a:xfrm>
        </p:spPr>
        <p:txBody>
          <a:bodyPr anchor="ctr"/>
          <a:lstStyle>
            <a:lvl1pPr marL="0" indent="0" algn="ctr">
              <a:buNone/>
              <a:defRPr/>
            </a:lvl1pPr>
          </a:lstStyle>
          <a:p>
            <a:r>
              <a:rPr lang="en-ES"/>
              <a:t>Logo</a:t>
            </a:r>
          </a:p>
        </p:txBody>
      </p:sp>
      <p:sp>
        <p:nvSpPr>
          <p:cNvPr id="53" name="Picture Placeholder 17">
            <a:extLst>
              <a:ext uri="{FF2B5EF4-FFF2-40B4-BE49-F238E27FC236}">
                <a16:creationId xmlns:a16="http://schemas.microsoft.com/office/drawing/2014/main" id="{9CC7E13D-8A99-AB0E-9885-509A7941FF02}"/>
              </a:ext>
            </a:extLst>
          </p:cNvPr>
          <p:cNvSpPr>
            <a:spLocks noGrp="1"/>
          </p:cNvSpPr>
          <p:nvPr>
            <p:ph type="pic" sz="quarter" idx="53" hasCustomPrompt="1"/>
          </p:nvPr>
        </p:nvSpPr>
        <p:spPr>
          <a:xfrm>
            <a:off x="4592287" y="5093151"/>
            <a:ext cx="1800000" cy="1260000"/>
          </a:xfrm>
        </p:spPr>
        <p:txBody>
          <a:bodyPr anchor="ctr"/>
          <a:lstStyle>
            <a:lvl1pPr marL="0" indent="0" algn="ctr">
              <a:buNone/>
              <a:defRPr/>
            </a:lvl1pPr>
          </a:lstStyle>
          <a:p>
            <a:r>
              <a:rPr lang="en-ES"/>
              <a:t>Logo</a:t>
            </a:r>
          </a:p>
        </p:txBody>
      </p:sp>
      <p:sp>
        <p:nvSpPr>
          <p:cNvPr id="54" name="Picture Placeholder 17">
            <a:extLst>
              <a:ext uri="{FF2B5EF4-FFF2-40B4-BE49-F238E27FC236}">
                <a16:creationId xmlns:a16="http://schemas.microsoft.com/office/drawing/2014/main" id="{F3CB4409-ECB4-F09A-4930-62F037DF52D2}"/>
              </a:ext>
            </a:extLst>
          </p:cNvPr>
          <p:cNvSpPr>
            <a:spLocks noGrp="1"/>
          </p:cNvSpPr>
          <p:nvPr>
            <p:ph type="pic" sz="quarter" idx="54" hasCustomPrompt="1"/>
          </p:nvPr>
        </p:nvSpPr>
        <p:spPr>
          <a:xfrm>
            <a:off x="6421547" y="5093151"/>
            <a:ext cx="1800000" cy="1260000"/>
          </a:xfrm>
        </p:spPr>
        <p:txBody>
          <a:bodyPr anchor="ctr"/>
          <a:lstStyle>
            <a:lvl1pPr marL="0" indent="0" algn="ctr">
              <a:buNone/>
              <a:defRPr/>
            </a:lvl1pPr>
          </a:lstStyle>
          <a:p>
            <a:r>
              <a:rPr lang="en-ES"/>
              <a:t>Logo</a:t>
            </a:r>
          </a:p>
        </p:txBody>
      </p:sp>
      <p:sp>
        <p:nvSpPr>
          <p:cNvPr id="55" name="Picture Placeholder 17">
            <a:extLst>
              <a:ext uri="{FF2B5EF4-FFF2-40B4-BE49-F238E27FC236}">
                <a16:creationId xmlns:a16="http://schemas.microsoft.com/office/drawing/2014/main" id="{BDDF4C43-F188-FF85-6E93-3598A1BC85F0}"/>
              </a:ext>
            </a:extLst>
          </p:cNvPr>
          <p:cNvSpPr>
            <a:spLocks noGrp="1"/>
          </p:cNvSpPr>
          <p:nvPr>
            <p:ph type="pic" sz="quarter" idx="55" hasCustomPrompt="1"/>
          </p:nvPr>
        </p:nvSpPr>
        <p:spPr>
          <a:xfrm>
            <a:off x="10080069" y="5093151"/>
            <a:ext cx="1800000" cy="1260000"/>
          </a:xfrm>
        </p:spPr>
        <p:txBody>
          <a:bodyPr anchor="ctr"/>
          <a:lstStyle>
            <a:lvl1pPr marL="0" indent="0" algn="ctr">
              <a:buNone/>
              <a:defRPr/>
            </a:lvl1pPr>
          </a:lstStyle>
          <a:p>
            <a:r>
              <a:rPr lang="en-ES"/>
              <a:t>Logo</a:t>
            </a:r>
          </a:p>
        </p:txBody>
      </p:sp>
      <p:sp>
        <p:nvSpPr>
          <p:cNvPr id="56" name="Picture Placeholder 17">
            <a:extLst>
              <a:ext uri="{FF2B5EF4-FFF2-40B4-BE49-F238E27FC236}">
                <a16:creationId xmlns:a16="http://schemas.microsoft.com/office/drawing/2014/main" id="{553C07D7-E725-9317-3B3C-705C36372FD4}"/>
              </a:ext>
            </a:extLst>
          </p:cNvPr>
          <p:cNvSpPr>
            <a:spLocks noGrp="1"/>
          </p:cNvSpPr>
          <p:nvPr>
            <p:ph type="pic" sz="quarter" idx="56" hasCustomPrompt="1"/>
          </p:nvPr>
        </p:nvSpPr>
        <p:spPr>
          <a:xfrm>
            <a:off x="8250808" y="5093151"/>
            <a:ext cx="1800000" cy="1260000"/>
          </a:xfrm>
        </p:spPr>
        <p:txBody>
          <a:bodyPr anchor="ctr"/>
          <a:lstStyle>
            <a:lvl1pPr marL="0" indent="0" algn="ctr">
              <a:buNone/>
              <a:defRPr/>
            </a:lvl1pPr>
          </a:lstStyle>
          <a:p>
            <a:r>
              <a:rPr lang="en-ES"/>
              <a:t>Logo</a:t>
            </a:r>
          </a:p>
        </p:txBody>
      </p:sp>
    </p:spTree>
    <p:extLst>
      <p:ext uri="{BB962C8B-B14F-4D97-AF65-F5344CB8AC3E}">
        <p14:creationId xmlns:p14="http://schemas.microsoft.com/office/powerpoint/2010/main" val="5121795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CV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3CF824-0541-B29E-8E4D-682D7B6A2E1A}"/>
              </a:ext>
            </a:extLst>
          </p:cNvPr>
          <p:cNvGraphicFramePr>
            <a:graphicFrameLocks noChangeAspect="1"/>
          </p:cNvGraphicFramePr>
          <p:nvPr userDrawn="1">
            <p:custDataLst>
              <p:tags r:id="rId1"/>
            </p:custDataLst>
            <p:extLst>
              <p:ext uri="{D42A27DB-BD31-4B8C-83A1-F6EECF244321}">
                <p14:modId xmlns:p14="http://schemas.microsoft.com/office/powerpoint/2010/main" val="300874512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963CF824-0541-B29E-8E4D-682D7B6A2E1A}"/>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34" name="Slide Number Placeholder 5">
            <a:extLst>
              <a:ext uri="{FF2B5EF4-FFF2-40B4-BE49-F238E27FC236}">
                <a16:creationId xmlns:a16="http://schemas.microsoft.com/office/drawing/2014/main" id="{3E83A98D-348B-40D1-B8DE-954D062DE5ED}"/>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5" name="TextBox 34">
            <a:extLst>
              <a:ext uri="{FF2B5EF4-FFF2-40B4-BE49-F238E27FC236}">
                <a16:creationId xmlns:a16="http://schemas.microsoft.com/office/drawing/2014/main" id="{20454A9A-E833-4775-8C2D-33EB42BCE6B5}"/>
              </a:ext>
            </a:extLst>
          </p:cNvPr>
          <p:cNvSpPr txBox="1"/>
          <p:nvPr userDrawn="1"/>
        </p:nvSpPr>
        <p:spPr>
          <a:xfrm>
            <a:off x="11158233" y="6548970"/>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9" name="ZRS Logo Horozontal">
            <a:extLst>
              <a:ext uri="{FF2B5EF4-FFF2-40B4-BE49-F238E27FC236}">
                <a16:creationId xmlns:a16="http://schemas.microsoft.com/office/drawing/2014/main" id="{C3961665-A7EF-AB66-D1CA-A82B5370E1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00530" y="190545"/>
            <a:ext cx="1338812" cy="444537"/>
          </a:xfrm>
          <a:prstGeom prst="rect">
            <a:avLst/>
          </a:prstGeom>
        </p:spPr>
      </p:pic>
      <p:sp>
        <p:nvSpPr>
          <p:cNvPr id="18" name="Picture Placeholder 17">
            <a:extLst>
              <a:ext uri="{FF2B5EF4-FFF2-40B4-BE49-F238E27FC236}">
                <a16:creationId xmlns:a16="http://schemas.microsoft.com/office/drawing/2014/main" id="{832D272C-02F4-B680-76AA-6A3BB4A48DD3}"/>
              </a:ext>
            </a:extLst>
          </p:cNvPr>
          <p:cNvSpPr>
            <a:spLocks noGrp="1"/>
          </p:cNvSpPr>
          <p:nvPr>
            <p:ph type="pic" sz="quarter" idx="41" hasCustomPrompt="1"/>
          </p:nvPr>
        </p:nvSpPr>
        <p:spPr>
          <a:xfrm>
            <a:off x="4735630" y="1065541"/>
            <a:ext cx="1656657" cy="1260000"/>
          </a:xfrm>
        </p:spPr>
        <p:txBody>
          <a:bodyPr anchor="ctr"/>
          <a:lstStyle>
            <a:lvl1pPr marL="0" indent="0" algn="ctr">
              <a:buNone/>
              <a:defRPr/>
            </a:lvl1pPr>
          </a:lstStyle>
          <a:p>
            <a:r>
              <a:rPr lang="en-ES"/>
              <a:t>Logo</a:t>
            </a:r>
          </a:p>
        </p:txBody>
      </p:sp>
      <p:sp>
        <p:nvSpPr>
          <p:cNvPr id="19" name="Picture Placeholder 17">
            <a:extLst>
              <a:ext uri="{FF2B5EF4-FFF2-40B4-BE49-F238E27FC236}">
                <a16:creationId xmlns:a16="http://schemas.microsoft.com/office/drawing/2014/main" id="{237D4E57-E96F-3D1A-9E61-F743EFA2223A}"/>
              </a:ext>
            </a:extLst>
          </p:cNvPr>
          <p:cNvSpPr>
            <a:spLocks noGrp="1"/>
          </p:cNvSpPr>
          <p:nvPr>
            <p:ph type="pic" sz="quarter" idx="42" hasCustomPrompt="1"/>
          </p:nvPr>
        </p:nvSpPr>
        <p:spPr>
          <a:xfrm>
            <a:off x="6564892" y="1065541"/>
            <a:ext cx="1656657" cy="1260000"/>
          </a:xfrm>
        </p:spPr>
        <p:txBody>
          <a:bodyPr anchor="ctr"/>
          <a:lstStyle>
            <a:lvl1pPr marL="0" indent="0" algn="ctr">
              <a:buNone/>
              <a:defRPr/>
            </a:lvl1pPr>
          </a:lstStyle>
          <a:p>
            <a:r>
              <a:rPr lang="en-ES"/>
              <a:t>Logo</a:t>
            </a:r>
          </a:p>
        </p:txBody>
      </p:sp>
      <p:sp>
        <p:nvSpPr>
          <p:cNvPr id="20" name="Picture Placeholder 17">
            <a:extLst>
              <a:ext uri="{FF2B5EF4-FFF2-40B4-BE49-F238E27FC236}">
                <a16:creationId xmlns:a16="http://schemas.microsoft.com/office/drawing/2014/main" id="{D755D06B-6FD7-4CD1-CBC3-DB97608FE045}"/>
              </a:ext>
            </a:extLst>
          </p:cNvPr>
          <p:cNvSpPr>
            <a:spLocks noGrp="1"/>
          </p:cNvSpPr>
          <p:nvPr>
            <p:ph type="pic" sz="quarter" idx="43" hasCustomPrompt="1"/>
          </p:nvPr>
        </p:nvSpPr>
        <p:spPr>
          <a:xfrm>
            <a:off x="10223413" y="1065541"/>
            <a:ext cx="1656657" cy="1260000"/>
          </a:xfrm>
        </p:spPr>
        <p:txBody>
          <a:bodyPr anchor="ctr"/>
          <a:lstStyle>
            <a:lvl1pPr marL="0" indent="0" algn="ctr">
              <a:buNone/>
              <a:defRPr/>
            </a:lvl1pPr>
          </a:lstStyle>
          <a:p>
            <a:r>
              <a:rPr lang="en-ES"/>
              <a:t>Logo</a:t>
            </a:r>
          </a:p>
        </p:txBody>
      </p:sp>
      <p:sp>
        <p:nvSpPr>
          <p:cNvPr id="28" name="Picture Placeholder 17">
            <a:extLst>
              <a:ext uri="{FF2B5EF4-FFF2-40B4-BE49-F238E27FC236}">
                <a16:creationId xmlns:a16="http://schemas.microsoft.com/office/drawing/2014/main" id="{79BF6D2A-5072-4441-55B5-8A14B81C3A69}"/>
              </a:ext>
            </a:extLst>
          </p:cNvPr>
          <p:cNvSpPr>
            <a:spLocks noGrp="1"/>
          </p:cNvSpPr>
          <p:nvPr>
            <p:ph type="pic" sz="quarter" idx="44" hasCustomPrompt="1"/>
          </p:nvPr>
        </p:nvSpPr>
        <p:spPr>
          <a:xfrm>
            <a:off x="8394153" y="1065541"/>
            <a:ext cx="1656657" cy="1260000"/>
          </a:xfrm>
        </p:spPr>
        <p:txBody>
          <a:bodyPr anchor="ctr"/>
          <a:lstStyle>
            <a:lvl1pPr marL="0" indent="0" algn="ctr">
              <a:buNone/>
              <a:defRPr/>
            </a:lvl1pPr>
          </a:lstStyle>
          <a:p>
            <a:r>
              <a:rPr lang="en-ES"/>
              <a:t>Logo</a:t>
            </a:r>
          </a:p>
        </p:txBody>
      </p:sp>
      <p:sp>
        <p:nvSpPr>
          <p:cNvPr id="37" name="Picture Placeholder 17">
            <a:extLst>
              <a:ext uri="{FF2B5EF4-FFF2-40B4-BE49-F238E27FC236}">
                <a16:creationId xmlns:a16="http://schemas.microsoft.com/office/drawing/2014/main" id="{317D08E1-A169-9900-121C-DAEA25A580FF}"/>
              </a:ext>
            </a:extLst>
          </p:cNvPr>
          <p:cNvSpPr>
            <a:spLocks noGrp="1"/>
          </p:cNvSpPr>
          <p:nvPr>
            <p:ph type="pic" sz="quarter" idx="45" hasCustomPrompt="1"/>
          </p:nvPr>
        </p:nvSpPr>
        <p:spPr>
          <a:xfrm>
            <a:off x="4735630" y="2413583"/>
            <a:ext cx="1656657" cy="1260000"/>
          </a:xfrm>
        </p:spPr>
        <p:txBody>
          <a:bodyPr anchor="ctr"/>
          <a:lstStyle>
            <a:lvl1pPr marL="0" indent="0" algn="ctr">
              <a:buNone/>
              <a:defRPr/>
            </a:lvl1pPr>
          </a:lstStyle>
          <a:p>
            <a:r>
              <a:rPr lang="en-ES"/>
              <a:t>Logo</a:t>
            </a:r>
          </a:p>
        </p:txBody>
      </p:sp>
      <p:sp>
        <p:nvSpPr>
          <p:cNvPr id="38" name="Picture Placeholder 17">
            <a:extLst>
              <a:ext uri="{FF2B5EF4-FFF2-40B4-BE49-F238E27FC236}">
                <a16:creationId xmlns:a16="http://schemas.microsoft.com/office/drawing/2014/main" id="{DCFCBF48-26E0-045D-45C0-D33E345944AB}"/>
              </a:ext>
            </a:extLst>
          </p:cNvPr>
          <p:cNvSpPr>
            <a:spLocks noGrp="1"/>
          </p:cNvSpPr>
          <p:nvPr>
            <p:ph type="pic" sz="quarter" idx="46" hasCustomPrompt="1"/>
          </p:nvPr>
        </p:nvSpPr>
        <p:spPr>
          <a:xfrm>
            <a:off x="6564892" y="2413583"/>
            <a:ext cx="1656657" cy="1260000"/>
          </a:xfrm>
        </p:spPr>
        <p:txBody>
          <a:bodyPr anchor="ctr"/>
          <a:lstStyle>
            <a:lvl1pPr marL="0" indent="0" algn="ctr">
              <a:buNone/>
              <a:defRPr/>
            </a:lvl1pPr>
          </a:lstStyle>
          <a:p>
            <a:r>
              <a:rPr lang="en-ES"/>
              <a:t>Logo</a:t>
            </a:r>
          </a:p>
        </p:txBody>
      </p:sp>
      <p:sp>
        <p:nvSpPr>
          <p:cNvPr id="39" name="Picture Placeholder 17">
            <a:extLst>
              <a:ext uri="{FF2B5EF4-FFF2-40B4-BE49-F238E27FC236}">
                <a16:creationId xmlns:a16="http://schemas.microsoft.com/office/drawing/2014/main" id="{8B3E4135-FA56-DF7D-A978-D9F123524A2A}"/>
              </a:ext>
            </a:extLst>
          </p:cNvPr>
          <p:cNvSpPr>
            <a:spLocks noGrp="1"/>
          </p:cNvSpPr>
          <p:nvPr>
            <p:ph type="pic" sz="quarter" idx="47" hasCustomPrompt="1"/>
          </p:nvPr>
        </p:nvSpPr>
        <p:spPr>
          <a:xfrm>
            <a:off x="10223413" y="2413583"/>
            <a:ext cx="1656657" cy="1260000"/>
          </a:xfrm>
        </p:spPr>
        <p:txBody>
          <a:bodyPr anchor="ctr"/>
          <a:lstStyle>
            <a:lvl1pPr marL="0" indent="0" algn="ctr">
              <a:buNone/>
              <a:defRPr/>
            </a:lvl1pPr>
          </a:lstStyle>
          <a:p>
            <a:r>
              <a:rPr lang="en-ES"/>
              <a:t>Logo</a:t>
            </a:r>
          </a:p>
        </p:txBody>
      </p:sp>
      <p:sp>
        <p:nvSpPr>
          <p:cNvPr id="40" name="Picture Placeholder 17">
            <a:extLst>
              <a:ext uri="{FF2B5EF4-FFF2-40B4-BE49-F238E27FC236}">
                <a16:creationId xmlns:a16="http://schemas.microsoft.com/office/drawing/2014/main" id="{75316217-8E94-AD42-2167-EEF7174A1A12}"/>
              </a:ext>
            </a:extLst>
          </p:cNvPr>
          <p:cNvSpPr>
            <a:spLocks noGrp="1"/>
          </p:cNvSpPr>
          <p:nvPr>
            <p:ph type="pic" sz="quarter" idx="48" hasCustomPrompt="1"/>
          </p:nvPr>
        </p:nvSpPr>
        <p:spPr>
          <a:xfrm>
            <a:off x="8394153" y="2413583"/>
            <a:ext cx="1656657" cy="1260000"/>
          </a:xfrm>
        </p:spPr>
        <p:txBody>
          <a:bodyPr anchor="ctr"/>
          <a:lstStyle>
            <a:lvl1pPr marL="0" indent="0" algn="ctr">
              <a:buNone/>
              <a:defRPr/>
            </a:lvl1pPr>
          </a:lstStyle>
          <a:p>
            <a:r>
              <a:rPr lang="en-ES"/>
              <a:t>Logo</a:t>
            </a:r>
          </a:p>
        </p:txBody>
      </p:sp>
      <p:sp>
        <p:nvSpPr>
          <p:cNvPr id="49" name="Picture Placeholder 17">
            <a:extLst>
              <a:ext uri="{FF2B5EF4-FFF2-40B4-BE49-F238E27FC236}">
                <a16:creationId xmlns:a16="http://schemas.microsoft.com/office/drawing/2014/main" id="{B592B284-FC61-CE16-A736-89CB7CA61858}"/>
              </a:ext>
            </a:extLst>
          </p:cNvPr>
          <p:cNvSpPr>
            <a:spLocks noGrp="1"/>
          </p:cNvSpPr>
          <p:nvPr>
            <p:ph type="pic" sz="quarter" idx="49" hasCustomPrompt="1"/>
          </p:nvPr>
        </p:nvSpPr>
        <p:spPr>
          <a:xfrm>
            <a:off x="4735630" y="3758355"/>
            <a:ext cx="1656657" cy="1260000"/>
          </a:xfrm>
        </p:spPr>
        <p:txBody>
          <a:bodyPr anchor="ctr"/>
          <a:lstStyle>
            <a:lvl1pPr marL="0" indent="0" algn="ctr">
              <a:buNone/>
              <a:defRPr/>
            </a:lvl1pPr>
          </a:lstStyle>
          <a:p>
            <a:r>
              <a:rPr lang="en-ES"/>
              <a:t>Logo</a:t>
            </a:r>
          </a:p>
        </p:txBody>
      </p:sp>
      <p:sp>
        <p:nvSpPr>
          <p:cNvPr id="50" name="Picture Placeholder 17">
            <a:extLst>
              <a:ext uri="{FF2B5EF4-FFF2-40B4-BE49-F238E27FC236}">
                <a16:creationId xmlns:a16="http://schemas.microsoft.com/office/drawing/2014/main" id="{9268D160-62DC-4169-4ED4-4DA61BA6EEEA}"/>
              </a:ext>
            </a:extLst>
          </p:cNvPr>
          <p:cNvSpPr>
            <a:spLocks noGrp="1"/>
          </p:cNvSpPr>
          <p:nvPr>
            <p:ph type="pic" sz="quarter" idx="50" hasCustomPrompt="1"/>
          </p:nvPr>
        </p:nvSpPr>
        <p:spPr>
          <a:xfrm>
            <a:off x="6564892" y="3758355"/>
            <a:ext cx="1656657" cy="1260000"/>
          </a:xfrm>
        </p:spPr>
        <p:txBody>
          <a:bodyPr anchor="ctr"/>
          <a:lstStyle>
            <a:lvl1pPr marL="0" indent="0" algn="ctr">
              <a:buNone/>
              <a:defRPr/>
            </a:lvl1pPr>
          </a:lstStyle>
          <a:p>
            <a:r>
              <a:rPr lang="en-ES"/>
              <a:t>Logo</a:t>
            </a:r>
          </a:p>
        </p:txBody>
      </p:sp>
      <p:sp>
        <p:nvSpPr>
          <p:cNvPr id="51" name="Picture Placeholder 17">
            <a:extLst>
              <a:ext uri="{FF2B5EF4-FFF2-40B4-BE49-F238E27FC236}">
                <a16:creationId xmlns:a16="http://schemas.microsoft.com/office/drawing/2014/main" id="{A22F9B9E-694E-AFF1-3F5C-2F2C00FF4891}"/>
              </a:ext>
            </a:extLst>
          </p:cNvPr>
          <p:cNvSpPr>
            <a:spLocks noGrp="1"/>
          </p:cNvSpPr>
          <p:nvPr>
            <p:ph type="pic" sz="quarter" idx="51" hasCustomPrompt="1"/>
          </p:nvPr>
        </p:nvSpPr>
        <p:spPr>
          <a:xfrm>
            <a:off x="10223413" y="3758355"/>
            <a:ext cx="1656657" cy="1260000"/>
          </a:xfrm>
        </p:spPr>
        <p:txBody>
          <a:bodyPr anchor="ctr"/>
          <a:lstStyle>
            <a:lvl1pPr marL="0" indent="0" algn="ctr">
              <a:buNone/>
              <a:defRPr/>
            </a:lvl1pPr>
          </a:lstStyle>
          <a:p>
            <a:r>
              <a:rPr lang="en-ES"/>
              <a:t>Logo</a:t>
            </a:r>
          </a:p>
        </p:txBody>
      </p:sp>
      <p:sp>
        <p:nvSpPr>
          <p:cNvPr id="52" name="Picture Placeholder 17">
            <a:extLst>
              <a:ext uri="{FF2B5EF4-FFF2-40B4-BE49-F238E27FC236}">
                <a16:creationId xmlns:a16="http://schemas.microsoft.com/office/drawing/2014/main" id="{F420D4A9-033C-74E7-1C09-BB368E4A25AF}"/>
              </a:ext>
            </a:extLst>
          </p:cNvPr>
          <p:cNvSpPr>
            <a:spLocks noGrp="1"/>
          </p:cNvSpPr>
          <p:nvPr>
            <p:ph type="pic" sz="quarter" idx="52" hasCustomPrompt="1"/>
          </p:nvPr>
        </p:nvSpPr>
        <p:spPr>
          <a:xfrm>
            <a:off x="8394153" y="3758355"/>
            <a:ext cx="1656657" cy="1260000"/>
          </a:xfrm>
        </p:spPr>
        <p:txBody>
          <a:bodyPr anchor="ctr"/>
          <a:lstStyle>
            <a:lvl1pPr marL="0" indent="0" algn="ctr">
              <a:buNone/>
              <a:defRPr/>
            </a:lvl1pPr>
          </a:lstStyle>
          <a:p>
            <a:r>
              <a:rPr lang="en-ES"/>
              <a:t>Logo</a:t>
            </a:r>
          </a:p>
        </p:txBody>
      </p:sp>
      <p:sp>
        <p:nvSpPr>
          <p:cNvPr id="53" name="Picture Placeholder 17">
            <a:extLst>
              <a:ext uri="{FF2B5EF4-FFF2-40B4-BE49-F238E27FC236}">
                <a16:creationId xmlns:a16="http://schemas.microsoft.com/office/drawing/2014/main" id="{9CC7E13D-8A99-AB0E-9885-509A7941FF02}"/>
              </a:ext>
            </a:extLst>
          </p:cNvPr>
          <p:cNvSpPr>
            <a:spLocks noGrp="1"/>
          </p:cNvSpPr>
          <p:nvPr>
            <p:ph type="pic" sz="quarter" idx="53" hasCustomPrompt="1"/>
          </p:nvPr>
        </p:nvSpPr>
        <p:spPr>
          <a:xfrm>
            <a:off x="4735630" y="5093151"/>
            <a:ext cx="1656657" cy="1260000"/>
          </a:xfrm>
        </p:spPr>
        <p:txBody>
          <a:bodyPr anchor="ctr"/>
          <a:lstStyle>
            <a:lvl1pPr marL="0" indent="0" algn="ctr">
              <a:buNone/>
              <a:defRPr/>
            </a:lvl1pPr>
          </a:lstStyle>
          <a:p>
            <a:r>
              <a:rPr lang="en-ES"/>
              <a:t>Logo</a:t>
            </a:r>
          </a:p>
        </p:txBody>
      </p:sp>
      <p:sp>
        <p:nvSpPr>
          <p:cNvPr id="54" name="Picture Placeholder 17">
            <a:extLst>
              <a:ext uri="{FF2B5EF4-FFF2-40B4-BE49-F238E27FC236}">
                <a16:creationId xmlns:a16="http://schemas.microsoft.com/office/drawing/2014/main" id="{F3CB4409-ECB4-F09A-4930-62F037DF52D2}"/>
              </a:ext>
            </a:extLst>
          </p:cNvPr>
          <p:cNvSpPr>
            <a:spLocks noGrp="1"/>
          </p:cNvSpPr>
          <p:nvPr>
            <p:ph type="pic" sz="quarter" idx="54" hasCustomPrompt="1"/>
          </p:nvPr>
        </p:nvSpPr>
        <p:spPr>
          <a:xfrm>
            <a:off x="6564892" y="5093151"/>
            <a:ext cx="1656657" cy="1260000"/>
          </a:xfrm>
        </p:spPr>
        <p:txBody>
          <a:bodyPr anchor="ctr"/>
          <a:lstStyle>
            <a:lvl1pPr marL="0" indent="0" algn="ctr">
              <a:buNone/>
              <a:defRPr/>
            </a:lvl1pPr>
          </a:lstStyle>
          <a:p>
            <a:r>
              <a:rPr lang="en-ES"/>
              <a:t>Logo</a:t>
            </a:r>
          </a:p>
        </p:txBody>
      </p:sp>
      <p:sp>
        <p:nvSpPr>
          <p:cNvPr id="55" name="Picture Placeholder 17">
            <a:extLst>
              <a:ext uri="{FF2B5EF4-FFF2-40B4-BE49-F238E27FC236}">
                <a16:creationId xmlns:a16="http://schemas.microsoft.com/office/drawing/2014/main" id="{BDDF4C43-F188-FF85-6E93-3598A1BC85F0}"/>
              </a:ext>
            </a:extLst>
          </p:cNvPr>
          <p:cNvSpPr>
            <a:spLocks noGrp="1"/>
          </p:cNvSpPr>
          <p:nvPr>
            <p:ph type="pic" sz="quarter" idx="55" hasCustomPrompt="1"/>
          </p:nvPr>
        </p:nvSpPr>
        <p:spPr>
          <a:xfrm>
            <a:off x="10223413" y="5093151"/>
            <a:ext cx="1656657" cy="1260000"/>
          </a:xfrm>
        </p:spPr>
        <p:txBody>
          <a:bodyPr anchor="ctr"/>
          <a:lstStyle>
            <a:lvl1pPr marL="0" indent="0" algn="ctr">
              <a:buNone/>
              <a:defRPr/>
            </a:lvl1pPr>
          </a:lstStyle>
          <a:p>
            <a:r>
              <a:rPr lang="en-ES"/>
              <a:t>Logo</a:t>
            </a:r>
          </a:p>
        </p:txBody>
      </p:sp>
      <p:sp>
        <p:nvSpPr>
          <p:cNvPr id="56" name="Picture Placeholder 17">
            <a:extLst>
              <a:ext uri="{FF2B5EF4-FFF2-40B4-BE49-F238E27FC236}">
                <a16:creationId xmlns:a16="http://schemas.microsoft.com/office/drawing/2014/main" id="{553C07D7-E725-9317-3B3C-705C36372FD4}"/>
              </a:ext>
            </a:extLst>
          </p:cNvPr>
          <p:cNvSpPr>
            <a:spLocks noGrp="1"/>
          </p:cNvSpPr>
          <p:nvPr>
            <p:ph type="pic" sz="quarter" idx="56" hasCustomPrompt="1"/>
          </p:nvPr>
        </p:nvSpPr>
        <p:spPr>
          <a:xfrm>
            <a:off x="8394153" y="5093151"/>
            <a:ext cx="1656657" cy="1260000"/>
          </a:xfrm>
        </p:spPr>
        <p:txBody>
          <a:bodyPr anchor="ctr"/>
          <a:lstStyle>
            <a:lvl1pPr marL="0" indent="0" algn="ctr">
              <a:buNone/>
              <a:defRPr/>
            </a:lvl1pPr>
          </a:lstStyle>
          <a:p>
            <a:r>
              <a:rPr lang="en-ES"/>
              <a:t>Logo</a:t>
            </a:r>
          </a:p>
        </p:txBody>
      </p:sp>
      <p:sp>
        <p:nvSpPr>
          <p:cNvPr id="41" name="Rectangle 40">
            <a:extLst>
              <a:ext uri="{FF2B5EF4-FFF2-40B4-BE49-F238E27FC236}">
                <a16:creationId xmlns:a16="http://schemas.microsoft.com/office/drawing/2014/main" id="{754EE59B-5C77-88E9-80E3-792645B6EBD1}"/>
              </a:ext>
            </a:extLst>
          </p:cNvPr>
          <p:cNvSpPr/>
          <p:nvPr userDrawn="1"/>
        </p:nvSpPr>
        <p:spPr>
          <a:xfrm>
            <a:off x="1" y="1061969"/>
            <a:ext cx="4563025" cy="529118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algn="ctr"/>
            <a:endParaRPr lang="en-US" sz="1000">
              <a:latin typeface="+mn-lt"/>
              <a:cs typeface="Arial" panose="020B0604020202020204" pitchFamily="34" charset="0"/>
            </a:endParaRPr>
          </a:p>
        </p:txBody>
      </p:sp>
      <p:sp>
        <p:nvSpPr>
          <p:cNvPr id="47" name="TextBox 46">
            <a:extLst>
              <a:ext uri="{FF2B5EF4-FFF2-40B4-BE49-F238E27FC236}">
                <a16:creationId xmlns:a16="http://schemas.microsoft.com/office/drawing/2014/main" id="{6084030C-9202-B5A9-7941-39A84B3261DF}"/>
              </a:ext>
            </a:extLst>
          </p:cNvPr>
          <p:cNvSpPr txBox="1"/>
          <p:nvPr userDrawn="1"/>
        </p:nvSpPr>
        <p:spPr>
          <a:xfrm>
            <a:off x="138019" y="1007980"/>
            <a:ext cx="820555" cy="1938672"/>
          </a:xfrm>
          <a:prstGeom prst="rect">
            <a:avLst/>
          </a:prstGeom>
          <a:noFill/>
        </p:spPr>
        <p:txBody>
          <a:bodyPr wrap="square">
            <a:spAutoFit/>
          </a:bodyPr>
          <a:lstStyle/>
          <a:p>
            <a:r>
              <a:rPr lang="en-GB" sz="11998">
                <a:solidFill>
                  <a:schemeClr val="accent1"/>
                </a:solidFill>
                <a:latin typeface="Ogg" panose="02090504080706030203" pitchFamily="18" charset="77"/>
              </a:rPr>
              <a:t>“</a:t>
            </a:r>
            <a:endParaRPr lang="en-ES" sz="11998">
              <a:solidFill>
                <a:schemeClr val="accent1"/>
              </a:solidFill>
              <a:latin typeface="Ogg" panose="02090504080706030203" pitchFamily="18" charset="77"/>
            </a:endParaRPr>
          </a:p>
        </p:txBody>
      </p:sp>
      <p:sp>
        <p:nvSpPr>
          <p:cNvPr id="65" name="Content Placeholder 2">
            <a:extLst>
              <a:ext uri="{FF2B5EF4-FFF2-40B4-BE49-F238E27FC236}">
                <a16:creationId xmlns:a16="http://schemas.microsoft.com/office/drawing/2014/main" id="{F4176033-91C1-C188-8627-5F9CAD8F2E5A}"/>
              </a:ext>
            </a:extLst>
          </p:cNvPr>
          <p:cNvSpPr>
            <a:spLocks noGrp="1"/>
          </p:cNvSpPr>
          <p:nvPr>
            <p:ph idx="1" hasCustomPrompt="1"/>
          </p:nvPr>
        </p:nvSpPr>
        <p:spPr>
          <a:xfrm>
            <a:off x="981391" y="1266317"/>
            <a:ext cx="3213701" cy="732761"/>
          </a:xfrm>
        </p:spPr>
        <p:txBody>
          <a:bodyPr lIns="0" tIns="0" rIns="0" bIns="0"/>
          <a:lstStyle>
            <a:lvl1pPr marL="0" indent="0">
              <a:buNone/>
              <a:defRPr sz="1800" b="0" i="1">
                <a:latin typeface="Zurich Sans Light" panose="02000000000000000000" pitchFamily="2" charset="0"/>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Quote</a:t>
            </a:r>
          </a:p>
        </p:txBody>
      </p:sp>
      <p:sp>
        <p:nvSpPr>
          <p:cNvPr id="66" name="Content Placeholder 2">
            <a:extLst>
              <a:ext uri="{FF2B5EF4-FFF2-40B4-BE49-F238E27FC236}">
                <a16:creationId xmlns:a16="http://schemas.microsoft.com/office/drawing/2014/main" id="{6E234A7C-234A-3809-54C3-EB1C2CD3F4B0}"/>
              </a:ext>
            </a:extLst>
          </p:cNvPr>
          <p:cNvSpPr>
            <a:spLocks noGrp="1"/>
          </p:cNvSpPr>
          <p:nvPr>
            <p:ph idx="32" hasCustomPrompt="1"/>
          </p:nvPr>
        </p:nvSpPr>
        <p:spPr>
          <a:xfrm>
            <a:off x="981393" y="2130997"/>
            <a:ext cx="3205599" cy="194544"/>
          </a:xfrm>
        </p:spPr>
        <p:txBody>
          <a:bodyPr lIns="0" tIns="0" rIns="0" bIns="0"/>
          <a:lstStyle>
            <a:lvl1pPr marL="0" indent="0">
              <a:buNone/>
              <a:defRPr sz="12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Name</a:t>
            </a:r>
          </a:p>
        </p:txBody>
      </p:sp>
      <p:sp>
        <p:nvSpPr>
          <p:cNvPr id="67" name="Content Placeholder 2">
            <a:extLst>
              <a:ext uri="{FF2B5EF4-FFF2-40B4-BE49-F238E27FC236}">
                <a16:creationId xmlns:a16="http://schemas.microsoft.com/office/drawing/2014/main" id="{FF32CC2C-E1B5-46CC-F151-1F2AD991AEB1}"/>
              </a:ext>
            </a:extLst>
          </p:cNvPr>
          <p:cNvSpPr>
            <a:spLocks noGrp="1"/>
          </p:cNvSpPr>
          <p:nvPr>
            <p:ph idx="34" hasCustomPrompt="1"/>
          </p:nvPr>
        </p:nvSpPr>
        <p:spPr>
          <a:xfrm>
            <a:off x="981393" y="2362104"/>
            <a:ext cx="3205599" cy="214005"/>
          </a:xfrm>
        </p:spPr>
        <p:txBody>
          <a:bodyPr lIns="0" tIns="0" rIns="0" bIns="0"/>
          <a:lstStyle>
            <a:lvl1pPr marL="0" indent="0">
              <a:buNone/>
              <a:defRPr sz="11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r>
              <a:rPr lang="en-ES" sz="1200"/>
              <a:t>Risk Manager at </a:t>
            </a:r>
            <a:r>
              <a:rPr lang="en-ES" sz="1200">
                <a:latin typeface="+mj-lt"/>
              </a:rPr>
              <a:t>Maersk</a:t>
            </a:r>
          </a:p>
        </p:txBody>
      </p:sp>
      <p:sp>
        <p:nvSpPr>
          <p:cNvPr id="71" name="Content Placeholder 2">
            <a:extLst>
              <a:ext uri="{FF2B5EF4-FFF2-40B4-BE49-F238E27FC236}">
                <a16:creationId xmlns:a16="http://schemas.microsoft.com/office/drawing/2014/main" id="{CCDE357B-7664-21FE-26E6-EE652B32A526}"/>
              </a:ext>
            </a:extLst>
          </p:cNvPr>
          <p:cNvSpPr>
            <a:spLocks noGrp="1"/>
          </p:cNvSpPr>
          <p:nvPr>
            <p:ph idx="57" hasCustomPrompt="1"/>
          </p:nvPr>
        </p:nvSpPr>
        <p:spPr>
          <a:xfrm>
            <a:off x="987920" y="3070454"/>
            <a:ext cx="3213701" cy="732761"/>
          </a:xfrm>
        </p:spPr>
        <p:txBody>
          <a:bodyPr lIns="0" tIns="0" rIns="0" bIns="0"/>
          <a:lstStyle>
            <a:lvl1pPr marL="0" indent="0">
              <a:buNone/>
              <a:defRPr sz="1800" b="0" i="1">
                <a:latin typeface="Zurich Sans Light" panose="02000000000000000000" pitchFamily="2" charset="0"/>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Quote</a:t>
            </a:r>
          </a:p>
        </p:txBody>
      </p:sp>
      <p:sp>
        <p:nvSpPr>
          <p:cNvPr id="72" name="Content Placeholder 2">
            <a:extLst>
              <a:ext uri="{FF2B5EF4-FFF2-40B4-BE49-F238E27FC236}">
                <a16:creationId xmlns:a16="http://schemas.microsoft.com/office/drawing/2014/main" id="{78EF045E-7CD3-A290-F1A3-E87ECAF148C6}"/>
              </a:ext>
            </a:extLst>
          </p:cNvPr>
          <p:cNvSpPr>
            <a:spLocks noGrp="1"/>
          </p:cNvSpPr>
          <p:nvPr>
            <p:ph idx="58" hasCustomPrompt="1"/>
          </p:nvPr>
        </p:nvSpPr>
        <p:spPr>
          <a:xfrm>
            <a:off x="987921" y="3935135"/>
            <a:ext cx="3205599" cy="194544"/>
          </a:xfrm>
        </p:spPr>
        <p:txBody>
          <a:bodyPr lIns="0" tIns="0" rIns="0" bIns="0"/>
          <a:lstStyle>
            <a:lvl1pPr marL="0" indent="0">
              <a:buNone/>
              <a:defRPr sz="12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Name</a:t>
            </a:r>
          </a:p>
        </p:txBody>
      </p:sp>
      <p:sp>
        <p:nvSpPr>
          <p:cNvPr id="73" name="Content Placeholder 2">
            <a:extLst>
              <a:ext uri="{FF2B5EF4-FFF2-40B4-BE49-F238E27FC236}">
                <a16:creationId xmlns:a16="http://schemas.microsoft.com/office/drawing/2014/main" id="{2B386AA4-2088-F827-5334-9E1DB49D619A}"/>
              </a:ext>
            </a:extLst>
          </p:cNvPr>
          <p:cNvSpPr>
            <a:spLocks noGrp="1"/>
          </p:cNvSpPr>
          <p:nvPr>
            <p:ph idx="59" hasCustomPrompt="1"/>
          </p:nvPr>
        </p:nvSpPr>
        <p:spPr>
          <a:xfrm>
            <a:off x="987921" y="4166240"/>
            <a:ext cx="3205599" cy="214005"/>
          </a:xfrm>
        </p:spPr>
        <p:txBody>
          <a:bodyPr lIns="0" tIns="0" rIns="0" bIns="0"/>
          <a:lstStyle>
            <a:lvl1pPr marL="0" indent="0">
              <a:buNone/>
              <a:defRPr sz="11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r>
              <a:rPr lang="en-ES" sz="1200"/>
              <a:t>Risk Manager at </a:t>
            </a:r>
            <a:r>
              <a:rPr lang="en-ES" sz="1200">
                <a:latin typeface="+mj-lt"/>
              </a:rPr>
              <a:t>Maersk</a:t>
            </a:r>
          </a:p>
        </p:txBody>
      </p:sp>
      <p:sp>
        <p:nvSpPr>
          <p:cNvPr id="77" name="Content Placeholder 2">
            <a:extLst>
              <a:ext uri="{FF2B5EF4-FFF2-40B4-BE49-F238E27FC236}">
                <a16:creationId xmlns:a16="http://schemas.microsoft.com/office/drawing/2014/main" id="{1F7285FE-56A0-73FF-AA4B-0F5B71461DDC}"/>
              </a:ext>
            </a:extLst>
          </p:cNvPr>
          <p:cNvSpPr>
            <a:spLocks noGrp="1"/>
          </p:cNvSpPr>
          <p:nvPr>
            <p:ph idx="60" hasCustomPrompt="1"/>
          </p:nvPr>
        </p:nvSpPr>
        <p:spPr>
          <a:xfrm>
            <a:off x="987920" y="4829316"/>
            <a:ext cx="3213701" cy="732761"/>
          </a:xfrm>
        </p:spPr>
        <p:txBody>
          <a:bodyPr lIns="0" tIns="0" rIns="0" bIns="0"/>
          <a:lstStyle>
            <a:lvl1pPr marL="0" indent="0">
              <a:buNone/>
              <a:defRPr sz="1800" b="0" i="1">
                <a:latin typeface="Zurich Sans Light" panose="02000000000000000000" pitchFamily="2" charset="0"/>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Quote</a:t>
            </a:r>
          </a:p>
        </p:txBody>
      </p:sp>
      <p:sp>
        <p:nvSpPr>
          <p:cNvPr id="78" name="Content Placeholder 2">
            <a:extLst>
              <a:ext uri="{FF2B5EF4-FFF2-40B4-BE49-F238E27FC236}">
                <a16:creationId xmlns:a16="http://schemas.microsoft.com/office/drawing/2014/main" id="{AC2476B3-CD00-EFA0-8CF7-F16ED3D54A51}"/>
              </a:ext>
            </a:extLst>
          </p:cNvPr>
          <p:cNvSpPr>
            <a:spLocks noGrp="1"/>
          </p:cNvSpPr>
          <p:nvPr>
            <p:ph idx="61" hasCustomPrompt="1"/>
          </p:nvPr>
        </p:nvSpPr>
        <p:spPr>
          <a:xfrm>
            <a:off x="987921" y="5693995"/>
            <a:ext cx="3205599" cy="194544"/>
          </a:xfrm>
        </p:spPr>
        <p:txBody>
          <a:bodyPr lIns="0" tIns="0" rIns="0" bIns="0"/>
          <a:lstStyle>
            <a:lvl1pPr marL="0" indent="0">
              <a:buNone/>
              <a:defRPr sz="12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GB"/>
              <a:t>Name</a:t>
            </a:r>
          </a:p>
        </p:txBody>
      </p:sp>
      <p:sp>
        <p:nvSpPr>
          <p:cNvPr id="79" name="Content Placeholder 2">
            <a:extLst>
              <a:ext uri="{FF2B5EF4-FFF2-40B4-BE49-F238E27FC236}">
                <a16:creationId xmlns:a16="http://schemas.microsoft.com/office/drawing/2014/main" id="{945C9798-C7D0-07AE-1D62-E5CB5BB59DD6}"/>
              </a:ext>
            </a:extLst>
          </p:cNvPr>
          <p:cNvSpPr>
            <a:spLocks noGrp="1"/>
          </p:cNvSpPr>
          <p:nvPr>
            <p:ph idx="62" hasCustomPrompt="1"/>
          </p:nvPr>
        </p:nvSpPr>
        <p:spPr>
          <a:xfrm>
            <a:off x="987921" y="5925102"/>
            <a:ext cx="3205599" cy="214005"/>
          </a:xfrm>
        </p:spPr>
        <p:txBody>
          <a:bodyPr lIns="0" tIns="0" rIns="0" bIns="0"/>
          <a:lstStyle>
            <a:lvl1pPr marL="0" indent="0">
              <a:buNone/>
              <a:defRPr sz="11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r>
              <a:rPr lang="en-ES" sz="1200"/>
              <a:t>Risk Manager at </a:t>
            </a:r>
            <a:r>
              <a:rPr lang="en-ES" sz="1200">
                <a:latin typeface="+mj-lt"/>
              </a:rPr>
              <a:t>Maersk</a:t>
            </a:r>
          </a:p>
        </p:txBody>
      </p:sp>
      <p:sp>
        <p:nvSpPr>
          <p:cNvPr id="84" name="Title 83">
            <a:extLst>
              <a:ext uri="{FF2B5EF4-FFF2-40B4-BE49-F238E27FC236}">
                <a16:creationId xmlns:a16="http://schemas.microsoft.com/office/drawing/2014/main" id="{E7627C6D-B9FE-7B99-F592-003774B35172}"/>
              </a:ext>
            </a:extLst>
          </p:cNvPr>
          <p:cNvSpPr>
            <a:spLocks noGrp="1"/>
          </p:cNvSpPr>
          <p:nvPr>
            <p:ph type="title"/>
          </p:nvPr>
        </p:nvSpPr>
        <p:spPr/>
        <p:txBody>
          <a:bodyPr/>
          <a:lstStyle/>
          <a:p>
            <a:r>
              <a:rPr lang="en-GB"/>
              <a:t>Click to edit Master title style</a:t>
            </a:r>
            <a:endParaRPr lang="en-ES"/>
          </a:p>
        </p:txBody>
      </p:sp>
      <p:sp>
        <p:nvSpPr>
          <p:cNvPr id="102" name="Picture Placeholder 17">
            <a:extLst>
              <a:ext uri="{FF2B5EF4-FFF2-40B4-BE49-F238E27FC236}">
                <a16:creationId xmlns:a16="http://schemas.microsoft.com/office/drawing/2014/main" id="{3A4FC8A6-4A7C-EF59-E841-7B576B65D847}"/>
              </a:ext>
            </a:extLst>
          </p:cNvPr>
          <p:cNvSpPr>
            <a:spLocks noGrp="1"/>
          </p:cNvSpPr>
          <p:nvPr>
            <p:ph type="pic" sz="quarter" idx="65" hasCustomPrompt="1"/>
          </p:nvPr>
        </p:nvSpPr>
        <p:spPr>
          <a:xfrm>
            <a:off x="4735628" y="763732"/>
            <a:ext cx="7144441" cy="298237"/>
          </a:xfrm>
        </p:spPr>
        <p:txBody>
          <a:bodyPr anchor="ctr"/>
          <a:lstStyle>
            <a:lvl1pPr marL="0" indent="0" algn="ctr">
              <a:buNone/>
              <a:defRPr sz="900"/>
            </a:lvl1pPr>
          </a:lstStyle>
          <a:p>
            <a:r>
              <a:rPr lang="en-GB"/>
              <a:t>Space for Customer logos categorized by industry</a:t>
            </a:r>
          </a:p>
        </p:txBody>
      </p:sp>
    </p:spTree>
    <p:extLst>
      <p:ext uri="{BB962C8B-B14F-4D97-AF65-F5344CB8AC3E}">
        <p14:creationId xmlns:p14="http://schemas.microsoft.com/office/powerpoint/2010/main" val="266816984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9_Title, text box and circle for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7DD7A45-623E-C4E3-0294-9882B7AE0134}"/>
              </a:ext>
            </a:extLst>
          </p:cNvPr>
          <p:cNvSpPr/>
          <p:nvPr userDrawn="1"/>
        </p:nvSpPr>
        <p:spPr>
          <a:xfrm>
            <a:off x="6477123" y="1472814"/>
            <a:ext cx="5061071" cy="445776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algn="ctr"/>
            <a:endParaRPr lang="en-US" sz="1000"/>
          </a:p>
        </p:txBody>
      </p:sp>
      <p:sp>
        <p:nvSpPr>
          <p:cNvPr id="8" name="Rectangle 7">
            <a:extLst>
              <a:ext uri="{FF2B5EF4-FFF2-40B4-BE49-F238E27FC236}">
                <a16:creationId xmlns:a16="http://schemas.microsoft.com/office/drawing/2014/main" id="{664571A8-8105-FCE4-5A5E-2EE1DE80D1CA}"/>
              </a:ext>
            </a:extLst>
          </p:cNvPr>
          <p:cNvSpPr/>
          <p:nvPr userDrawn="1"/>
        </p:nvSpPr>
        <p:spPr>
          <a:xfrm>
            <a:off x="653810" y="1472814"/>
            <a:ext cx="5061071" cy="445776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algn="ctr"/>
            <a:endParaRPr lang="en-US" sz="1000"/>
          </a:p>
        </p:txBody>
      </p:sp>
      <p:graphicFrame>
        <p:nvGraphicFramePr>
          <p:cNvPr id="5" name="Object 4" hidden="1">
            <a:extLst>
              <a:ext uri="{FF2B5EF4-FFF2-40B4-BE49-F238E27FC236}">
                <a16:creationId xmlns:a16="http://schemas.microsoft.com/office/drawing/2014/main" id="{E968A405-2ADD-CD83-F2C5-E4C87A464DCC}"/>
              </a:ext>
            </a:extLst>
          </p:cNvPr>
          <p:cNvGraphicFramePr>
            <a:graphicFrameLocks noChangeAspect="1"/>
          </p:cNvGraphicFramePr>
          <p:nvPr userDrawn="1">
            <p:custDataLst>
              <p:tags r:id="rId1"/>
            </p:custDataLst>
            <p:extLst>
              <p:ext uri="{D42A27DB-BD31-4B8C-83A1-F6EECF244321}">
                <p14:modId xmlns:p14="http://schemas.microsoft.com/office/powerpoint/2010/main" val="51524010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E968A405-2ADD-CD83-F2C5-E4C87A464DCC}"/>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9" name="Picture Placeholder 2">
            <a:extLst>
              <a:ext uri="{FF2B5EF4-FFF2-40B4-BE49-F238E27FC236}">
                <a16:creationId xmlns:a16="http://schemas.microsoft.com/office/drawing/2014/main" id="{E1605E3C-D76A-4678-9277-BF9E20857561}"/>
              </a:ext>
            </a:extLst>
          </p:cNvPr>
          <p:cNvSpPr>
            <a:spLocks noGrp="1"/>
          </p:cNvSpPr>
          <p:nvPr>
            <p:ph type="pic" sz="quarter" idx="13" hasCustomPrompt="1"/>
          </p:nvPr>
        </p:nvSpPr>
        <p:spPr>
          <a:xfrm>
            <a:off x="4082255" y="957894"/>
            <a:ext cx="1383476" cy="1383476"/>
          </a:xfrm>
          <a:prstGeom prst="ellipse">
            <a:avLst/>
          </a:prstGeom>
        </p:spPr>
        <p:txBody>
          <a:bodyPr/>
          <a:lstStyle>
            <a:lvl1pPr marL="6349" indent="-6349" algn="ctr">
              <a:buNone/>
              <a:tabLst/>
              <a:defRPr sz="1400" b="0" i="0">
                <a:solidFill>
                  <a:srgbClr val="1C67AF"/>
                </a:solidFill>
                <a:latin typeface="+mn-lt"/>
                <a:cs typeface="Arial" panose="020B0604020202020204" pitchFamily="34" charset="0"/>
              </a:defRPr>
            </a:lvl1pPr>
          </a:lstStyle>
          <a:p>
            <a:r>
              <a:rPr lang="en-US" noProof="0"/>
              <a:t>Add a picture here</a:t>
            </a:r>
          </a:p>
        </p:txBody>
      </p:sp>
      <p:sp>
        <p:nvSpPr>
          <p:cNvPr id="13" name="Content Placeholder 2">
            <a:extLst>
              <a:ext uri="{FF2B5EF4-FFF2-40B4-BE49-F238E27FC236}">
                <a16:creationId xmlns:a16="http://schemas.microsoft.com/office/drawing/2014/main" id="{484EE1B1-3BF4-1E8C-503B-B5EB2EE730E7}"/>
              </a:ext>
            </a:extLst>
          </p:cNvPr>
          <p:cNvSpPr>
            <a:spLocks noGrp="1"/>
          </p:cNvSpPr>
          <p:nvPr userDrawn="1">
            <p:ph idx="1" hasCustomPrompt="1"/>
          </p:nvPr>
        </p:nvSpPr>
        <p:spPr>
          <a:xfrm>
            <a:off x="867188" y="3153967"/>
            <a:ext cx="4598545" cy="2152549"/>
          </a:xfrm>
        </p:spPr>
        <p:txBody>
          <a:bodyPr lIns="0" tIns="0" rIns="0" bIns="0"/>
          <a:lstStyle>
            <a:lvl1pPr marL="0" indent="0">
              <a:spcAft>
                <a:spcPts val="600"/>
              </a:spcAft>
              <a:buNone/>
              <a:defRPr sz="1000">
                <a:solidFill>
                  <a:schemeClr val="accent1"/>
                </a:solidFill>
                <a:latin typeface="+mn-lt"/>
                <a:cs typeface="Arial" panose="020B0604020202020204" pitchFamily="34" charset="0"/>
              </a:defRPr>
            </a:lvl1pPr>
            <a:lvl2pPr>
              <a:defRPr sz="1600">
                <a:solidFill>
                  <a:schemeClr val="accent1"/>
                </a:solidFill>
                <a:latin typeface="+mn-lt"/>
                <a:cs typeface="Arial" panose="020B0604020202020204" pitchFamily="34" charset="0"/>
              </a:defRPr>
            </a:lvl2pPr>
            <a:lvl3pPr>
              <a:defRPr sz="1600">
                <a:solidFill>
                  <a:schemeClr val="accent1"/>
                </a:solidFill>
                <a:latin typeface="+mn-lt"/>
                <a:cs typeface="Arial" panose="020B0604020202020204" pitchFamily="34" charset="0"/>
              </a:defRPr>
            </a:lvl3pPr>
            <a:lvl4pPr>
              <a:defRPr sz="1600">
                <a:solidFill>
                  <a:schemeClr val="accent1"/>
                </a:solidFill>
                <a:latin typeface="+mn-lt"/>
                <a:cs typeface="Arial" panose="020B0604020202020204" pitchFamily="34" charset="0"/>
              </a:defRPr>
            </a:lvl4pPr>
            <a:lvl5pPr>
              <a:defRPr sz="1600">
                <a:solidFill>
                  <a:schemeClr val="accent1"/>
                </a:solidFill>
                <a:latin typeface="+mn-lt"/>
                <a:cs typeface="Arial" panose="020B0604020202020204" pitchFamily="34" charset="0"/>
              </a:defRPr>
            </a:lvl5pPr>
          </a:lstStyle>
          <a:p>
            <a:pPr lvl="0"/>
            <a:r>
              <a:rPr lang="en-GB"/>
              <a:t>Click to edit text</a:t>
            </a:r>
          </a:p>
        </p:txBody>
      </p:sp>
      <p:sp>
        <p:nvSpPr>
          <p:cNvPr id="14" name="Title Placeholder 1">
            <a:extLst>
              <a:ext uri="{FF2B5EF4-FFF2-40B4-BE49-F238E27FC236}">
                <a16:creationId xmlns:a16="http://schemas.microsoft.com/office/drawing/2014/main" id="{A7B2F633-82D2-AAA5-6A8E-D166CEA75ED3}"/>
              </a:ext>
            </a:extLst>
          </p:cNvPr>
          <p:cNvSpPr>
            <a:spLocks noGrp="1"/>
          </p:cNvSpPr>
          <p:nvPr userDrawn="1">
            <p:ph type="title" hasCustomPrompt="1"/>
          </p:nvPr>
        </p:nvSpPr>
        <p:spPr>
          <a:xfrm>
            <a:off x="872030" y="1712919"/>
            <a:ext cx="2424113" cy="276999"/>
          </a:xfrm>
          <a:prstGeom prst="rect">
            <a:avLst/>
          </a:prstGeom>
        </p:spPr>
        <p:txBody>
          <a:bodyPr vert="horz" wrap="square" lIns="0" tIns="0" rIns="0" bIns="0" rtlCol="0" anchor="t" anchorCtr="0">
            <a:spAutoFit/>
          </a:bodyPr>
          <a:lstStyle>
            <a:lvl1pPr>
              <a:lnSpc>
                <a:spcPct val="100000"/>
              </a:lnSpc>
              <a:spcAft>
                <a:spcPts val="0"/>
              </a:spcAft>
              <a:defRPr sz="1800">
                <a:solidFill>
                  <a:schemeClr val="accent1"/>
                </a:solidFill>
              </a:defRPr>
            </a:lvl1pPr>
          </a:lstStyle>
          <a:p>
            <a:r>
              <a:rPr lang="en-GB"/>
              <a:t>Click to edit name</a:t>
            </a:r>
            <a:endParaRPr lang="en-US"/>
          </a:p>
        </p:txBody>
      </p:sp>
      <p:sp>
        <p:nvSpPr>
          <p:cNvPr id="15" name="Content Placeholder 14">
            <a:extLst>
              <a:ext uri="{FF2B5EF4-FFF2-40B4-BE49-F238E27FC236}">
                <a16:creationId xmlns:a16="http://schemas.microsoft.com/office/drawing/2014/main" id="{FF753E04-D8D4-D94D-F988-9FFFA9DCFF38}"/>
              </a:ext>
            </a:extLst>
          </p:cNvPr>
          <p:cNvSpPr>
            <a:spLocks noGrp="1"/>
          </p:cNvSpPr>
          <p:nvPr userDrawn="1">
            <p:ph sz="quarter" idx="10" hasCustomPrompt="1"/>
          </p:nvPr>
        </p:nvSpPr>
        <p:spPr>
          <a:xfrm>
            <a:off x="872030" y="2101145"/>
            <a:ext cx="2424113" cy="184667"/>
          </a:xfrm>
        </p:spPr>
        <p:txBody>
          <a:bodyPr wrap="square">
            <a:spAutoFit/>
          </a:bodyPr>
          <a:lstStyle>
            <a:lvl1pPr marL="0" indent="0">
              <a:lnSpc>
                <a:spcPct val="100000"/>
              </a:lnSpc>
              <a:spcAft>
                <a:spcPts val="0"/>
              </a:spcAft>
              <a:buNone/>
              <a:defRPr sz="12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
        <p:nvSpPr>
          <p:cNvPr id="16" name="Content Placeholder 14">
            <a:extLst>
              <a:ext uri="{FF2B5EF4-FFF2-40B4-BE49-F238E27FC236}">
                <a16:creationId xmlns:a16="http://schemas.microsoft.com/office/drawing/2014/main" id="{A0C2DDF2-18CF-5695-A1D3-4CBE0DD03B45}"/>
              </a:ext>
            </a:extLst>
          </p:cNvPr>
          <p:cNvSpPr>
            <a:spLocks noGrp="1"/>
          </p:cNvSpPr>
          <p:nvPr userDrawn="1">
            <p:ph sz="quarter" idx="15" hasCustomPrompt="1"/>
          </p:nvPr>
        </p:nvSpPr>
        <p:spPr>
          <a:xfrm>
            <a:off x="872030" y="2397039"/>
            <a:ext cx="2424113" cy="184667"/>
          </a:xfrm>
        </p:spPr>
        <p:txBody>
          <a:bodyPr wrap="square">
            <a:spAutoFit/>
          </a:bodyPr>
          <a:lstStyle>
            <a:lvl1pPr marL="0" indent="0">
              <a:lnSpc>
                <a:spcPct val="100000"/>
              </a:lnSpc>
              <a:spcAft>
                <a:spcPts val="0"/>
              </a:spcAft>
              <a:buNone/>
              <a:defRPr sz="1200">
                <a:solidFill>
                  <a:schemeClr val="accent1"/>
                </a:solidFill>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department</a:t>
            </a:r>
          </a:p>
        </p:txBody>
      </p:sp>
      <p:sp>
        <p:nvSpPr>
          <p:cNvPr id="6" name="Footer Placeholder 3">
            <a:extLst>
              <a:ext uri="{FF2B5EF4-FFF2-40B4-BE49-F238E27FC236}">
                <a16:creationId xmlns:a16="http://schemas.microsoft.com/office/drawing/2014/main" id="{DD476C41-FFFA-05CD-CA02-7EE4CBBDC2A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sym typeface="Arial" panose="020B0604020202020204" pitchFamily="34" charset="0"/>
              </a:defRPr>
            </a:lvl1pPr>
          </a:lstStyle>
          <a:p>
            <a:endParaRPr lang="en-US"/>
          </a:p>
        </p:txBody>
      </p:sp>
      <p:pic>
        <p:nvPicPr>
          <p:cNvPr id="10" name="ZRS Logo Horozontal">
            <a:extLst>
              <a:ext uri="{FF2B5EF4-FFF2-40B4-BE49-F238E27FC236}">
                <a16:creationId xmlns:a16="http://schemas.microsoft.com/office/drawing/2014/main" id="{4A6122EF-A497-DBA7-197B-61225A2724A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00530" y="190545"/>
            <a:ext cx="1338812" cy="444537"/>
          </a:xfrm>
          <a:prstGeom prst="rect">
            <a:avLst/>
          </a:prstGeom>
        </p:spPr>
      </p:pic>
      <p:cxnSp>
        <p:nvCxnSpPr>
          <p:cNvPr id="21" name="Straight Connector 20">
            <a:extLst>
              <a:ext uri="{FF2B5EF4-FFF2-40B4-BE49-F238E27FC236}">
                <a16:creationId xmlns:a16="http://schemas.microsoft.com/office/drawing/2014/main" id="{BE670943-FC21-7B9C-D6F7-7DF4D2377E76}"/>
              </a:ext>
            </a:extLst>
          </p:cNvPr>
          <p:cNvCxnSpPr>
            <a:cxnSpLocks/>
          </p:cNvCxnSpPr>
          <p:nvPr userDrawn="1"/>
        </p:nvCxnSpPr>
        <p:spPr>
          <a:xfrm>
            <a:off x="872029" y="3015427"/>
            <a:ext cx="459854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E77C6FE-D6CB-5CB3-601C-8433FF8D0FB9}"/>
              </a:ext>
            </a:extLst>
          </p:cNvPr>
          <p:cNvCxnSpPr/>
          <p:nvPr userDrawn="1"/>
        </p:nvCxnSpPr>
        <p:spPr>
          <a:xfrm>
            <a:off x="872029" y="5430559"/>
            <a:ext cx="4598545" cy="0"/>
          </a:xfrm>
          <a:prstGeom prst="line">
            <a:avLst/>
          </a:prstGeom>
        </p:spPr>
        <p:style>
          <a:lnRef idx="1">
            <a:schemeClr val="accent1"/>
          </a:lnRef>
          <a:fillRef idx="0">
            <a:schemeClr val="accent1"/>
          </a:fillRef>
          <a:effectRef idx="0">
            <a:schemeClr val="accent1"/>
          </a:effectRef>
          <a:fontRef idx="minor">
            <a:schemeClr val="tx1"/>
          </a:fontRef>
        </p:style>
      </p:cxnSp>
      <p:pic>
        <p:nvPicPr>
          <p:cNvPr id="25" name="Graphic 24">
            <a:extLst>
              <a:ext uri="{FF2B5EF4-FFF2-40B4-BE49-F238E27FC236}">
                <a16:creationId xmlns:a16="http://schemas.microsoft.com/office/drawing/2014/main" id="{62B323BC-B783-6501-06B3-A8AF5D498C96}"/>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3909" y="5493047"/>
            <a:ext cx="287867" cy="287867"/>
          </a:xfrm>
          <a:prstGeom prst="rect">
            <a:avLst/>
          </a:prstGeom>
        </p:spPr>
      </p:pic>
      <p:sp>
        <p:nvSpPr>
          <p:cNvPr id="30" name="Content Placeholder 14">
            <a:extLst>
              <a:ext uri="{FF2B5EF4-FFF2-40B4-BE49-F238E27FC236}">
                <a16:creationId xmlns:a16="http://schemas.microsoft.com/office/drawing/2014/main" id="{2ED063E8-AABE-8D0D-6883-1F4CEC9F5044}"/>
              </a:ext>
            </a:extLst>
          </p:cNvPr>
          <p:cNvSpPr>
            <a:spLocks noGrp="1"/>
          </p:cNvSpPr>
          <p:nvPr>
            <p:ph sz="quarter" idx="16" hasCustomPrompt="1"/>
          </p:nvPr>
        </p:nvSpPr>
        <p:spPr>
          <a:xfrm>
            <a:off x="1207078" y="5562067"/>
            <a:ext cx="2424113" cy="153888"/>
          </a:xfrm>
        </p:spPr>
        <p:txBody>
          <a:bodyPr wrap="square">
            <a:spAutoFit/>
          </a:bodyPr>
          <a:lstStyle>
            <a:lvl1pPr marL="0" indent="0">
              <a:buNone/>
              <a:defRPr sz="10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
        <p:nvSpPr>
          <p:cNvPr id="34" name="Picture Placeholder 2">
            <a:extLst>
              <a:ext uri="{FF2B5EF4-FFF2-40B4-BE49-F238E27FC236}">
                <a16:creationId xmlns:a16="http://schemas.microsoft.com/office/drawing/2014/main" id="{3E35D496-FDFD-FABB-DFE7-EAE5C361F006}"/>
              </a:ext>
            </a:extLst>
          </p:cNvPr>
          <p:cNvSpPr>
            <a:spLocks noGrp="1"/>
          </p:cNvSpPr>
          <p:nvPr>
            <p:ph type="pic" sz="quarter" idx="17" hasCustomPrompt="1"/>
          </p:nvPr>
        </p:nvSpPr>
        <p:spPr>
          <a:xfrm>
            <a:off x="9905571" y="957894"/>
            <a:ext cx="1383476" cy="1383476"/>
          </a:xfrm>
          <a:prstGeom prst="ellipse">
            <a:avLst/>
          </a:prstGeom>
        </p:spPr>
        <p:txBody>
          <a:bodyPr/>
          <a:lstStyle>
            <a:lvl1pPr marL="6349" indent="-6349" algn="ctr">
              <a:buNone/>
              <a:tabLst/>
              <a:defRPr sz="1400" b="0" i="0">
                <a:solidFill>
                  <a:srgbClr val="1C67AF"/>
                </a:solidFill>
                <a:latin typeface="+mn-lt"/>
                <a:cs typeface="Arial" panose="020B0604020202020204" pitchFamily="34" charset="0"/>
              </a:defRPr>
            </a:lvl1pPr>
          </a:lstStyle>
          <a:p>
            <a:r>
              <a:rPr lang="en-US" noProof="0"/>
              <a:t>Add a picture here</a:t>
            </a:r>
          </a:p>
        </p:txBody>
      </p:sp>
      <p:sp>
        <p:nvSpPr>
          <p:cNvPr id="35" name="Content Placeholder 2">
            <a:extLst>
              <a:ext uri="{FF2B5EF4-FFF2-40B4-BE49-F238E27FC236}">
                <a16:creationId xmlns:a16="http://schemas.microsoft.com/office/drawing/2014/main" id="{762318E5-FFF5-C37B-C533-ACF2BAF300B4}"/>
              </a:ext>
            </a:extLst>
          </p:cNvPr>
          <p:cNvSpPr>
            <a:spLocks noGrp="1"/>
          </p:cNvSpPr>
          <p:nvPr>
            <p:ph idx="18" hasCustomPrompt="1"/>
          </p:nvPr>
        </p:nvSpPr>
        <p:spPr>
          <a:xfrm>
            <a:off x="6690504" y="3153967"/>
            <a:ext cx="4598545" cy="2152549"/>
          </a:xfrm>
        </p:spPr>
        <p:txBody>
          <a:bodyPr lIns="0" tIns="0" rIns="0" bIns="0"/>
          <a:lstStyle>
            <a:lvl1pPr marL="0" indent="0">
              <a:spcAft>
                <a:spcPts val="600"/>
              </a:spcAft>
              <a:buNone/>
              <a:defRPr sz="1000">
                <a:solidFill>
                  <a:schemeClr val="accent1"/>
                </a:solidFill>
                <a:latin typeface="+mn-lt"/>
                <a:cs typeface="Arial" panose="020B0604020202020204" pitchFamily="34" charset="0"/>
              </a:defRPr>
            </a:lvl1pPr>
            <a:lvl2pPr>
              <a:defRPr sz="1600">
                <a:solidFill>
                  <a:schemeClr val="accent1"/>
                </a:solidFill>
                <a:latin typeface="+mn-lt"/>
                <a:cs typeface="Arial" panose="020B0604020202020204" pitchFamily="34" charset="0"/>
              </a:defRPr>
            </a:lvl2pPr>
            <a:lvl3pPr>
              <a:defRPr sz="1600">
                <a:solidFill>
                  <a:schemeClr val="accent1"/>
                </a:solidFill>
                <a:latin typeface="+mn-lt"/>
                <a:cs typeface="Arial" panose="020B0604020202020204" pitchFamily="34" charset="0"/>
              </a:defRPr>
            </a:lvl3pPr>
            <a:lvl4pPr>
              <a:defRPr sz="1600">
                <a:solidFill>
                  <a:schemeClr val="accent1"/>
                </a:solidFill>
                <a:latin typeface="+mn-lt"/>
                <a:cs typeface="Arial" panose="020B0604020202020204" pitchFamily="34" charset="0"/>
              </a:defRPr>
            </a:lvl4pPr>
            <a:lvl5pPr>
              <a:defRPr sz="1600">
                <a:solidFill>
                  <a:schemeClr val="accent1"/>
                </a:solidFill>
                <a:latin typeface="+mn-lt"/>
                <a:cs typeface="Arial" panose="020B0604020202020204" pitchFamily="34" charset="0"/>
              </a:defRPr>
            </a:lvl5pPr>
          </a:lstStyle>
          <a:p>
            <a:pPr lvl="0"/>
            <a:r>
              <a:rPr lang="en-GB"/>
              <a:t>Click to edit text</a:t>
            </a:r>
          </a:p>
        </p:txBody>
      </p:sp>
      <p:sp>
        <p:nvSpPr>
          <p:cNvPr id="37" name="Content Placeholder 14">
            <a:extLst>
              <a:ext uri="{FF2B5EF4-FFF2-40B4-BE49-F238E27FC236}">
                <a16:creationId xmlns:a16="http://schemas.microsoft.com/office/drawing/2014/main" id="{3F055F6C-3A43-F200-6B9B-8AFC878C3EDE}"/>
              </a:ext>
            </a:extLst>
          </p:cNvPr>
          <p:cNvSpPr>
            <a:spLocks noGrp="1"/>
          </p:cNvSpPr>
          <p:nvPr>
            <p:ph sz="quarter" idx="19" hasCustomPrompt="1"/>
          </p:nvPr>
        </p:nvSpPr>
        <p:spPr>
          <a:xfrm>
            <a:off x="6695345" y="2101145"/>
            <a:ext cx="2424113" cy="184667"/>
          </a:xfrm>
        </p:spPr>
        <p:txBody>
          <a:bodyPr wrap="square">
            <a:spAutoFit/>
          </a:bodyPr>
          <a:lstStyle>
            <a:lvl1pPr marL="0" indent="0">
              <a:lnSpc>
                <a:spcPct val="100000"/>
              </a:lnSpc>
              <a:spcAft>
                <a:spcPts val="0"/>
              </a:spcAft>
              <a:buNone/>
              <a:defRPr sz="12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
        <p:nvSpPr>
          <p:cNvPr id="38" name="Content Placeholder 14">
            <a:extLst>
              <a:ext uri="{FF2B5EF4-FFF2-40B4-BE49-F238E27FC236}">
                <a16:creationId xmlns:a16="http://schemas.microsoft.com/office/drawing/2014/main" id="{6CF2A91E-3DEB-22EB-B475-4C76E3633370}"/>
              </a:ext>
            </a:extLst>
          </p:cNvPr>
          <p:cNvSpPr>
            <a:spLocks noGrp="1"/>
          </p:cNvSpPr>
          <p:nvPr>
            <p:ph sz="quarter" idx="20" hasCustomPrompt="1"/>
          </p:nvPr>
        </p:nvSpPr>
        <p:spPr>
          <a:xfrm>
            <a:off x="6695345" y="2397039"/>
            <a:ext cx="2424113" cy="184667"/>
          </a:xfrm>
        </p:spPr>
        <p:txBody>
          <a:bodyPr wrap="square">
            <a:spAutoFit/>
          </a:bodyPr>
          <a:lstStyle>
            <a:lvl1pPr marL="0" indent="0">
              <a:lnSpc>
                <a:spcPct val="100000"/>
              </a:lnSpc>
              <a:spcAft>
                <a:spcPts val="0"/>
              </a:spcAft>
              <a:buNone/>
              <a:defRPr sz="1200">
                <a:solidFill>
                  <a:schemeClr val="accent1"/>
                </a:solidFill>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department</a:t>
            </a:r>
          </a:p>
        </p:txBody>
      </p:sp>
      <p:cxnSp>
        <p:nvCxnSpPr>
          <p:cNvPr id="39" name="Straight Connector 38">
            <a:extLst>
              <a:ext uri="{FF2B5EF4-FFF2-40B4-BE49-F238E27FC236}">
                <a16:creationId xmlns:a16="http://schemas.microsoft.com/office/drawing/2014/main" id="{B060437E-EE22-6F99-D785-340FAC982C8E}"/>
              </a:ext>
            </a:extLst>
          </p:cNvPr>
          <p:cNvCxnSpPr>
            <a:cxnSpLocks/>
          </p:cNvCxnSpPr>
          <p:nvPr userDrawn="1"/>
        </p:nvCxnSpPr>
        <p:spPr>
          <a:xfrm>
            <a:off x="6695345" y="3015427"/>
            <a:ext cx="459854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763330A-8296-37C1-774D-FCF4345FFAAD}"/>
              </a:ext>
            </a:extLst>
          </p:cNvPr>
          <p:cNvCxnSpPr/>
          <p:nvPr userDrawn="1"/>
        </p:nvCxnSpPr>
        <p:spPr>
          <a:xfrm>
            <a:off x="6695345" y="5430559"/>
            <a:ext cx="4598545" cy="0"/>
          </a:xfrm>
          <a:prstGeom prst="line">
            <a:avLst/>
          </a:prstGeom>
        </p:spPr>
        <p:style>
          <a:lnRef idx="1">
            <a:schemeClr val="accent1"/>
          </a:lnRef>
          <a:fillRef idx="0">
            <a:schemeClr val="accent1"/>
          </a:fillRef>
          <a:effectRef idx="0">
            <a:schemeClr val="accent1"/>
          </a:effectRef>
          <a:fontRef idx="minor">
            <a:schemeClr val="tx1"/>
          </a:fontRef>
        </p:style>
      </p:cxnSp>
      <p:pic>
        <p:nvPicPr>
          <p:cNvPr id="41" name="Graphic 40">
            <a:extLst>
              <a:ext uri="{FF2B5EF4-FFF2-40B4-BE49-F238E27FC236}">
                <a16:creationId xmlns:a16="http://schemas.microsoft.com/office/drawing/2014/main" id="{78137EB2-42D7-E91A-18D8-F13B5FCCFE70}"/>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57224" y="5493047"/>
            <a:ext cx="287867" cy="287867"/>
          </a:xfrm>
          <a:prstGeom prst="rect">
            <a:avLst/>
          </a:prstGeom>
        </p:spPr>
      </p:pic>
      <p:sp>
        <p:nvSpPr>
          <p:cNvPr id="42" name="Content Placeholder 14">
            <a:extLst>
              <a:ext uri="{FF2B5EF4-FFF2-40B4-BE49-F238E27FC236}">
                <a16:creationId xmlns:a16="http://schemas.microsoft.com/office/drawing/2014/main" id="{AF74C01C-EAE1-06EA-35E0-AA76B673FF8D}"/>
              </a:ext>
            </a:extLst>
          </p:cNvPr>
          <p:cNvSpPr>
            <a:spLocks noGrp="1"/>
          </p:cNvSpPr>
          <p:nvPr>
            <p:ph sz="quarter" idx="21" hasCustomPrompt="1"/>
          </p:nvPr>
        </p:nvSpPr>
        <p:spPr>
          <a:xfrm>
            <a:off x="7030393" y="5562067"/>
            <a:ext cx="2424113" cy="153888"/>
          </a:xfrm>
        </p:spPr>
        <p:txBody>
          <a:bodyPr wrap="square">
            <a:spAutoFit/>
          </a:bodyPr>
          <a:lstStyle>
            <a:lvl1pPr marL="0" indent="0">
              <a:buNone/>
              <a:defRPr sz="10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
        <p:nvSpPr>
          <p:cNvPr id="48" name="Text Placeholder 46">
            <a:extLst>
              <a:ext uri="{FF2B5EF4-FFF2-40B4-BE49-F238E27FC236}">
                <a16:creationId xmlns:a16="http://schemas.microsoft.com/office/drawing/2014/main" id="{B6717FCD-AD81-2BF8-FA5F-49D24352C4E6}"/>
              </a:ext>
            </a:extLst>
          </p:cNvPr>
          <p:cNvSpPr>
            <a:spLocks noGrp="1"/>
          </p:cNvSpPr>
          <p:nvPr>
            <p:ph type="body" sz="quarter" idx="22" hasCustomPrompt="1"/>
          </p:nvPr>
        </p:nvSpPr>
        <p:spPr>
          <a:xfrm>
            <a:off x="6689728" y="1712919"/>
            <a:ext cx="2424113" cy="287864"/>
          </a:xfrm>
        </p:spPr>
        <p:txBody>
          <a:bodyPr/>
          <a:lstStyle>
            <a:lvl1pPr marL="0" indent="0">
              <a:buNone/>
              <a:defRPr/>
            </a:lvl1pPr>
            <a:lvl2pPr marL="265072" indent="0">
              <a:buNone/>
              <a:defRPr/>
            </a:lvl2pPr>
            <a:lvl3pPr marL="446021" indent="0">
              <a:buNone/>
              <a:defRPr/>
            </a:lvl3pPr>
            <a:lvl4pPr marL="719873" indent="0">
              <a:buNone/>
              <a:defRPr/>
            </a:lvl4pPr>
            <a:lvl5pPr marL="898390" indent="0">
              <a:buNone/>
              <a:defRPr/>
            </a:lvl5pPr>
          </a:lstStyle>
          <a:p>
            <a:pPr lvl="0"/>
            <a:r>
              <a:rPr lang="en-GB"/>
              <a:t>Click to edit name</a:t>
            </a:r>
            <a:endParaRPr lang="en-US"/>
          </a:p>
        </p:txBody>
      </p:sp>
      <p:sp>
        <p:nvSpPr>
          <p:cNvPr id="2" name="Slide Number Placeholder 5">
            <a:extLst>
              <a:ext uri="{FF2B5EF4-FFF2-40B4-BE49-F238E27FC236}">
                <a16:creationId xmlns:a16="http://schemas.microsoft.com/office/drawing/2014/main" id="{BC1F50DB-B2ED-F842-FC2C-CE7D45826D47}"/>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Tree>
    <p:extLst>
      <p:ext uri="{BB962C8B-B14F-4D97-AF65-F5344CB8AC3E}">
        <p14:creationId xmlns:p14="http://schemas.microsoft.com/office/powerpoint/2010/main" val="2613742082"/>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Title, text box and circle for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7DD7A45-623E-C4E3-0294-9882B7AE0134}"/>
              </a:ext>
            </a:extLst>
          </p:cNvPr>
          <p:cNvSpPr/>
          <p:nvPr userDrawn="1"/>
        </p:nvSpPr>
        <p:spPr>
          <a:xfrm>
            <a:off x="6096001" y="1195674"/>
            <a:ext cx="5796000" cy="524206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algn="ctr"/>
            <a:endParaRPr lang="en-US" sz="1000"/>
          </a:p>
        </p:txBody>
      </p:sp>
      <p:sp>
        <p:nvSpPr>
          <p:cNvPr id="8" name="Rectangle 7">
            <a:extLst>
              <a:ext uri="{FF2B5EF4-FFF2-40B4-BE49-F238E27FC236}">
                <a16:creationId xmlns:a16="http://schemas.microsoft.com/office/drawing/2014/main" id="{664571A8-8105-FCE4-5A5E-2EE1DE80D1CA}"/>
              </a:ext>
            </a:extLst>
          </p:cNvPr>
          <p:cNvSpPr/>
          <p:nvPr userDrawn="1"/>
        </p:nvSpPr>
        <p:spPr>
          <a:xfrm>
            <a:off x="278925" y="1195674"/>
            <a:ext cx="5796000" cy="524206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algn="ctr"/>
            <a:endParaRPr lang="en-US" sz="1000"/>
          </a:p>
        </p:txBody>
      </p:sp>
      <p:graphicFrame>
        <p:nvGraphicFramePr>
          <p:cNvPr id="5" name="Object 4" hidden="1">
            <a:extLst>
              <a:ext uri="{FF2B5EF4-FFF2-40B4-BE49-F238E27FC236}">
                <a16:creationId xmlns:a16="http://schemas.microsoft.com/office/drawing/2014/main" id="{E968A405-2ADD-CD83-F2C5-E4C87A464DCC}"/>
              </a:ext>
            </a:extLst>
          </p:cNvPr>
          <p:cNvGraphicFramePr>
            <a:graphicFrameLocks noChangeAspect="1"/>
          </p:cNvGraphicFramePr>
          <p:nvPr userDrawn="1">
            <p:custDataLst>
              <p:tags r:id="rId1"/>
            </p:custDataLst>
            <p:extLst>
              <p:ext uri="{D42A27DB-BD31-4B8C-83A1-F6EECF244321}">
                <p14:modId xmlns:p14="http://schemas.microsoft.com/office/powerpoint/2010/main" val="51524010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E968A405-2ADD-CD83-F2C5-E4C87A464DCC}"/>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9" name="Picture Placeholder 2">
            <a:extLst>
              <a:ext uri="{FF2B5EF4-FFF2-40B4-BE49-F238E27FC236}">
                <a16:creationId xmlns:a16="http://schemas.microsoft.com/office/drawing/2014/main" id="{E1605E3C-D76A-4678-9277-BF9E20857561}"/>
              </a:ext>
            </a:extLst>
          </p:cNvPr>
          <p:cNvSpPr>
            <a:spLocks noGrp="1"/>
          </p:cNvSpPr>
          <p:nvPr>
            <p:ph type="pic" sz="quarter" idx="13" hasCustomPrompt="1"/>
          </p:nvPr>
        </p:nvSpPr>
        <p:spPr>
          <a:xfrm>
            <a:off x="4420187" y="680754"/>
            <a:ext cx="1383476" cy="1383476"/>
          </a:xfrm>
          <a:prstGeom prst="ellipse">
            <a:avLst/>
          </a:prstGeom>
        </p:spPr>
        <p:txBody>
          <a:bodyPr/>
          <a:lstStyle>
            <a:lvl1pPr marL="6349" indent="-6349" algn="ctr">
              <a:buNone/>
              <a:tabLst/>
              <a:defRPr sz="1400" b="0" i="0">
                <a:solidFill>
                  <a:srgbClr val="1C67AF"/>
                </a:solidFill>
                <a:latin typeface="+mn-lt"/>
                <a:cs typeface="Arial" panose="020B0604020202020204" pitchFamily="34" charset="0"/>
              </a:defRPr>
            </a:lvl1pPr>
          </a:lstStyle>
          <a:p>
            <a:r>
              <a:rPr lang="en-US" noProof="0"/>
              <a:t>Add a picture here</a:t>
            </a:r>
          </a:p>
        </p:txBody>
      </p:sp>
      <p:sp>
        <p:nvSpPr>
          <p:cNvPr id="13" name="Content Placeholder 2">
            <a:extLst>
              <a:ext uri="{FF2B5EF4-FFF2-40B4-BE49-F238E27FC236}">
                <a16:creationId xmlns:a16="http://schemas.microsoft.com/office/drawing/2014/main" id="{484EE1B1-3BF4-1E8C-503B-B5EB2EE730E7}"/>
              </a:ext>
            </a:extLst>
          </p:cNvPr>
          <p:cNvSpPr>
            <a:spLocks noGrp="1"/>
          </p:cNvSpPr>
          <p:nvPr userDrawn="1">
            <p:ph idx="1" hasCustomPrompt="1"/>
          </p:nvPr>
        </p:nvSpPr>
        <p:spPr>
          <a:xfrm>
            <a:off x="492306" y="2876825"/>
            <a:ext cx="5387127" cy="2152549"/>
          </a:xfrm>
        </p:spPr>
        <p:txBody>
          <a:bodyPr lIns="0" tIns="0" rIns="0" bIns="0"/>
          <a:lstStyle>
            <a:lvl1pPr marL="0" indent="0">
              <a:spcAft>
                <a:spcPts val="600"/>
              </a:spcAft>
              <a:buNone/>
              <a:defRPr sz="1000">
                <a:solidFill>
                  <a:schemeClr val="accent1"/>
                </a:solidFill>
                <a:latin typeface="+mn-lt"/>
                <a:cs typeface="Arial" panose="020B0604020202020204" pitchFamily="34" charset="0"/>
              </a:defRPr>
            </a:lvl1pPr>
            <a:lvl2pPr>
              <a:defRPr sz="1600">
                <a:solidFill>
                  <a:schemeClr val="accent1"/>
                </a:solidFill>
                <a:latin typeface="+mn-lt"/>
                <a:cs typeface="Arial" panose="020B0604020202020204" pitchFamily="34" charset="0"/>
              </a:defRPr>
            </a:lvl2pPr>
            <a:lvl3pPr>
              <a:defRPr sz="1600">
                <a:solidFill>
                  <a:schemeClr val="accent1"/>
                </a:solidFill>
                <a:latin typeface="+mn-lt"/>
                <a:cs typeface="Arial" panose="020B0604020202020204" pitchFamily="34" charset="0"/>
              </a:defRPr>
            </a:lvl3pPr>
            <a:lvl4pPr>
              <a:defRPr sz="1600">
                <a:solidFill>
                  <a:schemeClr val="accent1"/>
                </a:solidFill>
                <a:latin typeface="+mn-lt"/>
                <a:cs typeface="Arial" panose="020B0604020202020204" pitchFamily="34" charset="0"/>
              </a:defRPr>
            </a:lvl4pPr>
            <a:lvl5pPr>
              <a:defRPr sz="1600">
                <a:solidFill>
                  <a:schemeClr val="accent1"/>
                </a:solidFill>
                <a:latin typeface="+mn-lt"/>
                <a:cs typeface="Arial" panose="020B0604020202020204" pitchFamily="34" charset="0"/>
              </a:defRPr>
            </a:lvl5pPr>
          </a:lstStyle>
          <a:p>
            <a:pPr lvl="0"/>
            <a:r>
              <a:rPr lang="en-GB"/>
              <a:t>Click to edit text</a:t>
            </a:r>
          </a:p>
        </p:txBody>
      </p:sp>
      <p:sp>
        <p:nvSpPr>
          <p:cNvPr id="14" name="Title Placeholder 1">
            <a:extLst>
              <a:ext uri="{FF2B5EF4-FFF2-40B4-BE49-F238E27FC236}">
                <a16:creationId xmlns:a16="http://schemas.microsoft.com/office/drawing/2014/main" id="{A7B2F633-82D2-AAA5-6A8E-D166CEA75ED3}"/>
              </a:ext>
            </a:extLst>
          </p:cNvPr>
          <p:cNvSpPr>
            <a:spLocks noGrp="1"/>
          </p:cNvSpPr>
          <p:nvPr userDrawn="1">
            <p:ph type="title" hasCustomPrompt="1"/>
          </p:nvPr>
        </p:nvSpPr>
        <p:spPr>
          <a:xfrm>
            <a:off x="497148" y="1435777"/>
            <a:ext cx="3528637" cy="338555"/>
          </a:xfrm>
          <a:prstGeom prst="rect">
            <a:avLst/>
          </a:prstGeom>
        </p:spPr>
        <p:txBody>
          <a:bodyPr vert="horz" wrap="square" lIns="0" tIns="0" rIns="0" bIns="0" rtlCol="0" anchor="t" anchorCtr="0">
            <a:spAutoFit/>
          </a:bodyPr>
          <a:lstStyle>
            <a:lvl1pPr>
              <a:lnSpc>
                <a:spcPct val="100000"/>
              </a:lnSpc>
              <a:spcAft>
                <a:spcPts val="0"/>
              </a:spcAft>
              <a:defRPr sz="2200">
                <a:solidFill>
                  <a:schemeClr val="accent1"/>
                </a:solidFill>
              </a:defRPr>
            </a:lvl1pPr>
          </a:lstStyle>
          <a:p>
            <a:r>
              <a:rPr lang="en-GB"/>
              <a:t>Click to edit name</a:t>
            </a:r>
            <a:endParaRPr lang="en-US"/>
          </a:p>
        </p:txBody>
      </p:sp>
      <p:sp>
        <p:nvSpPr>
          <p:cNvPr id="15" name="Content Placeholder 14">
            <a:extLst>
              <a:ext uri="{FF2B5EF4-FFF2-40B4-BE49-F238E27FC236}">
                <a16:creationId xmlns:a16="http://schemas.microsoft.com/office/drawing/2014/main" id="{FF753E04-D8D4-D94D-F988-9FFFA9DCFF38}"/>
              </a:ext>
            </a:extLst>
          </p:cNvPr>
          <p:cNvSpPr>
            <a:spLocks noGrp="1"/>
          </p:cNvSpPr>
          <p:nvPr userDrawn="1">
            <p:ph sz="quarter" idx="10" hasCustomPrompt="1"/>
          </p:nvPr>
        </p:nvSpPr>
        <p:spPr>
          <a:xfrm>
            <a:off x="497148" y="1842765"/>
            <a:ext cx="3528637" cy="184667"/>
          </a:xfrm>
        </p:spPr>
        <p:txBody>
          <a:bodyPr wrap="square">
            <a:spAutoFit/>
          </a:bodyPr>
          <a:lstStyle>
            <a:lvl1pPr marL="0" indent="0">
              <a:lnSpc>
                <a:spcPct val="100000"/>
              </a:lnSpc>
              <a:spcAft>
                <a:spcPts val="0"/>
              </a:spcAft>
              <a:buNone/>
              <a:defRPr sz="12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
        <p:nvSpPr>
          <p:cNvPr id="16" name="Content Placeholder 14">
            <a:extLst>
              <a:ext uri="{FF2B5EF4-FFF2-40B4-BE49-F238E27FC236}">
                <a16:creationId xmlns:a16="http://schemas.microsoft.com/office/drawing/2014/main" id="{A0C2DDF2-18CF-5695-A1D3-4CBE0DD03B45}"/>
              </a:ext>
            </a:extLst>
          </p:cNvPr>
          <p:cNvSpPr>
            <a:spLocks noGrp="1"/>
          </p:cNvSpPr>
          <p:nvPr userDrawn="1">
            <p:ph sz="quarter" idx="15" hasCustomPrompt="1"/>
          </p:nvPr>
        </p:nvSpPr>
        <p:spPr>
          <a:xfrm>
            <a:off x="497148" y="2115019"/>
            <a:ext cx="3523019" cy="189549"/>
          </a:xfrm>
        </p:spPr>
        <p:txBody>
          <a:bodyPr wrap="square">
            <a:spAutoFit/>
          </a:bodyPr>
          <a:lstStyle>
            <a:lvl1pPr marL="0" indent="0">
              <a:lnSpc>
                <a:spcPct val="100000"/>
              </a:lnSpc>
              <a:spcAft>
                <a:spcPts val="0"/>
              </a:spcAft>
              <a:buNone/>
              <a:defRPr sz="1200">
                <a:solidFill>
                  <a:schemeClr val="accent1"/>
                </a:solidFill>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department</a:t>
            </a:r>
          </a:p>
        </p:txBody>
      </p:sp>
      <p:sp>
        <p:nvSpPr>
          <p:cNvPr id="6" name="Footer Placeholder 3">
            <a:extLst>
              <a:ext uri="{FF2B5EF4-FFF2-40B4-BE49-F238E27FC236}">
                <a16:creationId xmlns:a16="http://schemas.microsoft.com/office/drawing/2014/main" id="{DD476C41-FFFA-05CD-CA02-7EE4CBBDC2A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sym typeface="Arial" panose="020B0604020202020204" pitchFamily="34" charset="0"/>
              </a:defRPr>
            </a:lvl1pPr>
          </a:lstStyle>
          <a:p>
            <a:endParaRPr lang="en-US"/>
          </a:p>
        </p:txBody>
      </p:sp>
      <p:pic>
        <p:nvPicPr>
          <p:cNvPr id="10" name="ZRS Logo Horozontal">
            <a:extLst>
              <a:ext uri="{FF2B5EF4-FFF2-40B4-BE49-F238E27FC236}">
                <a16:creationId xmlns:a16="http://schemas.microsoft.com/office/drawing/2014/main" id="{4A6122EF-A497-DBA7-197B-61225A2724A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00530" y="190545"/>
            <a:ext cx="1338812" cy="444537"/>
          </a:xfrm>
          <a:prstGeom prst="rect">
            <a:avLst/>
          </a:prstGeom>
        </p:spPr>
      </p:pic>
      <p:cxnSp>
        <p:nvCxnSpPr>
          <p:cNvPr id="21" name="Straight Connector 20">
            <a:extLst>
              <a:ext uri="{FF2B5EF4-FFF2-40B4-BE49-F238E27FC236}">
                <a16:creationId xmlns:a16="http://schemas.microsoft.com/office/drawing/2014/main" id="{BE670943-FC21-7B9C-D6F7-7DF4D2377E76}"/>
              </a:ext>
            </a:extLst>
          </p:cNvPr>
          <p:cNvCxnSpPr>
            <a:cxnSpLocks/>
          </p:cNvCxnSpPr>
          <p:nvPr userDrawn="1"/>
        </p:nvCxnSpPr>
        <p:spPr>
          <a:xfrm>
            <a:off x="497150" y="2738287"/>
            <a:ext cx="538712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E77C6FE-D6CB-5CB3-601C-8433FF8D0FB9}"/>
              </a:ext>
            </a:extLst>
          </p:cNvPr>
          <p:cNvCxnSpPr>
            <a:cxnSpLocks/>
          </p:cNvCxnSpPr>
          <p:nvPr userDrawn="1"/>
        </p:nvCxnSpPr>
        <p:spPr>
          <a:xfrm>
            <a:off x="497150" y="5663471"/>
            <a:ext cx="5387127" cy="0"/>
          </a:xfrm>
          <a:prstGeom prst="line">
            <a:avLst/>
          </a:prstGeom>
        </p:spPr>
        <p:style>
          <a:lnRef idx="1">
            <a:schemeClr val="accent1"/>
          </a:lnRef>
          <a:fillRef idx="0">
            <a:schemeClr val="accent1"/>
          </a:fillRef>
          <a:effectRef idx="0">
            <a:schemeClr val="accent1"/>
          </a:effectRef>
          <a:fontRef idx="minor">
            <a:schemeClr val="tx1"/>
          </a:fontRef>
        </p:style>
      </p:cxnSp>
      <p:pic>
        <p:nvPicPr>
          <p:cNvPr id="25" name="Graphic 24">
            <a:extLst>
              <a:ext uri="{FF2B5EF4-FFF2-40B4-BE49-F238E27FC236}">
                <a16:creationId xmlns:a16="http://schemas.microsoft.com/office/drawing/2014/main" id="{62B323BC-B783-6501-06B3-A8AF5D498C96}"/>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9028" y="5725957"/>
            <a:ext cx="287867" cy="287867"/>
          </a:xfrm>
          <a:prstGeom prst="rect">
            <a:avLst/>
          </a:prstGeom>
        </p:spPr>
      </p:pic>
      <p:sp>
        <p:nvSpPr>
          <p:cNvPr id="30" name="Content Placeholder 14">
            <a:extLst>
              <a:ext uri="{FF2B5EF4-FFF2-40B4-BE49-F238E27FC236}">
                <a16:creationId xmlns:a16="http://schemas.microsoft.com/office/drawing/2014/main" id="{2ED063E8-AABE-8D0D-6883-1F4CEC9F5044}"/>
              </a:ext>
            </a:extLst>
          </p:cNvPr>
          <p:cNvSpPr>
            <a:spLocks noGrp="1"/>
          </p:cNvSpPr>
          <p:nvPr>
            <p:ph sz="quarter" idx="16" hasCustomPrompt="1"/>
          </p:nvPr>
        </p:nvSpPr>
        <p:spPr>
          <a:xfrm>
            <a:off x="832197" y="5794979"/>
            <a:ext cx="2424113" cy="153888"/>
          </a:xfrm>
        </p:spPr>
        <p:txBody>
          <a:bodyPr wrap="square">
            <a:spAutoFit/>
          </a:bodyPr>
          <a:lstStyle>
            <a:lvl1pPr marL="0" indent="0">
              <a:buNone/>
              <a:defRPr sz="10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
        <p:nvSpPr>
          <p:cNvPr id="31" name="Title Placeholder 1">
            <a:extLst>
              <a:ext uri="{FF2B5EF4-FFF2-40B4-BE49-F238E27FC236}">
                <a16:creationId xmlns:a16="http://schemas.microsoft.com/office/drawing/2014/main" id="{EB6D354D-6C4D-057A-4F15-48E60356FC11}"/>
              </a:ext>
            </a:extLst>
          </p:cNvPr>
          <p:cNvSpPr txBox="1">
            <a:spLocks/>
          </p:cNvSpPr>
          <p:nvPr userDrawn="1"/>
        </p:nvSpPr>
        <p:spPr>
          <a:xfrm>
            <a:off x="250829" y="249927"/>
            <a:ext cx="9586415" cy="415498"/>
          </a:xfrm>
          <a:prstGeom prst="rect">
            <a:avLst/>
          </a:prstGeom>
        </p:spPr>
        <p:txBody>
          <a:bodyPr vert="horz" lIns="0" tIns="0" rIns="0" bIns="0" rtlCol="0" anchor="t" anchorCtr="0">
            <a:spAutoFit/>
          </a:bodyPr>
          <a:lstStyle>
            <a:lvl1pPr algn="l" defTabSz="914354" rtl="0" eaLnBrk="1" latinLnBrk="0" hangingPunct="1">
              <a:lnSpc>
                <a:spcPct val="90000"/>
              </a:lnSpc>
              <a:spcBef>
                <a:spcPct val="0"/>
              </a:spcBef>
              <a:buNone/>
              <a:defRPr sz="2400" kern="1200">
                <a:solidFill>
                  <a:schemeClr val="accent1"/>
                </a:solidFill>
                <a:latin typeface="+mn-lt"/>
                <a:ea typeface="+mj-ea"/>
                <a:cs typeface="+mj-cs"/>
              </a:defRPr>
            </a:lvl1pPr>
          </a:lstStyle>
          <a:p>
            <a:r>
              <a:rPr lang="en-GB" sz="3000"/>
              <a:t>Project Leadership Team</a:t>
            </a:r>
            <a:endParaRPr lang="en-ES" sz="3000"/>
          </a:p>
        </p:txBody>
      </p:sp>
      <p:sp>
        <p:nvSpPr>
          <p:cNvPr id="34" name="Picture Placeholder 2">
            <a:extLst>
              <a:ext uri="{FF2B5EF4-FFF2-40B4-BE49-F238E27FC236}">
                <a16:creationId xmlns:a16="http://schemas.microsoft.com/office/drawing/2014/main" id="{3E35D496-FDFD-FABB-DFE7-EAE5C361F006}"/>
              </a:ext>
            </a:extLst>
          </p:cNvPr>
          <p:cNvSpPr>
            <a:spLocks noGrp="1"/>
          </p:cNvSpPr>
          <p:nvPr>
            <p:ph type="pic" sz="quarter" idx="17" hasCustomPrompt="1"/>
          </p:nvPr>
        </p:nvSpPr>
        <p:spPr>
          <a:xfrm>
            <a:off x="10216187" y="680754"/>
            <a:ext cx="1383476" cy="1383476"/>
          </a:xfrm>
          <a:prstGeom prst="ellipse">
            <a:avLst/>
          </a:prstGeom>
        </p:spPr>
        <p:txBody>
          <a:bodyPr/>
          <a:lstStyle>
            <a:lvl1pPr marL="6349" indent="-6349" algn="ctr">
              <a:buNone/>
              <a:tabLst/>
              <a:defRPr sz="1400" b="0" i="0">
                <a:solidFill>
                  <a:srgbClr val="1C67AF"/>
                </a:solidFill>
                <a:latin typeface="+mn-lt"/>
                <a:cs typeface="Arial" panose="020B0604020202020204" pitchFamily="34" charset="0"/>
              </a:defRPr>
            </a:lvl1pPr>
          </a:lstStyle>
          <a:p>
            <a:r>
              <a:rPr lang="en-US" noProof="0"/>
              <a:t>Add a picture here</a:t>
            </a:r>
          </a:p>
        </p:txBody>
      </p:sp>
      <p:sp>
        <p:nvSpPr>
          <p:cNvPr id="35" name="Content Placeholder 2">
            <a:extLst>
              <a:ext uri="{FF2B5EF4-FFF2-40B4-BE49-F238E27FC236}">
                <a16:creationId xmlns:a16="http://schemas.microsoft.com/office/drawing/2014/main" id="{762318E5-FFF5-C37B-C533-ACF2BAF300B4}"/>
              </a:ext>
            </a:extLst>
          </p:cNvPr>
          <p:cNvSpPr>
            <a:spLocks noGrp="1"/>
          </p:cNvSpPr>
          <p:nvPr>
            <p:ph idx="18" hasCustomPrompt="1"/>
          </p:nvPr>
        </p:nvSpPr>
        <p:spPr>
          <a:xfrm>
            <a:off x="6309381" y="2876825"/>
            <a:ext cx="5390316" cy="2152549"/>
          </a:xfrm>
        </p:spPr>
        <p:txBody>
          <a:bodyPr lIns="0" tIns="0" rIns="0" bIns="0"/>
          <a:lstStyle>
            <a:lvl1pPr marL="0" indent="0">
              <a:spcAft>
                <a:spcPts val="600"/>
              </a:spcAft>
              <a:buNone/>
              <a:defRPr sz="1000">
                <a:solidFill>
                  <a:schemeClr val="accent1"/>
                </a:solidFill>
                <a:latin typeface="+mn-lt"/>
                <a:cs typeface="Arial" panose="020B0604020202020204" pitchFamily="34" charset="0"/>
              </a:defRPr>
            </a:lvl1pPr>
            <a:lvl2pPr>
              <a:defRPr sz="1600">
                <a:solidFill>
                  <a:schemeClr val="accent1"/>
                </a:solidFill>
                <a:latin typeface="+mn-lt"/>
                <a:cs typeface="Arial" panose="020B0604020202020204" pitchFamily="34" charset="0"/>
              </a:defRPr>
            </a:lvl2pPr>
            <a:lvl3pPr>
              <a:defRPr sz="1600">
                <a:solidFill>
                  <a:schemeClr val="accent1"/>
                </a:solidFill>
                <a:latin typeface="+mn-lt"/>
                <a:cs typeface="Arial" panose="020B0604020202020204" pitchFamily="34" charset="0"/>
              </a:defRPr>
            </a:lvl3pPr>
            <a:lvl4pPr>
              <a:defRPr sz="1600">
                <a:solidFill>
                  <a:schemeClr val="accent1"/>
                </a:solidFill>
                <a:latin typeface="+mn-lt"/>
                <a:cs typeface="Arial" panose="020B0604020202020204" pitchFamily="34" charset="0"/>
              </a:defRPr>
            </a:lvl4pPr>
            <a:lvl5pPr>
              <a:defRPr sz="1600">
                <a:solidFill>
                  <a:schemeClr val="accent1"/>
                </a:solidFill>
                <a:latin typeface="+mn-lt"/>
                <a:cs typeface="Arial" panose="020B0604020202020204" pitchFamily="34" charset="0"/>
              </a:defRPr>
            </a:lvl5pPr>
          </a:lstStyle>
          <a:p>
            <a:pPr lvl="0"/>
            <a:r>
              <a:rPr lang="en-GB"/>
              <a:t>Click to edit text</a:t>
            </a:r>
          </a:p>
        </p:txBody>
      </p:sp>
      <p:sp>
        <p:nvSpPr>
          <p:cNvPr id="37" name="Content Placeholder 14">
            <a:extLst>
              <a:ext uri="{FF2B5EF4-FFF2-40B4-BE49-F238E27FC236}">
                <a16:creationId xmlns:a16="http://schemas.microsoft.com/office/drawing/2014/main" id="{3F055F6C-3A43-F200-6B9B-8AFC878C3EDE}"/>
              </a:ext>
            </a:extLst>
          </p:cNvPr>
          <p:cNvSpPr>
            <a:spLocks noGrp="1"/>
          </p:cNvSpPr>
          <p:nvPr>
            <p:ph sz="quarter" idx="19" hasCustomPrompt="1"/>
          </p:nvPr>
        </p:nvSpPr>
        <p:spPr>
          <a:xfrm>
            <a:off x="6314224" y="1842765"/>
            <a:ext cx="3528637" cy="184667"/>
          </a:xfrm>
        </p:spPr>
        <p:txBody>
          <a:bodyPr wrap="square">
            <a:spAutoFit/>
          </a:bodyPr>
          <a:lstStyle>
            <a:lvl1pPr marL="0" indent="0">
              <a:lnSpc>
                <a:spcPct val="100000"/>
              </a:lnSpc>
              <a:spcAft>
                <a:spcPts val="0"/>
              </a:spcAft>
              <a:buNone/>
              <a:defRPr sz="12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
        <p:nvSpPr>
          <p:cNvPr id="38" name="Content Placeholder 14">
            <a:extLst>
              <a:ext uri="{FF2B5EF4-FFF2-40B4-BE49-F238E27FC236}">
                <a16:creationId xmlns:a16="http://schemas.microsoft.com/office/drawing/2014/main" id="{6CF2A91E-3DEB-22EB-B475-4C76E3633370}"/>
              </a:ext>
            </a:extLst>
          </p:cNvPr>
          <p:cNvSpPr>
            <a:spLocks noGrp="1"/>
          </p:cNvSpPr>
          <p:nvPr>
            <p:ph sz="quarter" idx="20" hasCustomPrompt="1"/>
          </p:nvPr>
        </p:nvSpPr>
        <p:spPr>
          <a:xfrm>
            <a:off x="6314224" y="2115019"/>
            <a:ext cx="3523019" cy="189549"/>
          </a:xfrm>
        </p:spPr>
        <p:txBody>
          <a:bodyPr wrap="square">
            <a:spAutoFit/>
          </a:bodyPr>
          <a:lstStyle>
            <a:lvl1pPr marL="0" indent="0">
              <a:lnSpc>
                <a:spcPct val="100000"/>
              </a:lnSpc>
              <a:spcAft>
                <a:spcPts val="0"/>
              </a:spcAft>
              <a:buNone/>
              <a:defRPr sz="1200">
                <a:solidFill>
                  <a:schemeClr val="accent1"/>
                </a:solidFill>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department</a:t>
            </a:r>
          </a:p>
        </p:txBody>
      </p:sp>
      <p:cxnSp>
        <p:nvCxnSpPr>
          <p:cNvPr id="39" name="Straight Connector 38">
            <a:extLst>
              <a:ext uri="{FF2B5EF4-FFF2-40B4-BE49-F238E27FC236}">
                <a16:creationId xmlns:a16="http://schemas.microsoft.com/office/drawing/2014/main" id="{B060437E-EE22-6F99-D785-340FAC982C8E}"/>
              </a:ext>
            </a:extLst>
          </p:cNvPr>
          <p:cNvCxnSpPr>
            <a:cxnSpLocks/>
          </p:cNvCxnSpPr>
          <p:nvPr userDrawn="1"/>
        </p:nvCxnSpPr>
        <p:spPr>
          <a:xfrm>
            <a:off x="6314223" y="2738287"/>
            <a:ext cx="539031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763330A-8296-37C1-774D-FCF4345FFAAD}"/>
              </a:ext>
            </a:extLst>
          </p:cNvPr>
          <p:cNvCxnSpPr>
            <a:cxnSpLocks/>
          </p:cNvCxnSpPr>
          <p:nvPr userDrawn="1"/>
        </p:nvCxnSpPr>
        <p:spPr>
          <a:xfrm>
            <a:off x="6314223" y="5663471"/>
            <a:ext cx="5390316" cy="0"/>
          </a:xfrm>
          <a:prstGeom prst="line">
            <a:avLst/>
          </a:prstGeom>
        </p:spPr>
        <p:style>
          <a:lnRef idx="1">
            <a:schemeClr val="accent1"/>
          </a:lnRef>
          <a:fillRef idx="0">
            <a:schemeClr val="accent1"/>
          </a:fillRef>
          <a:effectRef idx="0">
            <a:schemeClr val="accent1"/>
          </a:effectRef>
          <a:fontRef idx="minor">
            <a:schemeClr val="tx1"/>
          </a:fontRef>
        </p:style>
      </p:cxnSp>
      <p:pic>
        <p:nvPicPr>
          <p:cNvPr id="41" name="Graphic 40">
            <a:extLst>
              <a:ext uri="{FF2B5EF4-FFF2-40B4-BE49-F238E27FC236}">
                <a16:creationId xmlns:a16="http://schemas.microsoft.com/office/drawing/2014/main" id="{78137EB2-42D7-E91A-18D8-F13B5FCCFE70}"/>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76104" y="5725957"/>
            <a:ext cx="287867" cy="287867"/>
          </a:xfrm>
          <a:prstGeom prst="rect">
            <a:avLst/>
          </a:prstGeom>
        </p:spPr>
      </p:pic>
      <p:sp>
        <p:nvSpPr>
          <p:cNvPr id="42" name="Content Placeholder 14">
            <a:extLst>
              <a:ext uri="{FF2B5EF4-FFF2-40B4-BE49-F238E27FC236}">
                <a16:creationId xmlns:a16="http://schemas.microsoft.com/office/drawing/2014/main" id="{AF74C01C-EAE1-06EA-35E0-AA76B673FF8D}"/>
              </a:ext>
            </a:extLst>
          </p:cNvPr>
          <p:cNvSpPr>
            <a:spLocks noGrp="1"/>
          </p:cNvSpPr>
          <p:nvPr>
            <p:ph sz="quarter" idx="21" hasCustomPrompt="1"/>
          </p:nvPr>
        </p:nvSpPr>
        <p:spPr>
          <a:xfrm>
            <a:off x="6649273" y="5794979"/>
            <a:ext cx="2424113" cy="153888"/>
          </a:xfrm>
        </p:spPr>
        <p:txBody>
          <a:bodyPr wrap="square">
            <a:spAutoFit/>
          </a:bodyPr>
          <a:lstStyle>
            <a:lvl1pPr marL="0" indent="0">
              <a:buNone/>
              <a:defRPr sz="10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
        <p:nvSpPr>
          <p:cNvPr id="48" name="Text Placeholder 46">
            <a:extLst>
              <a:ext uri="{FF2B5EF4-FFF2-40B4-BE49-F238E27FC236}">
                <a16:creationId xmlns:a16="http://schemas.microsoft.com/office/drawing/2014/main" id="{B6717FCD-AD81-2BF8-FA5F-49D24352C4E6}"/>
              </a:ext>
            </a:extLst>
          </p:cNvPr>
          <p:cNvSpPr>
            <a:spLocks noGrp="1"/>
          </p:cNvSpPr>
          <p:nvPr>
            <p:ph type="body" sz="quarter" idx="22" hasCustomPrompt="1"/>
          </p:nvPr>
        </p:nvSpPr>
        <p:spPr>
          <a:xfrm>
            <a:off x="6293148" y="1435781"/>
            <a:ext cx="3528637" cy="319399"/>
          </a:xfrm>
        </p:spPr>
        <p:txBody>
          <a:bodyPr/>
          <a:lstStyle>
            <a:lvl1pPr marL="0" indent="0">
              <a:buNone/>
              <a:defRPr sz="2200"/>
            </a:lvl1pPr>
            <a:lvl2pPr marL="265072" indent="0">
              <a:buNone/>
              <a:defRPr/>
            </a:lvl2pPr>
            <a:lvl3pPr marL="446021" indent="0">
              <a:buNone/>
              <a:defRPr/>
            </a:lvl3pPr>
            <a:lvl4pPr marL="719873" indent="0">
              <a:buNone/>
              <a:defRPr/>
            </a:lvl4pPr>
            <a:lvl5pPr marL="898390" indent="0">
              <a:buNone/>
              <a:defRPr/>
            </a:lvl5pPr>
          </a:lstStyle>
          <a:p>
            <a:pPr lvl="0"/>
            <a:r>
              <a:rPr lang="en-GB"/>
              <a:t>Click to edit name</a:t>
            </a:r>
            <a:endParaRPr lang="en-US"/>
          </a:p>
        </p:txBody>
      </p:sp>
      <p:sp>
        <p:nvSpPr>
          <p:cNvPr id="2" name="Slide Number Placeholder 5">
            <a:extLst>
              <a:ext uri="{FF2B5EF4-FFF2-40B4-BE49-F238E27FC236}">
                <a16:creationId xmlns:a16="http://schemas.microsoft.com/office/drawing/2014/main" id="{BC1F50DB-B2ED-F842-FC2C-CE7D45826D47}"/>
              </a:ext>
            </a:extLst>
          </p:cNvPr>
          <p:cNvSpPr>
            <a:spLocks noGrp="1" noRot="1" noMove="1" noResize="1" noEditPoints="1" noAdjustHandles="1" noChangeArrowheads="1" noChangeShapeType="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pic>
        <p:nvPicPr>
          <p:cNvPr id="3" name="Graphic 2">
            <a:extLst>
              <a:ext uri="{FF2B5EF4-FFF2-40B4-BE49-F238E27FC236}">
                <a16:creationId xmlns:a16="http://schemas.microsoft.com/office/drawing/2014/main" id="{D3100D1E-0E85-4DB9-B94C-3E03F26630D0}"/>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6528" y="6012172"/>
            <a:ext cx="280365" cy="280365"/>
          </a:xfrm>
          <a:prstGeom prst="rect">
            <a:avLst/>
          </a:prstGeom>
        </p:spPr>
      </p:pic>
      <p:pic>
        <p:nvPicPr>
          <p:cNvPr id="4" name="Graphic 3">
            <a:extLst>
              <a:ext uri="{FF2B5EF4-FFF2-40B4-BE49-F238E27FC236}">
                <a16:creationId xmlns:a16="http://schemas.microsoft.com/office/drawing/2014/main" id="{85F0C4AF-37C5-353D-9339-FD7D3DC6DD72}"/>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83605" y="5981640"/>
            <a:ext cx="280365" cy="280365"/>
          </a:xfrm>
          <a:prstGeom prst="rect">
            <a:avLst/>
          </a:prstGeom>
        </p:spPr>
      </p:pic>
      <p:sp>
        <p:nvSpPr>
          <p:cNvPr id="11" name="Content Placeholder 14">
            <a:extLst>
              <a:ext uri="{FF2B5EF4-FFF2-40B4-BE49-F238E27FC236}">
                <a16:creationId xmlns:a16="http://schemas.microsoft.com/office/drawing/2014/main" id="{B3479ADB-6282-463D-02CE-5ED885B6A1FB}"/>
              </a:ext>
            </a:extLst>
          </p:cNvPr>
          <p:cNvSpPr>
            <a:spLocks noGrp="1"/>
          </p:cNvSpPr>
          <p:nvPr>
            <p:ph sz="quarter" idx="23" hasCustomPrompt="1"/>
          </p:nvPr>
        </p:nvSpPr>
        <p:spPr>
          <a:xfrm>
            <a:off x="832197" y="6075408"/>
            <a:ext cx="2424113" cy="153888"/>
          </a:xfrm>
        </p:spPr>
        <p:txBody>
          <a:bodyPr wrap="square">
            <a:spAutoFit/>
          </a:bodyPr>
          <a:lstStyle>
            <a:lvl1pPr marL="0" indent="0">
              <a:buNone/>
              <a:defRPr sz="10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
        <p:nvSpPr>
          <p:cNvPr id="12" name="Content Placeholder 14">
            <a:extLst>
              <a:ext uri="{FF2B5EF4-FFF2-40B4-BE49-F238E27FC236}">
                <a16:creationId xmlns:a16="http://schemas.microsoft.com/office/drawing/2014/main" id="{D612E67A-D8F5-3DAA-B1AC-55404814DF8A}"/>
              </a:ext>
            </a:extLst>
          </p:cNvPr>
          <p:cNvSpPr>
            <a:spLocks noGrp="1"/>
          </p:cNvSpPr>
          <p:nvPr>
            <p:ph sz="quarter" idx="24" hasCustomPrompt="1"/>
          </p:nvPr>
        </p:nvSpPr>
        <p:spPr>
          <a:xfrm>
            <a:off x="6649272" y="6082255"/>
            <a:ext cx="2424113" cy="153888"/>
          </a:xfrm>
        </p:spPr>
        <p:txBody>
          <a:bodyPr wrap="square">
            <a:spAutoFit/>
          </a:bodyPr>
          <a:lstStyle>
            <a:lvl1pPr marL="0" indent="0">
              <a:buNone/>
              <a:defRPr sz="10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Tree>
    <p:extLst>
      <p:ext uri="{BB962C8B-B14F-4D97-AF65-F5344CB8AC3E}">
        <p14:creationId xmlns:p14="http://schemas.microsoft.com/office/powerpoint/2010/main" val="92074569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2_Title, text box and circle for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7DD7A45-623E-C4E3-0294-9882B7AE0134}"/>
              </a:ext>
            </a:extLst>
          </p:cNvPr>
          <p:cNvSpPr/>
          <p:nvPr userDrawn="1"/>
        </p:nvSpPr>
        <p:spPr>
          <a:xfrm>
            <a:off x="6143299" y="954751"/>
            <a:ext cx="5652000" cy="548298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algn="ctr"/>
            <a:endParaRPr lang="en-US" sz="1000"/>
          </a:p>
        </p:txBody>
      </p:sp>
      <p:sp>
        <p:nvSpPr>
          <p:cNvPr id="8" name="Rectangle 7">
            <a:extLst>
              <a:ext uri="{FF2B5EF4-FFF2-40B4-BE49-F238E27FC236}">
                <a16:creationId xmlns:a16="http://schemas.microsoft.com/office/drawing/2014/main" id="{664571A8-8105-FCE4-5A5E-2EE1DE80D1CA}"/>
              </a:ext>
            </a:extLst>
          </p:cNvPr>
          <p:cNvSpPr/>
          <p:nvPr userDrawn="1"/>
        </p:nvSpPr>
        <p:spPr>
          <a:xfrm>
            <a:off x="405997" y="954751"/>
            <a:ext cx="5652000" cy="548298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algn="ctr"/>
            <a:endParaRPr lang="en-US" sz="1000"/>
          </a:p>
        </p:txBody>
      </p:sp>
      <p:graphicFrame>
        <p:nvGraphicFramePr>
          <p:cNvPr id="5" name="Object 4" hidden="1">
            <a:extLst>
              <a:ext uri="{FF2B5EF4-FFF2-40B4-BE49-F238E27FC236}">
                <a16:creationId xmlns:a16="http://schemas.microsoft.com/office/drawing/2014/main" id="{E968A405-2ADD-CD83-F2C5-E4C87A464DCC}"/>
              </a:ext>
            </a:extLst>
          </p:cNvPr>
          <p:cNvGraphicFramePr>
            <a:graphicFrameLocks noChangeAspect="1"/>
          </p:cNvGraphicFramePr>
          <p:nvPr userDrawn="1">
            <p:custDataLst>
              <p:tags r:id="rId1"/>
            </p:custDataLst>
            <p:extLst>
              <p:ext uri="{D42A27DB-BD31-4B8C-83A1-F6EECF244321}">
                <p14:modId xmlns:p14="http://schemas.microsoft.com/office/powerpoint/2010/main" val="51524010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E968A405-2ADD-CD83-F2C5-E4C87A464DCC}"/>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9" name="Picture Placeholder 2">
            <a:extLst>
              <a:ext uri="{FF2B5EF4-FFF2-40B4-BE49-F238E27FC236}">
                <a16:creationId xmlns:a16="http://schemas.microsoft.com/office/drawing/2014/main" id="{E1605E3C-D76A-4678-9277-BF9E20857561}"/>
              </a:ext>
            </a:extLst>
          </p:cNvPr>
          <p:cNvSpPr>
            <a:spLocks noGrp="1"/>
          </p:cNvSpPr>
          <p:nvPr>
            <p:ph type="pic" sz="quarter" idx="13" hasCustomPrompt="1"/>
          </p:nvPr>
        </p:nvSpPr>
        <p:spPr>
          <a:xfrm>
            <a:off x="4420127" y="1162182"/>
            <a:ext cx="1383476" cy="1383476"/>
          </a:xfrm>
          <a:prstGeom prst="ellipse">
            <a:avLst/>
          </a:prstGeom>
        </p:spPr>
        <p:txBody>
          <a:bodyPr/>
          <a:lstStyle>
            <a:lvl1pPr marL="6349" indent="-6349" algn="ctr">
              <a:buNone/>
              <a:tabLst/>
              <a:defRPr sz="1400" b="0" i="0">
                <a:solidFill>
                  <a:srgbClr val="1C67AF"/>
                </a:solidFill>
                <a:latin typeface="+mn-lt"/>
                <a:cs typeface="Arial" panose="020B0604020202020204" pitchFamily="34" charset="0"/>
              </a:defRPr>
            </a:lvl1pPr>
          </a:lstStyle>
          <a:p>
            <a:r>
              <a:rPr lang="en-US" noProof="0"/>
              <a:t>Add a picture here</a:t>
            </a:r>
          </a:p>
        </p:txBody>
      </p:sp>
      <p:sp>
        <p:nvSpPr>
          <p:cNvPr id="13" name="Content Placeholder 2">
            <a:extLst>
              <a:ext uri="{FF2B5EF4-FFF2-40B4-BE49-F238E27FC236}">
                <a16:creationId xmlns:a16="http://schemas.microsoft.com/office/drawing/2014/main" id="{484EE1B1-3BF4-1E8C-503B-B5EB2EE730E7}"/>
              </a:ext>
            </a:extLst>
          </p:cNvPr>
          <p:cNvSpPr>
            <a:spLocks noGrp="1"/>
          </p:cNvSpPr>
          <p:nvPr userDrawn="1">
            <p:ph idx="1" hasCustomPrompt="1"/>
          </p:nvPr>
        </p:nvSpPr>
        <p:spPr>
          <a:xfrm>
            <a:off x="619377" y="2876825"/>
            <a:ext cx="5184227" cy="2152549"/>
          </a:xfrm>
        </p:spPr>
        <p:txBody>
          <a:bodyPr lIns="0" tIns="0" rIns="0" bIns="0"/>
          <a:lstStyle>
            <a:lvl1pPr marL="0" indent="0">
              <a:spcAft>
                <a:spcPts val="600"/>
              </a:spcAft>
              <a:buNone/>
              <a:defRPr sz="1000">
                <a:solidFill>
                  <a:schemeClr val="accent1"/>
                </a:solidFill>
                <a:latin typeface="+mn-lt"/>
                <a:cs typeface="Arial" panose="020B0604020202020204" pitchFamily="34" charset="0"/>
              </a:defRPr>
            </a:lvl1pPr>
            <a:lvl2pPr>
              <a:defRPr sz="1600">
                <a:solidFill>
                  <a:schemeClr val="accent1"/>
                </a:solidFill>
                <a:latin typeface="+mn-lt"/>
                <a:cs typeface="Arial" panose="020B0604020202020204" pitchFamily="34" charset="0"/>
              </a:defRPr>
            </a:lvl2pPr>
            <a:lvl3pPr>
              <a:defRPr sz="1600">
                <a:solidFill>
                  <a:schemeClr val="accent1"/>
                </a:solidFill>
                <a:latin typeface="+mn-lt"/>
                <a:cs typeface="Arial" panose="020B0604020202020204" pitchFamily="34" charset="0"/>
              </a:defRPr>
            </a:lvl3pPr>
            <a:lvl4pPr>
              <a:defRPr sz="1600">
                <a:solidFill>
                  <a:schemeClr val="accent1"/>
                </a:solidFill>
                <a:latin typeface="+mn-lt"/>
                <a:cs typeface="Arial" panose="020B0604020202020204" pitchFamily="34" charset="0"/>
              </a:defRPr>
            </a:lvl4pPr>
            <a:lvl5pPr>
              <a:defRPr sz="1600">
                <a:solidFill>
                  <a:schemeClr val="accent1"/>
                </a:solidFill>
                <a:latin typeface="+mn-lt"/>
                <a:cs typeface="Arial" panose="020B0604020202020204" pitchFamily="34" charset="0"/>
              </a:defRPr>
            </a:lvl5pPr>
          </a:lstStyle>
          <a:p>
            <a:pPr lvl="0"/>
            <a:r>
              <a:rPr lang="en-GB"/>
              <a:t>Click to edit text</a:t>
            </a:r>
          </a:p>
        </p:txBody>
      </p:sp>
      <p:sp>
        <p:nvSpPr>
          <p:cNvPr id="14" name="Title Placeholder 1">
            <a:extLst>
              <a:ext uri="{FF2B5EF4-FFF2-40B4-BE49-F238E27FC236}">
                <a16:creationId xmlns:a16="http://schemas.microsoft.com/office/drawing/2014/main" id="{A7B2F633-82D2-AAA5-6A8E-D166CEA75ED3}"/>
              </a:ext>
            </a:extLst>
          </p:cNvPr>
          <p:cNvSpPr>
            <a:spLocks noGrp="1"/>
          </p:cNvSpPr>
          <p:nvPr userDrawn="1">
            <p:ph type="title" hasCustomPrompt="1"/>
          </p:nvPr>
        </p:nvSpPr>
        <p:spPr>
          <a:xfrm>
            <a:off x="624220" y="1170861"/>
            <a:ext cx="3528637" cy="338555"/>
          </a:xfrm>
          <a:prstGeom prst="rect">
            <a:avLst/>
          </a:prstGeom>
        </p:spPr>
        <p:txBody>
          <a:bodyPr vert="horz" wrap="square" lIns="0" tIns="0" rIns="0" bIns="0" rtlCol="0" anchor="t" anchorCtr="0">
            <a:spAutoFit/>
          </a:bodyPr>
          <a:lstStyle>
            <a:lvl1pPr>
              <a:lnSpc>
                <a:spcPct val="100000"/>
              </a:lnSpc>
              <a:spcAft>
                <a:spcPts val="0"/>
              </a:spcAft>
              <a:defRPr sz="2200">
                <a:solidFill>
                  <a:schemeClr val="accent1"/>
                </a:solidFill>
              </a:defRPr>
            </a:lvl1pPr>
          </a:lstStyle>
          <a:p>
            <a:r>
              <a:rPr lang="en-GB"/>
              <a:t>Click to edit name</a:t>
            </a:r>
            <a:endParaRPr lang="en-US"/>
          </a:p>
        </p:txBody>
      </p:sp>
      <p:sp>
        <p:nvSpPr>
          <p:cNvPr id="15" name="Content Placeholder 14">
            <a:extLst>
              <a:ext uri="{FF2B5EF4-FFF2-40B4-BE49-F238E27FC236}">
                <a16:creationId xmlns:a16="http://schemas.microsoft.com/office/drawing/2014/main" id="{FF753E04-D8D4-D94D-F988-9FFFA9DCFF38}"/>
              </a:ext>
            </a:extLst>
          </p:cNvPr>
          <p:cNvSpPr>
            <a:spLocks noGrp="1"/>
          </p:cNvSpPr>
          <p:nvPr userDrawn="1">
            <p:ph sz="quarter" idx="10" hasCustomPrompt="1"/>
          </p:nvPr>
        </p:nvSpPr>
        <p:spPr>
          <a:xfrm>
            <a:off x="624220" y="1577849"/>
            <a:ext cx="3528637" cy="184667"/>
          </a:xfrm>
        </p:spPr>
        <p:txBody>
          <a:bodyPr wrap="square">
            <a:spAutoFit/>
          </a:bodyPr>
          <a:lstStyle>
            <a:lvl1pPr marL="0" indent="0">
              <a:lnSpc>
                <a:spcPct val="100000"/>
              </a:lnSpc>
              <a:spcAft>
                <a:spcPts val="0"/>
              </a:spcAft>
              <a:buNone/>
              <a:defRPr sz="12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
        <p:nvSpPr>
          <p:cNvPr id="16" name="Content Placeholder 14">
            <a:extLst>
              <a:ext uri="{FF2B5EF4-FFF2-40B4-BE49-F238E27FC236}">
                <a16:creationId xmlns:a16="http://schemas.microsoft.com/office/drawing/2014/main" id="{A0C2DDF2-18CF-5695-A1D3-4CBE0DD03B45}"/>
              </a:ext>
            </a:extLst>
          </p:cNvPr>
          <p:cNvSpPr>
            <a:spLocks noGrp="1"/>
          </p:cNvSpPr>
          <p:nvPr userDrawn="1">
            <p:ph sz="quarter" idx="15" hasCustomPrompt="1"/>
          </p:nvPr>
        </p:nvSpPr>
        <p:spPr>
          <a:xfrm>
            <a:off x="624221" y="1850103"/>
            <a:ext cx="3523019" cy="189549"/>
          </a:xfrm>
        </p:spPr>
        <p:txBody>
          <a:bodyPr wrap="square">
            <a:spAutoFit/>
          </a:bodyPr>
          <a:lstStyle>
            <a:lvl1pPr marL="0" indent="0">
              <a:lnSpc>
                <a:spcPct val="100000"/>
              </a:lnSpc>
              <a:spcAft>
                <a:spcPts val="0"/>
              </a:spcAft>
              <a:buNone/>
              <a:defRPr sz="1200">
                <a:solidFill>
                  <a:schemeClr val="accent1"/>
                </a:solidFill>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department</a:t>
            </a:r>
          </a:p>
        </p:txBody>
      </p:sp>
      <p:sp>
        <p:nvSpPr>
          <p:cNvPr id="6" name="Footer Placeholder 3">
            <a:extLst>
              <a:ext uri="{FF2B5EF4-FFF2-40B4-BE49-F238E27FC236}">
                <a16:creationId xmlns:a16="http://schemas.microsoft.com/office/drawing/2014/main" id="{DD476C41-FFFA-05CD-CA02-7EE4CBBDC2A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sym typeface="Arial" panose="020B0604020202020204" pitchFamily="34" charset="0"/>
              </a:defRPr>
            </a:lvl1pPr>
          </a:lstStyle>
          <a:p>
            <a:endParaRPr lang="en-US"/>
          </a:p>
        </p:txBody>
      </p:sp>
      <p:pic>
        <p:nvPicPr>
          <p:cNvPr id="10" name="ZRS Logo Horozontal">
            <a:extLst>
              <a:ext uri="{FF2B5EF4-FFF2-40B4-BE49-F238E27FC236}">
                <a16:creationId xmlns:a16="http://schemas.microsoft.com/office/drawing/2014/main" id="{4A6122EF-A497-DBA7-197B-61225A2724A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00530" y="190545"/>
            <a:ext cx="1338812" cy="444537"/>
          </a:xfrm>
          <a:prstGeom prst="rect">
            <a:avLst/>
          </a:prstGeom>
        </p:spPr>
      </p:pic>
      <p:cxnSp>
        <p:nvCxnSpPr>
          <p:cNvPr id="21" name="Straight Connector 20">
            <a:extLst>
              <a:ext uri="{FF2B5EF4-FFF2-40B4-BE49-F238E27FC236}">
                <a16:creationId xmlns:a16="http://schemas.microsoft.com/office/drawing/2014/main" id="{BE670943-FC21-7B9C-D6F7-7DF4D2377E76}"/>
              </a:ext>
            </a:extLst>
          </p:cNvPr>
          <p:cNvCxnSpPr>
            <a:cxnSpLocks/>
          </p:cNvCxnSpPr>
          <p:nvPr userDrawn="1"/>
        </p:nvCxnSpPr>
        <p:spPr>
          <a:xfrm>
            <a:off x="624218" y="2738287"/>
            <a:ext cx="518422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E77C6FE-D6CB-5CB3-601C-8433FF8D0FB9}"/>
              </a:ext>
            </a:extLst>
          </p:cNvPr>
          <p:cNvCxnSpPr>
            <a:cxnSpLocks/>
          </p:cNvCxnSpPr>
          <p:nvPr userDrawn="1"/>
        </p:nvCxnSpPr>
        <p:spPr>
          <a:xfrm>
            <a:off x="624218" y="5663471"/>
            <a:ext cx="5184227" cy="0"/>
          </a:xfrm>
          <a:prstGeom prst="line">
            <a:avLst/>
          </a:prstGeom>
        </p:spPr>
        <p:style>
          <a:lnRef idx="1">
            <a:schemeClr val="accent1"/>
          </a:lnRef>
          <a:fillRef idx="0">
            <a:schemeClr val="accent1"/>
          </a:fillRef>
          <a:effectRef idx="0">
            <a:schemeClr val="accent1"/>
          </a:effectRef>
          <a:fontRef idx="minor">
            <a:schemeClr val="tx1"/>
          </a:fontRef>
        </p:style>
      </p:cxnSp>
      <p:pic>
        <p:nvPicPr>
          <p:cNvPr id="25" name="Graphic 24">
            <a:extLst>
              <a:ext uri="{FF2B5EF4-FFF2-40B4-BE49-F238E27FC236}">
                <a16:creationId xmlns:a16="http://schemas.microsoft.com/office/drawing/2014/main" id="{62B323BC-B783-6501-06B3-A8AF5D498C96}"/>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6101" y="5725957"/>
            <a:ext cx="287867" cy="287867"/>
          </a:xfrm>
          <a:prstGeom prst="rect">
            <a:avLst/>
          </a:prstGeom>
        </p:spPr>
      </p:pic>
      <p:sp>
        <p:nvSpPr>
          <p:cNvPr id="30" name="Content Placeholder 14">
            <a:extLst>
              <a:ext uri="{FF2B5EF4-FFF2-40B4-BE49-F238E27FC236}">
                <a16:creationId xmlns:a16="http://schemas.microsoft.com/office/drawing/2014/main" id="{2ED063E8-AABE-8D0D-6883-1F4CEC9F5044}"/>
              </a:ext>
            </a:extLst>
          </p:cNvPr>
          <p:cNvSpPr>
            <a:spLocks noGrp="1"/>
          </p:cNvSpPr>
          <p:nvPr>
            <p:ph sz="quarter" idx="16" hasCustomPrompt="1"/>
          </p:nvPr>
        </p:nvSpPr>
        <p:spPr>
          <a:xfrm>
            <a:off x="959269" y="5794979"/>
            <a:ext cx="2424113" cy="153888"/>
          </a:xfrm>
        </p:spPr>
        <p:txBody>
          <a:bodyPr wrap="square">
            <a:spAutoFit/>
          </a:bodyPr>
          <a:lstStyle>
            <a:lvl1pPr marL="0" indent="0">
              <a:buNone/>
              <a:defRPr sz="10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
        <p:nvSpPr>
          <p:cNvPr id="31" name="Title Placeholder 1">
            <a:extLst>
              <a:ext uri="{FF2B5EF4-FFF2-40B4-BE49-F238E27FC236}">
                <a16:creationId xmlns:a16="http://schemas.microsoft.com/office/drawing/2014/main" id="{EB6D354D-6C4D-057A-4F15-48E60356FC11}"/>
              </a:ext>
            </a:extLst>
          </p:cNvPr>
          <p:cNvSpPr txBox="1">
            <a:spLocks/>
          </p:cNvSpPr>
          <p:nvPr userDrawn="1"/>
        </p:nvSpPr>
        <p:spPr>
          <a:xfrm>
            <a:off x="250829" y="249927"/>
            <a:ext cx="9586415" cy="415498"/>
          </a:xfrm>
          <a:prstGeom prst="rect">
            <a:avLst/>
          </a:prstGeom>
        </p:spPr>
        <p:txBody>
          <a:bodyPr vert="horz" lIns="0" tIns="0" rIns="0" bIns="0" rtlCol="0" anchor="t" anchorCtr="0">
            <a:spAutoFit/>
          </a:bodyPr>
          <a:lstStyle>
            <a:lvl1pPr algn="l" defTabSz="914354" rtl="0" eaLnBrk="1" latinLnBrk="0" hangingPunct="1">
              <a:lnSpc>
                <a:spcPct val="90000"/>
              </a:lnSpc>
              <a:spcBef>
                <a:spcPct val="0"/>
              </a:spcBef>
              <a:buNone/>
              <a:defRPr sz="2400" kern="1200">
                <a:solidFill>
                  <a:schemeClr val="accent1"/>
                </a:solidFill>
                <a:latin typeface="+mn-lt"/>
                <a:ea typeface="+mj-ea"/>
                <a:cs typeface="+mj-cs"/>
              </a:defRPr>
            </a:lvl1pPr>
          </a:lstStyle>
          <a:p>
            <a:r>
              <a:rPr lang="en-GB" sz="3000"/>
              <a:t>Project Leadership Team</a:t>
            </a:r>
            <a:endParaRPr lang="en-ES" sz="3000"/>
          </a:p>
        </p:txBody>
      </p:sp>
      <p:sp>
        <p:nvSpPr>
          <p:cNvPr id="34" name="Picture Placeholder 2">
            <a:extLst>
              <a:ext uri="{FF2B5EF4-FFF2-40B4-BE49-F238E27FC236}">
                <a16:creationId xmlns:a16="http://schemas.microsoft.com/office/drawing/2014/main" id="{3E35D496-FDFD-FABB-DFE7-EAE5C361F006}"/>
              </a:ext>
            </a:extLst>
          </p:cNvPr>
          <p:cNvSpPr>
            <a:spLocks noGrp="1"/>
          </p:cNvSpPr>
          <p:nvPr>
            <p:ph type="pic" sz="quarter" idx="17" hasCustomPrompt="1"/>
          </p:nvPr>
        </p:nvSpPr>
        <p:spPr>
          <a:xfrm>
            <a:off x="10136354" y="1162182"/>
            <a:ext cx="1383476" cy="1383476"/>
          </a:xfrm>
          <a:prstGeom prst="ellipse">
            <a:avLst/>
          </a:prstGeom>
        </p:spPr>
        <p:txBody>
          <a:bodyPr/>
          <a:lstStyle>
            <a:lvl1pPr marL="6349" indent="-6349" algn="ctr">
              <a:buNone/>
              <a:tabLst/>
              <a:defRPr sz="1400" b="0" i="0">
                <a:solidFill>
                  <a:srgbClr val="1C67AF"/>
                </a:solidFill>
                <a:latin typeface="+mn-lt"/>
                <a:cs typeface="Arial" panose="020B0604020202020204" pitchFamily="34" charset="0"/>
              </a:defRPr>
            </a:lvl1pPr>
          </a:lstStyle>
          <a:p>
            <a:r>
              <a:rPr lang="en-US" noProof="0"/>
              <a:t>Add a picture here</a:t>
            </a:r>
          </a:p>
        </p:txBody>
      </p:sp>
      <p:sp>
        <p:nvSpPr>
          <p:cNvPr id="35" name="Content Placeholder 2">
            <a:extLst>
              <a:ext uri="{FF2B5EF4-FFF2-40B4-BE49-F238E27FC236}">
                <a16:creationId xmlns:a16="http://schemas.microsoft.com/office/drawing/2014/main" id="{762318E5-FFF5-C37B-C533-ACF2BAF300B4}"/>
              </a:ext>
            </a:extLst>
          </p:cNvPr>
          <p:cNvSpPr>
            <a:spLocks noGrp="1"/>
          </p:cNvSpPr>
          <p:nvPr>
            <p:ph idx="18" hasCustomPrompt="1"/>
          </p:nvPr>
        </p:nvSpPr>
        <p:spPr>
          <a:xfrm>
            <a:off x="6356681" y="2876825"/>
            <a:ext cx="5187295" cy="2152549"/>
          </a:xfrm>
        </p:spPr>
        <p:txBody>
          <a:bodyPr lIns="0" tIns="0" rIns="0" bIns="0"/>
          <a:lstStyle>
            <a:lvl1pPr marL="0" indent="0">
              <a:spcAft>
                <a:spcPts val="600"/>
              </a:spcAft>
              <a:buNone/>
              <a:defRPr sz="1000">
                <a:solidFill>
                  <a:schemeClr val="accent1"/>
                </a:solidFill>
                <a:latin typeface="+mn-lt"/>
                <a:cs typeface="Arial" panose="020B0604020202020204" pitchFamily="34" charset="0"/>
              </a:defRPr>
            </a:lvl1pPr>
            <a:lvl2pPr>
              <a:defRPr sz="1600">
                <a:solidFill>
                  <a:schemeClr val="accent1"/>
                </a:solidFill>
                <a:latin typeface="+mn-lt"/>
                <a:cs typeface="Arial" panose="020B0604020202020204" pitchFamily="34" charset="0"/>
              </a:defRPr>
            </a:lvl2pPr>
            <a:lvl3pPr>
              <a:defRPr sz="1600">
                <a:solidFill>
                  <a:schemeClr val="accent1"/>
                </a:solidFill>
                <a:latin typeface="+mn-lt"/>
                <a:cs typeface="Arial" panose="020B0604020202020204" pitchFamily="34" charset="0"/>
              </a:defRPr>
            </a:lvl3pPr>
            <a:lvl4pPr>
              <a:defRPr sz="1600">
                <a:solidFill>
                  <a:schemeClr val="accent1"/>
                </a:solidFill>
                <a:latin typeface="+mn-lt"/>
                <a:cs typeface="Arial" panose="020B0604020202020204" pitchFamily="34" charset="0"/>
              </a:defRPr>
            </a:lvl4pPr>
            <a:lvl5pPr>
              <a:defRPr sz="1600">
                <a:solidFill>
                  <a:schemeClr val="accent1"/>
                </a:solidFill>
                <a:latin typeface="+mn-lt"/>
                <a:cs typeface="Arial" panose="020B0604020202020204" pitchFamily="34" charset="0"/>
              </a:defRPr>
            </a:lvl5pPr>
          </a:lstStyle>
          <a:p>
            <a:pPr lvl="0"/>
            <a:r>
              <a:rPr lang="en-GB"/>
              <a:t>Click to edit text</a:t>
            </a:r>
          </a:p>
        </p:txBody>
      </p:sp>
      <p:sp>
        <p:nvSpPr>
          <p:cNvPr id="37" name="Content Placeholder 14">
            <a:extLst>
              <a:ext uri="{FF2B5EF4-FFF2-40B4-BE49-F238E27FC236}">
                <a16:creationId xmlns:a16="http://schemas.microsoft.com/office/drawing/2014/main" id="{3F055F6C-3A43-F200-6B9B-8AFC878C3EDE}"/>
              </a:ext>
            </a:extLst>
          </p:cNvPr>
          <p:cNvSpPr>
            <a:spLocks noGrp="1"/>
          </p:cNvSpPr>
          <p:nvPr>
            <p:ph sz="quarter" idx="19" hasCustomPrompt="1"/>
          </p:nvPr>
        </p:nvSpPr>
        <p:spPr>
          <a:xfrm>
            <a:off x="6361522" y="1577849"/>
            <a:ext cx="3528637" cy="184667"/>
          </a:xfrm>
        </p:spPr>
        <p:txBody>
          <a:bodyPr wrap="square">
            <a:spAutoFit/>
          </a:bodyPr>
          <a:lstStyle>
            <a:lvl1pPr marL="0" indent="0">
              <a:lnSpc>
                <a:spcPct val="100000"/>
              </a:lnSpc>
              <a:spcAft>
                <a:spcPts val="0"/>
              </a:spcAft>
              <a:buNone/>
              <a:defRPr sz="12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
        <p:nvSpPr>
          <p:cNvPr id="38" name="Content Placeholder 14">
            <a:extLst>
              <a:ext uri="{FF2B5EF4-FFF2-40B4-BE49-F238E27FC236}">
                <a16:creationId xmlns:a16="http://schemas.microsoft.com/office/drawing/2014/main" id="{6CF2A91E-3DEB-22EB-B475-4C76E3633370}"/>
              </a:ext>
            </a:extLst>
          </p:cNvPr>
          <p:cNvSpPr>
            <a:spLocks noGrp="1"/>
          </p:cNvSpPr>
          <p:nvPr>
            <p:ph sz="quarter" idx="20" hasCustomPrompt="1"/>
          </p:nvPr>
        </p:nvSpPr>
        <p:spPr>
          <a:xfrm>
            <a:off x="6361521" y="1850103"/>
            <a:ext cx="3523019" cy="189549"/>
          </a:xfrm>
        </p:spPr>
        <p:txBody>
          <a:bodyPr wrap="square">
            <a:spAutoFit/>
          </a:bodyPr>
          <a:lstStyle>
            <a:lvl1pPr marL="0" indent="0">
              <a:lnSpc>
                <a:spcPct val="100000"/>
              </a:lnSpc>
              <a:spcAft>
                <a:spcPts val="0"/>
              </a:spcAft>
              <a:buNone/>
              <a:defRPr sz="1200">
                <a:solidFill>
                  <a:schemeClr val="accent1"/>
                </a:solidFill>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department</a:t>
            </a:r>
          </a:p>
        </p:txBody>
      </p:sp>
      <p:cxnSp>
        <p:nvCxnSpPr>
          <p:cNvPr id="39" name="Straight Connector 38">
            <a:extLst>
              <a:ext uri="{FF2B5EF4-FFF2-40B4-BE49-F238E27FC236}">
                <a16:creationId xmlns:a16="http://schemas.microsoft.com/office/drawing/2014/main" id="{B060437E-EE22-6F99-D785-340FAC982C8E}"/>
              </a:ext>
            </a:extLst>
          </p:cNvPr>
          <p:cNvCxnSpPr>
            <a:cxnSpLocks/>
          </p:cNvCxnSpPr>
          <p:nvPr userDrawn="1"/>
        </p:nvCxnSpPr>
        <p:spPr>
          <a:xfrm>
            <a:off x="6361522" y="2738287"/>
            <a:ext cx="518729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763330A-8296-37C1-774D-FCF4345FFAAD}"/>
              </a:ext>
            </a:extLst>
          </p:cNvPr>
          <p:cNvCxnSpPr>
            <a:cxnSpLocks/>
          </p:cNvCxnSpPr>
          <p:nvPr userDrawn="1"/>
        </p:nvCxnSpPr>
        <p:spPr>
          <a:xfrm>
            <a:off x="6361522" y="5663471"/>
            <a:ext cx="5187295" cy="0"/>
          </a:xfrm>
          <a:prstGeom prst="line">
            <a:avLst/>
          </a:prstGeom>
        </p:spPr>
        <p:style>
          <a:lnRef idx="1">
            <a:schemeClr val="accent1"/>
          </a:lnRef>
          <a:fillRef idx="0">
            <a:schemeClr val="accent1"/>
          </a:fillRef>
          <a:effectRef idx="0">
            <a:schemeClr val="accent1"/>
          </a:effectRef>
          <a:fontRef idx="minor">
            <a:schemeClr val="tx1"/>
          </a:fontRef>
        </p:style>
      </p:cxnSp>
      <p:pic>
        <p:nvPicPr>
          <p:cNvPr id="41" name="Graphic 40">
            <a:extLst>
              <a:ext uri="{FF2B5EF4-FFF2-40B4-BE49-F238E27FC236}">
                <a16:creationId xmlns:a16="http://schemas.microsoft.com/office/drawing/2014/main" id="{78137EB2-42D7-E91A-18D8-F13B5FCCFE70}"/>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23401" y="5725957"/>
            <a:ext cx="287867" cy="287867"/>
          </a:xfrm>
          <a:prstGeom prst="rect">
            <a:avLst/>
          </a:prstGeom>
        </p:spPr>
      </p:pic>
      <p:sp>
        <p:nvSpPr>
          <p:cNvPr id="42" name="Content Placeholder 14">
            <a:extLst>
              <a:ext uri="{FF2B5EF4-FFF2-40B4-BE49-F238E27FC236}">
                <a16:creationId xmlns:a16="http://schemas.microsoft.com/office/drawing/2014/main" id="{AF74C01C-EAE1-06EA-35E0-AA76B673FF8D}"/>
              </a:ext>
            </a:extLst>
          </p:cNvPr>
          <p:cNvSpPr>
            <a:spLocks noGrp="1"/>
          </p:cNvSpPr>
          <p:nvPr>
            <p:ph sz="quarter" idx="21" hasCustomPrompt="1"/>
          </p:nvPr>
        </p:nvSpPr>
        <p:spPr>
          <a:xfrm>
            <a:off x="6696570" y="5794979"/>
            <a:ext cx="2424113" cy="153888"/>
          </a:xfrm>
        </p:spPr>
        <p:txBody>
          <a:bodyPr wrap="square">
            <a:spAutoFit/>
          </a:bodyPr>
          <a:lstStyle>
            <a:lvl1pPr marL="0" indent="0">
              <a:buNone/>
              <a:defRPr sz="10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
        <p:nvSpPr>
          <p:cNvPr id="48" name="Text Placeholder 46">
            <a:extLst>
              <a:ext uri="{FF2B5EF4-FFF2-40B4-BE49-F238E27FC236}">
                <a16:creationId xmlns:a16="http://schemas.microsoft.com/office/drawing/2014/main" id="{B6717FCD-AD81-2BF8-FA5F-49D24352C4E6}"/>
              </a:ext>
            </a:extLst>
          </p:cNvPr>
          <p:cNvSpPr>
            <a:spLocks noGrp="1"/>
          </p:cNvSpPr>
          <p:nvPr>
            <p:ph type="body" sz="quarter" idx="22" hasCustomPrompt="1"/>
          </p:nvPr>
        </p:nvSpPr>
        <p:spPr>
          <a:xfrm>
            <a:off x="6340447" y="1170865"/>
            <a:ext cx="3528637" cy="319399"/>
          </a:xfrm>
        </p:spPr>
        <p:txBody>
          <a:bodyPr/>
          <a:lstStyle>
            <a:lvl1pPr marL="0" indent="0">
              <a:buNone/>
              <a:defRPr sz="2200"/>
            </a:lvl1pPr>
            <a:lvl2pPr marL="265072" indent="0">
              <a:buNone/>
              <a:defRPr/>
            </a:lvl2pPr>
            <a:lvl3pPr marL="446021" indent="0">
              <a:buNone/>
              <a:defRPr/>
            </a:lvl3pPr>
            <a:lvl4pPr marL="719873" indent="0">
              <a:buNone/>
              <a:defRPr/>
            </a:lvl4pPr>
            <a:lvl5pPr marL="898390" indent="0">
              <a:buNone/>
              <a:defRPr/>
            </a:lvl5pPr>
          </a:lstStyle>
          <a:p>
            <a:pPr lvl="0"/>
            <a:r>
              <a:rPr lang="en-GB"/>
              <a:t>Click to edit name</a:t>
            </a:r>
            <a:endParaRPr lang="en-US"/>
          </a:p>
        </p:txBody>
      </p:sp>
      <p:sp>
        <p:nvSpPr>
          <p:cNvPr id="2" name="Slide Number Placeholder 5">
            <a:extLst>
              <a:ext uri="{FF2B5EF4-FFF2-40B4-BE49-F238E27FC236}">
                <a16:creationId xmlns:a16="http://schemas.microsoft.com/office/drawing/2014/main" id="{BC1F50DB-B2ED-F842-FC2C-CE7D45826D47}"/>
              </a:ext>
            </a:extLst>
          </p:cNvPr>
          <p:cNvSpPr>
            <a:spLocks noGrp="1" noRot="1" noMove="1" noResize="1" noEditPoints="1" noAdjustHandles="1" noChangeArrowheads="1" noChangeShapeType="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pic>
        <p:nvPicPr>
          <p:cNvPr id="3" name="Graphic 2">
            <a:extLst>
              <a:ext uri="{FF2B5EF4-FFF2-40B4-BE49-F238E27FC236}">
                <a16:creationId xmlns:a16="http://schemas.microsoft.com/office/drawing/2014/main" id="{D3100D1E-0E85-4DB9-B94C-3E03F26630D0}"/>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3602" y="6012172"/>
            <a:ext cx="280365" cy="280365"/>
          </a:xfrm>
          <a:prstGeom prst="rect">
            <a:avLst/>
          </a:prstGeom>
        </p:spPr>
      </p:pic>
      <p:pic>
        <p:nvPicPr>
          <p:cNvPr id="4" name="Graphic 3">
            <a:extLst>
              <a:ext uri="{FF2B5EF4-FFF2-40B4-BE49-F238E27FC236}">
                <a16:creationId xmlns:a16="http://schemas.microsoft.com/office/drawing/2014/main" id="{85F0C4AF-37C5-353D-9339-FD7D3DC6DD72}"/>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30904" y="5981640"/>
            <a:ext cx="280365" cy="280365"/>
          </a:xfrm>
          <a:prstGeom prst="rect">
            <a:avLst/>
          </a:prstGeom>
        </p:spPr>
      </p:pic>
      <p:sp>
        <p:nvSpPr>
          <p:cNvPr id="11" name="Content Placeholder 14">
            <a:extLst>
              <a:ext uri="{FF2B5EF4-FFF2-40B4-BE49-F238E27FC236}">
                <a16:creationId xmlns:a16="http://schemas.microsoft.com/office/drawing/2014/main" id="{B3479ADB-6282-463D-02CE-5ED885B6A1FB}"/>
              </a:ext>
            </a:extLst>
          </p:cNvPr>
          <p:cNvSpPr>
            <a:spLocks noGrp="1"/>
          </p:cNvSpPr>
          <p:nvPr>
            <p:ph sz="quarter" idx="23" hasCustomPrompt="1"/>
          </p:nvPr>
        </p:nvSpPr>
        <p:spPr>
          <a:xfrm>
            <a:off x="959269" y="6075408"/>
            <a:ext cx="2424113" cy="153888"/>
          </a:xfrm>
        </p:spPr>
        <p:txBody>
          <a:bodyPr wrap="square">
            <a:spAutoFit/>
          </a:bodyPr>
          <a:lstStyle>
            <a:lvl1pPr marL="0" indent="0">
              <a:buNone/>
              <a:defRPr sz="10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
        <p:nvSpPr>
          <p:cNvPr id="12" name="Content Placeholder 14">
            <a:extLst>
              <a:ext uri="{FF2B5EF4-FFF2-40B4-BE49-F238E27FC236}">
                <a16:creationId xmlns:a16="http://schemas.microsoft.com/office/drawing/2014/main" id="{D612E67A-D8F5-3DAA-B1AC-55404814DF8A}"/>
              </a:ext>
            </a:extLst>
          </p:cNvPr>
          <p:cNvSpPr>
            <a:spLocks noGrp="1"/>
          </p:cNvSpPr>
          <p:nvPr>
            <p:ph sz="quarter" idx="24" hasCustomPrompt="1"/>
          </p:nvPr>
        </p:nvSpPr>
        <p:spPr>
          <a:xfrm>
            <a:off x="6696569" y="6082255"/>
            <a:ext cx="2424113" cy="153888"/>
          </a:xfrm>
        </p:spPr>
        <p:txBody>
          <a:bodyPr wrap="square">
            <a:spAutoFit/>
          </a:bodyPr>
          <a:lstStyle>
            <a:lvl1pPr marL="0" indent="0">
              <a:buNone/>
              <a:defRPr sz="10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Tree>
    <p:extLst>
      <p:ext uri="{BB962C8B-B14F-4D97-AF65-F5344CB8AC3E}">
        <p14:creationId xmlns:p14="http://schemas.microsoft.com/office/powerpoint/2010/main" val="2333885297"/>
      </p:ext>
    </p:extLst>
  </p:cSld>
  <p:clrMapOvr>
    <a:masterClrMapping/>
  </p:clrMapOvr>
  <p:extLst>
    <p:ext uri="{DCECCB84-F9BA-43D5-87BE-67443E8EF086}">
      <p15:sldGuideLst xmlns:p15="http://schemas.microsoft.com/office/powerpoint/2012/main">
        <p15:guide id="2" orient="horz" pos="73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text box and circle for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64571A8-8105-FCE4-5A5E-2EE1DE80D1CA}"/>
              </a:ext>
            </a:extLst>
          </p:cNvPr>
          <p:cNvSpPr/>
          <p:nvPr userDrawn="1"/>
        </p:nvSpPr>
        <p:spPr>
          <a:xfrm>
            <a:off x="0" y="973320"/>
            <a:ext cx="12192000" cy="58846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algn="ctr"/>
            <a:endParaRPr lang="en-US" sz="1000"/>
          </a:p>
        </p:txBody>
      </p:sp>
      <p:graphicFrame>
        <p:nvGraphicFramePr>
          <p:cNvPr id="5" name="Object 4" hidden="1">
            <a:extLst>
              <a:ext uri="{FF2B5EF4-FFF2-40B4-BE49-F238E27FC236}">
                <a16:creationId xmlns:a16="http://schemas.microsoft.com/office/drawing/2014/main" id="{E968A405-2ADD-CD83-F2C5-E4C87A464DCC}"/>
              </a:ext>
            </a:extLst>
          </p:cNvPr>
          <p:cNvGraphicFramePr>
            <a:graphicFrameLocks noChangeAspect="1"/>
          </p:cNvGraphicFramePr>
          <p:nvPr userDrawn="1">
            <p:custDataLst>
              <p:tags r:id="rId1"/>
            </p:custDataLst>
            <p:extLst>
              <p:ext uri="{D42A27DB-BD31-4B8C-83A1-F6EECF244321}">
                <p14:modId xmlns:p14="http://schemas.microsoft.com/office/powerpoint/2010/main" val="51524010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E968A405-2ADD-CD83-F2C5-E4C87A464DCC}"/>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9" name="Picture Placeholder 2">
            <a:extLst>
              <a:ext uri="{FF2B5EF4-FFF2-40B4-BE49-F238E27FC236}">
                <a16:creationId xmlns:a16="http://schemas.microsoft.com/office/drawing/2014/main" id="{E1605E3C-D76A-4678-9277-BF9E20857561}"/>
              </a:ext>
            </a:extLst>
          </p:cNvPr>
          <p:cNvSpPr>
            <a:spLocks noGrp="1"/>
          </p:cNvSpPr>
          <p:nvPr>
            <p:ph type="pic" sz="quarter" idx="13" hasCustomPrompt="1"/>
          </p:nvPr>
        </p:nvSpPr>
        <p:spPr>
          <a:xfrm>
            <a:off x="4323751" y="1155485"/>
            <a:ext cx="1383476" cy="1383476"/>
          </a:xfrm>
          <a:prstGeom prst="ellipse">
            <a:avLst/>
          </a:prstGeom>
        </p:spPr>
        <p:txBody>
          <a:bodyPr/>
          <a:lstStyle>
            <a:lvl1pPr marL="6349" indent="-6349" algn="ctr">
              <a:buNone/>
              <a:tabLst/>
              <a:defRPr sz="1400" b="0" i="0">
                <a:solidFill>
                  <a:srgbClr val="1C67AF"/>
                </a:solidFill>
                <a:latin typeface="+mn-lt"/>
                <a:cs typeface="Arial" panose="020B0604020202020204" pitchFamily="34" charset="0"/>
              </a:defRPr>
            </a:lvl1pPr>
          </a:lstStyle>
          <a:p>
            <a:r>
              <a:rPr lang="en-US" noProof="0"/>
              <a:t>Add a picture here</a:t>
            </a:r>
          </a:p>
        </p:txBody>
      </p:sp>
      <p:sp>
        <p:nvSpPr>
          <p:cNvPr id="13" name="Content Placeholder 2">
            <a:extLst>
              <a:ext uri="{FF2B5EF4-FFF2-40B4-BE49-F238E27FC236}">
                <a16:creationId xmlns:a16="http://schemas.microsoft.com/office/drawing/2014/main" id="{484EE1B1-3BF4-1E8C-503B-B5EB2EE730E7}"/>
              </a:ext>
            </a:extLst>
          </p:cNvPr>
          <p:cNvSpPr>
            <a:spLocks noGrp="1"/>
          </p:cNvSpPr>
          <p:nvPr userDrawn="1">
            <p:ph idx="1" hasCustomPrompt="1"/>
          </p:nvPr>
        </p:nvSpPr>
        <p:spPr>
          <a:xfrm>
            <a:off x="377563" y="2812208"/>
            <a:ext cx="5387127" cy="2152549"/>
          </a:xfrm>
        </p:spPr>
        <p:txBody>
          <a:bodyPr lIns="0" tIns="0" rIns="0" bIns="0"/>
          <a:lstStyle>
            <a:lvl1pPr marL="0" indent="0">
              <a:spcAft>
                <a:spcPts val="600"/>
              </a:spcAft>
              <a:buNone/>
              <a:defRPr sz="1000">
                <a:solidFill>
                  <a:schemeClr val="accent1"/>
                </a:solidFill>
                <a:latin typeface="+mn-lt"/>
                <a:cs typeface="Arial" panose="020B0604020202020204" pitchFamily="34" charset="0"/>
              </a:defRPr>
            </a:lvl1pPr>
            <a:lvl2pPr>
              <a:defRPr sz="1600">
                <a:solidFill>
                  <a:schemeClr val="accent1"/>
                </a:solidFill>
                <a:latin typeface="+mn-lt"/>
                <a:cs typeface="Arial" panose="020B0604020202020204" pitchFamily="34" charset="0"/>
              </a:defRPr>
            </a:lvl2pPr>
            <a:lvl3pPr>
              <a:defRPr sz="1600">
                <a:solidFill>
                  <a:schemeClr val="accent1"/>
                </a:solidFill>
                <a:latin typeface="+mn-lt"/>
                <a:cs typeface="Arial" panose="020B0604020202020204" pitchFamily="34" charset="0"/>
              </a:defRPr>
            </a:lvl3pPr>
            <a:lvl4pPr>
              <a:defRPr sz="1600">
                <a:solidFill>
                  <a:schemeClr val="accent1"/>
                </a:solidFill>
                <a:latin typeface="+mn-lt"/>
                <a:cs typeface="Arial" panose="020B0604020202020204" pitchFamily="34" charset="0"/>
              </a:defRPr>
            </a:lvl4pPr>
            <a:lvl5pPr>
              <a:defRPr sz="1600">
                <a:solidFill>
                  <a:schemeClr val="accent1"/>
                </a:solidFill>
                <a:latin typeface="+mn-lt"/>
                <a:cs typeface="Arial" panose="020B0604020202020204" pitchFamily="34" charset="0"/>
              </a:defRPr>
            </a:lvl5pPr>
          </a:lstStyle>
          <a:p>
            <a:pPr lvl="0"/>
            <a:r>
              <a:rPr lang="en-GB"/>
              <a:t>Click to edit text</a:t>
            </a:r>
          </a:p>
        </p:txBody>
      </p:sp>
      <p:sp>
        <p:nvSpPr>
          <p:cNvPr id="14" name="Title Placeholder 1">
            <a:extLst>
              <a:ext uri="{FF2B5EF4-FFF2-40B4-BE49-F238E27FC236}">
                <a16:creationId xmlns:a16="http://schemas.microsoft.com/office/drawing/2014/main" id="{A7B2F633-82D2-AAA5-6A8E-D166CEA75ED3}"/>
              </a:ext>
            </a:extLst>
          </p:cNvPr>
          <p:cNvSpPr>
            <a:spLocks noGrp="1"/>
          </p:cNvSpPr>
          <p:nvPr userDrawn="1">
            <p:ph type="title" hasCustomPrompt="1"/>
          </p:nvPr>
        </p:nvSpPr>
        <p:spPr>
          <a:xfrm>
            <a:off x="382406" y="1254589"/>
            <a:ext cx="3528637" cy="338555"/>
          </a:xfrm>
          <a:prstGeom prst="rect">
            <a:avLst/>
          </a:prstGeom>
        </p:spPr>
        <p:txBody>
          <a:bodyPr vert="horz" wrap="square" lIns="0" tIns="0" rIns="0" bIns="0" rtlCol="0" anchor="t" anchorCtr="0">
            <a:spAutoFit/>
          </a:bodyPr>
          <a:lstStyle>
            <a:lvl1pPr>
              <a:lnSpc>
                <a:spcPct val="100000"/>
              </a:lnSpc>
              <a:spcAft>
                <a:spcPts val="0"/>
              </a:spcAft>
              <a:defRPr sz="2200">
                <a:solidFill>
                  <a:schemeClr val="accent1"/>
                </a:solidFill>
              </a:defRPr>
            </a:lvl1pPr>
          </a:lstStyle>
          <a:p>
            <a:r>
              <a:rPr lang="en-GB"/>
              <a:t>Click to edit name</a:t>
            </a:r>
            <a:endParaRPr lang="en-US"/>
          </a:p>
        </p:txBody>
      </p:sp>
      <p:sp>
        <p:nvSpPr>
          <p:cNvPr id="15" name="Content Placeholder 14">
            <a:extLst>
              <a:ext uri="{FF2B5EF4-FFF2-40B4-BE49-F238E27FC236}">
                <a16:creationId xmlns:a16="http://schemas.microsoft.com/office/drawing/2014/main" id="{FF753E04-D8D4-D94D-F988-9FFFA9DCFF38}"/>
              </a:ext>
            </a:extLst>
          </p:cNvPr>
          <p:cNvSpPr>
            <a:spLocks noGrp="1"/>
          </p:cNvSpPr>
          <p:nvPr userDrawn="1">
            <p:ph sz="quarter" idx="10" hasCustomPrompt="1"/>
          </p:nvPr>
        </p:nvSpPr>
        <p:spPr>
          <a:xfrm>
            <a:off x="382406" y="1661576"/>
            <a:ext cx="3528637" cy="184667"/>
          </a:xfrm>
        </p:spPr>
        <p:txBody>
          <a:bodyPr wrap="square">
            <a:spAutoFit/>
          </a:bodyPr>
          <a:lstStyle>
            <a:lvl1pPr marL="0" indent="0">
              <a:lnSpc>
                <a:spcPct val="100000"/>
              </a:lnSpc>
              <a:spcAft>
                <a:spcPts val="0"/>
              </a:spcAft>
              <a:buNone/>
              <a:defRPr sz="12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
        <p:nvSpPr>
          <p:cNvPr id="16" name="Content Placeholder 14">
            <a:extLst>
              <a:ext uri="{FF2B5EF4-FFF2-40B4-BE49-F238E27FC236}">
                <a16:creationId xmlns:a16="http://schemas.microsoft.com/office/drawing/2014/main" id="{A0C2DDF2-18CF-5695-A1D3-4CBE0DD03B45}"/>
              </a:ext>
            </a:extLst>
          </p:cNvPr>
          <p:cNvSpPr>
            <a:spLocks noGrp="1"/>
          </p:cNvSpPr>
          <p:nvPr userDrawn="1">
            <p:ph sz="quarter" idx="15" hasCustomPrompt="1"/>
          </p:nvPr>
        </p:nvSpPr>
        <p:spPr>
          <a:xfrm>
            <a:off x="382405" y="1933830"/>
            <a:ext cx="3523019" cy="189549"/>
          </a:xfrm>
        </p:spPr>
        <p:txBody>
          <a:bodyPr wrap="square">
            <a:spAutoFit/>
          </a:bodyPr>
          <a:lstStyle>
            <a:lvl1pPr marL="0" indent="0">
              <a:lnSpc>
                <a:spcPct val="100000"/>
              </a:lnSpc>
              <a:spcAft>
                <a:spcPts val="0"/>
              </a:spcAft>
              <a:buNone/>
              <a:defRPr sz="1200">
                <a:solidFill>
                  <a:schemeClr val="accent1"/>
                </a:solidFill>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department</a:t>
            </a:r>
          </a:p>
        </p:txBody>
      </p:sp>
      <p:pic>
        <p:nvPicPr>
          <p:cNvPr id="10" name="ZRS Logo Horozontal">
            <a:extLst>
              <a:ext uri="{FF2B5EF4-FFF2-40B4-BE49-F238E27FC236}">
                <a16:creationId xmlns:a16="http://schemas.microsoft.com/office/drawing/2014/main" id="{4A6122EF-A497-DBA7-197B-61225A2724A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600530" y="190545"/>
            <a:ext cx="1338812" cy="444537"/>
          </a:xfrm>
          <a:prstGeom prst="rect">
            <a:avLst/>
          </a:prstGeom>
        </p:spPr>
      </p:pic>
      <p:cxnSp>
        <p:nvCxnSpPr>
          <p:cNvPr id="21" name="Straight Connector 20">
            <a:extLst>
              <a:ext uri="{FF2B5EF4-FFF2-40B4-BE49-F238E27FC236}">
                <a16:creationId xmlns:a16="http://schemas.microsoft.com/office/drawing/2014/main" id="{BE670943-FC21-7B9C-D6F7-7DF4D2377E76}"/>
              </a:ext>
            </a:extLst>
          </p:cNvPr>
          <p:cNvCxnSpPr>
            <a:cxnSpLocks/>
          </p:cNvCxnSpPr>
          <p:nvPr userDrawn="1"/>
        </p:nvCxnSpPr>
        <p:spPr>
          <a:xfrm>
            <a:off x="382406" y="2673668"/>
            <a:ext cx="538712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E77C6FE-D6CB-5CB3-601C-8433FF8D0FB9}"/>
              </a:ext>
            </a:extLst>
          </p:cNvPr>
          <p:cNvCxnSpPr>
            <a:cxnSpLocks/>
          </p:cNvCxnSpPr>
          <p:nvPr userDrawn="1"/>
        </p:nvCxnSpPr>
        <p:spPr>
          <a:xfrm>
            <a:off x="382406" y="6187399"/>
            <a:ext cx="5387127" cy="0"/>
          </a:xfrm>
          <a:prstGeom prst="line">
            <a:avLst/>
          </a:prstGeom>
        </p:spPr>
        <p:style>
          <a:lnRef idx="1">
            <a:schemeClr val="accent1"/>
          </a:lnRef>
          <a:fillRef idx="0">
            <a:schemeClr val="accent1"/>
          </a:fillRef>
          <a:effectRef idx="0">
            <a:schemeClr val="accent1"/>
          </a:effectRef>
          <a:fontRef idx="minor">
            <a:schemeClr val="tx1"/>
          </a:fontRef>
        </p:style>
      </p:cxnSp>
      <p:pic>
        <p:nvPicPr>
          <p:cNvPr id="25" name="Graphic 24">
            <a:extLst>
              <a:ext uri="{FF2B5EF4-FFF2-40B4-BE49-F238E27FC236}">
                <a16:creationId xmlns:a16="http://schemas.microsoft.com/office/drawing/2014/main" id="{62B323BC-B783-6501-06B3-A8AF5D498C96}"/>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4285" y="6249887"/>
            <a:ext cx="287867" cy="287867"/>
          </a:xfrm>
          <a:prstGeom prst="rect">
            <a:avLst/>
          </a:prstGeom>
        </p:spPr>
      </p:pic>
      <p:sp>
        <p:nvSpPr>
          <p:cNvPr id="30" name="Content Placeholder 14">
            <a:extLst>
              <a:ext uri="{FF2B5EF4-FFF2-40B4-BE49-F238E27FC236}">
                <a16:creationId xmlns:a16="http://schemas.microsoft.com/office/drawing/2014/main" id="{2ED063E8-AABE-8D0D-6883-1F4CEC9F5044}"/>
              </a:ext>
            </a:extLst>
          </p:cNvPr>
          <p:cNvSpPr>
            <a:spLocks noGrp="1"/>
          </p:cNvSpPr>
          <p:nvPr>
            <p:ph sz="quarter" idx="16" hasCustomPrompt="1"/>
          </p:nvPr>
        </p:nvSpPr>
        <p:spPr>
          <a:xfrm>
            <a:off x="717455" y="6318907"/>
            <a:ext cx="2267124" cy="153871"/>
          </a:xfrm>
        </p:spPr>
        <p:txBody>
          <a:bodyPr wrap="square">
            <a:spAutoFit/>
          </a:bodyPr>
          <a:lstStyle>
            <a:lvl1pPr marL="0" indent="0">
              <a:buNone/>
              <a:defRPr sz="10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
        <p:nvSpPr>
          <p:cNvPr id="31" name="Title Placeholder 1">
            <a:extLst>
              <a:ext uri="{FF2B5EF4-FFF2-40B4-BE49-F238E27FC236}">
                <a16:creationId xmlns:a16="http://schemas.microsoft.com/office/drawing/2014/main" id="{EB6D354D-6C4D-057A-4F15-48E60356FC11}"/>
              </a:ext>
            </a:extLst>
          </p:cNvPr>
          <p:cNvSpPr txBox="1">
            <a:spLocks/>
          </p:cNvSpPr>
          <p:nvPr userDrawn="1"/>
        </p:nvSpPr>
        <p:spPr>
          <a:xfrm>
            <a:off x="250829" y="249927"/>
            <a:ext cx="9586415" cy="415498"/>
          </a:xfrm>
          <a:prstGeom prst="rect">
            <a:avLst/>
          </a:prstGeom>
        </p:spPr>
        <p:txBody>
          <a:bodyPr vert="horz" lIns="0" tIns="0" rIns="0" bIns="0" rtlCol="0" anchor="t" anchorCtr="0">
            <a:spAutoFit/>
          </a:bodyPr>
          <a:lstStyle>
            <a:lvl1pPr algn="l" defTabSz="914354" rtl="0" eaLnBrk="1" latinLnBrk="0" hangingPunct="1">
              <a:lnSpc>
                <a:spcPct val="90000"/>
              </a:lnSpc>
              <a:spcBef>
                <a:spcPct val="0"/>
              </a:spcBef>
              <a:buNone/>
              <a:defRPr sz="2400" kern="1200">
                <a:solidFill>
                  <a:schemeClr val="accent1"/>
                </a:solidFill>
                <a:latin typeface="+mn-lt"/>
                <a:ea typeface="+mj-ea"/>
                <a:cs typeface="+mj-cs"/>
              </a:defRPr>
            </a:lvl1pPr>
          </a:lstStyle>
          <a:p>
            <a:r>
              <a:rPr lang="en-GB" sz="3000"/>
              <a:t>Project Leadership Team</a:t>
            </a:r>
            <a:endParaRPr lang="en-ES" sz="3000"/>
          </a:p>
        </p:txBody>
      </p:sp>
      <p:sp>
        <p:nvSpPr>
          <p:cNvPr id="34" name="Picture Placeholder 2">
            <a:extLst>
              <a:ext uri="{FF2B5EF4-FFF2-40B4-BE49-F238E27FC236}">
                <a16:creationId xmlns:a16="http://schemas.microsoft.com/office/drawing/2014/main" id="{3E35D496-FDFD-FABB-DFE7-EAE5C361F006}"/>
              </a:ext>
            </a:extLst>
          </p:cNvPr>
          <p:cNvSpPr>
            <a:spLocks noGrp="1"/>
          </p:cNvSpPr>
          <p:nvPr>
            <p:ph type="pic" sz="quarter" idx="17" hasCustomPrompt="1"/>
          </p:nvPr>
        </p:nvSpPr>
        <p:spPr>
          <a:xfrm>
            <a:off x="10255263" y="1032494"/>
            <a:ext cx="1383476" cy="1383476"/>
          </a:xfrm>
          <a:prstGeom prst="ellipse">
            <a:avLst/>
          </a:prstGeom>
        </p:spPr>
        <p:txBody>
          <a:bodyPr/>
          <a:lstStyle>
            <a:lvl1pPr marL="6349" indent="-6349" algn="ctr">
              <a:buNone/>
              <a:tabLst/>
              <a:defRPr sz="1400" b="0" i="0">
                <a:solidFill>
                  <a:srgbClr val="1C67AF"/>
                </a:solidFill>
                <a:latin typeface="+mn-lt"/>
                <a:cs typeface="Arial" panose="020B0604020202020204" pitchFamily="34" charset="0"/>
              </a:defRPr>
            </a:lvl1pPr>
          </a:lstStyle>
          <a:p>
            <a:r>
              <a:rPr lang="en-US" noProof="0"/>
              <a:t>Add a picture here</a:t>
            </a:r>
          </a:p>
        </p:txBody>
      </p:sp>
      <p:sp>
        <p:nvSpPr>
          <p:cNvPr id="35" name="Content Placeholder 2">
            <a:extLst>
              <a:ext uri="{FF2B5EF4-FFF2-40B4-BE49-F238E27FC236}">
                <a16:creationId xmlns:a16="http://schemas.microsoft.com/office/drawing/2014/main" id="{762318E5-FFF5-C37B-C533-ACF2BAF300B4}"/>
              </a:ext>
            </a:extLst>
          </p:cNvPr>
          <p:cNvSpPr>
            <a:spLocks noGrp="1"/>
          </p:cNvSpPr>
          <p:nvPr>
            <p:ph idx="18" hasCustomPrompt="1"/>
          </p:nvPr>
        </p:nvSpPr>
        <p:spPr>
          <a:xfrm>
            <a:off x="6357981" y="2793319"/>
            <a:ext cx="5390316" cy="2152549"/>
          </a:xfrm>
        </p:spPr>
        <p:txBody>
          <a:bodyPr lIns="0" tIns="0" rIns="0" bIns="0"/>
          <a:lstStyle>
            <a:lvl1pPr marL="0" indent="0">
              <a:spcAft>
                <a:spcPts val="600"/>
              </a:spcAft>
              <a:buNone/>
              <a:defRPr sz="1000">
                <a:solidFill>
                  <a:schemeClr val="accent1"/>
                </a:solidFill>
                <a:latin typeface="+mn-lt"/>
                <a:cs typeface="Arial" panose="020B0604020202020204" pitchFamily="34" charset="0"/>
              </a:defRPr>
            </a:lvl1pPr>
            <a:lvl2pPr>
              <a:defRPr sz="1600">
                <a:solidFill>
                  <a:schemeClr val="accent1"/>
                </a:solidFill>
                <a:latin typeface="+mn-lt"/>
                <a:cs typeface="Arial" panose="020B0604020202020204" pitchFamily="34" charset="0"/>
              </a:defRPr>
            </a:lvl2pPr>
            <a:lvl3pPr>
              <a:defRPr sz="1600">
                <a:solidFill>
                  <a:schemeClr val="accent1"/>
                </a:solidFill>
                <a:latin typeface="+mn-lt"/>
                <a:cs typeface="Arial" panose="020B0604020202020204" pitchFamily="34" charset="0"/>
              </a:defRPr>
            </a:lvl3pPr>
            <a:lvl4pPr>
              <a:defRPr sz="1600">
                <a:solidFill>
                  <a:schemeClr val="accent1"/>
                </a:solidFill>
                <a:latin typeface="+mn-lt"/>
                <a:cs typeface="Arial" panose="020B0604020202020204" pitchFamily="34" charset="0"/>
              </a:defRPr>
            </a:lvl4pPr>
            <a:lvl5pPr>
              <a:defRPr sz="1600">
                <a:solidFill>
                  <a:schemeClr val="accent1"/>
                </a:solidFill>
                <a:latin typeface="+mn-lt"/>
                <a:cs typeface="Arial" panose="020B0604020202020204" pitchFamily="34" charset="0"/>
              </a:defRPr>
            </a:lvl5pPr>
          </a:lstStyle>
          <a:p>
            <a:pPr lvl="0"/>
            <a:r>
              <a:rPr lang="en-GB"/>
              <a:t>Click to edit text</a:t>
            </a:r>
          </a:p>
        </p:txBody>
      </p:sp>
      <p:sp>
        <p:nvSpPr>
          <p:cNvPr id="37" name="Content Placeholder 14">
            <a:extLst>
              <a:ext uri="{FF2B5EF4-FFF2-40B4-BE49-F238E27FC236}">
                <a16:creationId xmlns:a16="http://schemas.microsoft.com/office/drawing/2014/main" id="{3F055F6C-3A43-F200-6B9B-8AFC878C3EDE}"/>
              </a:ext>
            </a:extLst>
          </p:cNvPr>
          <p:cNvSpPr>
            <a:spLocks noGrp="1"/>
          </p:cNvSpPr>
          <p:nvPr>
            <p:ph sz="quarter" idx="19" hasCustomPrompt="1"/>
          </p:nvPr>
        </p:nvSpPr>
        <p:spPr>
          <a:xfrm>
            <a:off x="6362824" y="1667439"/>
            <a:ext cx="3528637" cy="184667"/>
          </a:xfrm>
        </p:spPr>
        <p:txBody>
          <a:bodyPr wrap="square">
            <a:spAutoFit/>
          </a:bodyPr>
          <a:lstStyle>
            <a:lvl1pPr marL="0" indent="0">
              <a:lnSpc>
                <a:spcPct val="100000"/>
              </a:lnSpc>
              <a:spcAft>
                <a:spcPts val="0"/>
              </a:spcAft>
              <a:buNone/>
              <a:defRPr sz="12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sp>
        <p:nvSpPr>
          <p:cNvPr id="38" name="Content Placeholder 14">
            <a:extLst>
              <a:ext uri="{FF2B5EF4-FFF2-40B4-BE49-F238E27FC236}">
                <a16:creationId xmlns:a16="http://schemas.microsoft.com/office/drawing/2014/main" id="{6CF2A91E-3DEB-22EB-B475-4C76E3633370}"/>
              </a:ext>
            </a:extLst>
          </p:cNvPr>
          <p:cNvSpPr>
            <a:spLocks noGrp="1"/>
          </p:cNvSpPr>
          <p:nvPr>
            <p:ph sz="quarter" idx="20" hasCustomPrompt="1"/>
          </p:nvPr>
        </p:nvSpPr>
        <p:spPr>
          <a:xfrm>
            <a:off x="6362823" y="1939691"/>
            <a:ext cx="3523019" cy="189549"/>
          </a:xfrm>
        </p:spPr>
        <p:txBody>
          <a:bodyPr wrap="square">
            <a:spAutoFit/>
          </a:bodyPr>
          <a:lstStyle>
            <a:lvl1pPr marL="0" indent="0">
              <a:lnSpc>
                <a:spcPct val="100000"/>
              </a:lnSpc>
              <a:spcAft>
                <a:spcPts val="0"/>
              </a:spcAft>
              <a:buNone/>
              <a:defRPr sz="1200">
                <a:solidFill>
                  <a:schemeClr val="accent1"/>
                </a:solidFill>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department</a:t>
            </a:r>
          </a:p>
        </p:txBody>
      </p:sp>
      <p:cxnSp>
        <p:nvCxnSpPr>
          <p:cNvPr id="39" name="Straight Connector 38">
            <a:extLst>
              <a:ext uri="{FF2B5EF4-FFF2-40B4-BE49-F238E27FC236}">
                <a16:creationId xmlns:a16="http://schemas.microsoft.com/office/drawing/2014/main" id="{B060437E-EE22-6F99-D785-340FAC982C8E}"/>
              </a:ext>
            </a:extLst>
          </p:cNvPr>
          <p:cNvCxnSpPr>
            <a:cxnSpLocks/>
          </p:cNvCxnSpPr>
          <p:nvPr userDrawn="1"/>
        </p:nvCxnSpPr>
        <p:spPr>
          <a:xfrm>
            <a:off x="6362823" y="2654781"/>
            <a:ext cx="5390316" cy="0"/>
          </a:xfrm>
          <a:prstGeom prst="line">
            <a:avLst/>
          </a:prstGeom>
        </p:spPr>
        <p:style>
          <a:lnRef idx="1">
            <a:schemeClr val="accent1"/>
          </a:lnRef>
          <a:fillRef idx="0">
            <a:schemeClr val="accent1"/>
          </a:fillRef>
          <a:effectRef idx="0">
            <a:schemeClr val="accent1"/>
          </a:effectRef>
          <a:fontRef idx="minor">
            <a:schemeClr val="tx1"/>
          </a:fontRef>
        </p:style>
      </p:cxnSp>
      <p:sp>
        <p:nvSpPr>
          <p:cNvPr id="48" name="Text Placeholder 46">
            <a:extLst>
              <a:ext uri="{FF2B5EF4-FFF2-40B4-BE49-F238E27FC236}">
                <a16:creationId xmlns:a16="http://schemas.microsoft.com/office/drawing/2014/main" id="{B6717FCD-AD81-2BF8-FA5F-49D24352C4E6}"/>
              </a:ext>
            </a:extLst>
          </p:cNvPr>
          <p:cNvSpPr>
            <a:spLocks noGrp="1"/>
          </p:cNvSpPr>
          <p:nvPr>
            <p:ph type="body" sz="quarter" idx="22" hasCustomPrompt="1"/>
          </p:nvPr>
        </p:nvSpPr>
        <p:spPr>
          <a:xfrm>
            <a:off x="6341748" y="1260454"/>
            <a:ext cx="3528637" cy="319399"/>
          </a:xfrm>
        </p:spPr>
        <p:txBody>
          <a:bodyPr/>
          <a:lstStyle>
            <a:lvl1pPr marL="0" indent="0">
              <a:buNone/>
              <a:defRPr sz="2200"/>
            </a:lvl1pPr>
            <a:lvl2pPr marL="265072" indent="0">
              <a:buNone/>
              <a:defRPr/>
            </a:lvl2pPr>
            <a:lvl3pPr marL="446021" indent="0">
              <a:buNone/>
              <a:defRPr/>
            </a:lvl3pPr>
            <a:lvl4pPr marL="719873" indent="0">
              <a:buNone/>
              <a:defRPr/>
            </a:lvl4pPr>
            <a:lvl5pPr marL="898390" indent="0">
              <a:buNone/>
              <a:defRPr/>
            </a:lvl5pPr>
          </a:lstStyle>
          <a:p>
            <a:pPr lvl="0"/>
            <a:r>
              <a:rPr lang="en-GB"/>
              <a:t>Click to edit name</a:t>
            </a:r>
            <a:endParaRPr lang="en-US"/>
          </a:p>
        </p:txBody>
      </p:sp>
      <p:pic>
        <p:nvPicPr>
          <p:cNvPr id="3" name="Graphic 2">
            <a:extLst>
              <a:ext uri="{FF2B5EF4-FFF2-40B4-BE49-F238E27FC236}">
                <a16:creationId xmlns:a16="http://schemas.microsoft.com/office/drawing/2014/main" id="{D3100D1E-0E85-4DB9-B94C-3E03F26630D0}"/>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131896" y="6262499"/>
            <a:ext cx="280365" cy="280365"/>
          </a:xfrm>
          <a:prstGeom prst="rect">
            <a:avLst/>
          </a:prstGeom>
        </p:spPr>
      </p:pic>
      <p:sp>
        <p:nvSpPr>
          <p:cNvPr id="11" name="Content Placeholder 14">
            <a:extLst>
              <a:ext uri="{FF2B5EF4-FFF2-40B4-BE49-F238E27FC236}">
                <a16:creationId xmlns:a16="http://schemas.microsoft.com/office/drawing/2014/main" id="{B3479ADB-6282-463D-02CE-5ED885B6A1FB}"/>
              </a:ext>
            </a:extLst>
          </p:cNvPr>
          <p:cNvSpPr>
            <a:spLocks noGrp="1"/>
          </p:cNvSpPr>
          <p:nvPr>
            <p:ph sz="quarter" idx="23" hasCustomPrompt="1"/>
          </p:nvPr>
        </p:nvSpPr>
        <p:spPr>
          <a:xfrm>
            <a:off x="3497566" y="6325734"/>
            <a:ext cx="2267124" cy="153871"/>
          </a:xfrm>
        </p:spPr>
        <p:txBody>
          <a:bodyPr wrap="square">
            <a:spAutoFit/>
          </a:bodyPr>
          <a:lstStyle>
            <a:lvl1pPr marL="0" indent="0">
              <a:buNone/>
              <a:defRPr sz="10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cxnSp>
        <p:nvCxnSpPr>
          <p:cNvPr id="17" name="Straight Connector 16">
            <a:extLst>
              <a:ext uri="{FF2B5EF4-FFF2-40B4-BE49-F238E27FC236}">
                <a16:creationId xmlns:a16="http://schemas.microsoft.com/office/drawing/2014/main" id="{9644BAB9-A969-A795-50E6-70158FFC2BD3}"/>
              </a:ext>
            </a:extLst>
          </p:cNvPr>
          <p:cNvCxnSpPr>
            <a:cxnSpLocks/>
          </p:cNvCxnSpPr>
          <p:nvPr userDrawn="1"/>
        </p:nvCxnSpPr>
        <p:spPr>
          <a:xfrm>
            <a:off x="6366014" y="6193931"/>
            <a:ext cx="5387127" cy="0"/>
          </a:xfrm>
          <a:prstGeom prst="line">
            <a:avLst/>
          </a:prstGeom>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A0A03B61-A7FD-8E71-003A-35EB359335E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27893" y="6256417"/>
            <a:ext cx="287867" cy="287867"/>
          </a:xfrm>
          <a:prstGeom prst="rect">
            <a:avLst/>
          </a:prstGeom>
        </p:spPr>
      </p:pic>
      <p:sp>
        <p:nvSpPr>
          <p:cNvPr id="19" name="Content Placeholder 14">
            <a:extLst>
              <a:ext uri="{FF2B5EF4-FFF2-40B4-BE49-F238E27FC236}">
                <a16:creationId xmlns:a16="http://schemas.microsoft.com/office/drawing/2014/main" id="{3AFD71CF-31AD-3F05-D91D-F418A63EBE18}"/>
              </a:ext>
            </a:extLst>
          </p:cNvPr>
          <p:cNvSpPr>
            <a:spLocks noGrp="1"/>
          </p:cNvSpPr>
          <p:nvPr>
            <p:ph sz="quarter" idx="24" hasCustomPrompt="1"/>
          </p:nvPr>
        </p:nvSpPr>
        <p:spPr>
          <a:xfrm>
            <a:off x="6701063" y="6325438"/>
            <a:ext cx="2267124" cy="153871"/>
          </a:xfrm>
        </p:spPr>
        <p:txBody>
          <a:bodyPr wrap="square">
            <a:spAutoFit/>
          </a:bodyPr>
          <a:lstStyle>
            <a:lvl1pPr marL="0" indent="0">
              <a:buNone/>
              <a:defRPr sz="10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pic>
        <p:nvPicPr>
          <p:cNvPr id="20" name="Graphic 19">
            <a:extLst>
              <a:ext uri="{FF2B5EF4-FFF2-40B4-BE49-F238E27FC236}">
                <a16:creationId xmlns:a16="http://schemas.microsoft.com/office/drawing/2014/main" id="{2131797F-BF4B-3625-6D2E-7EDC1825242E}"/>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115506" y="6269030"/>
            <a:ext cx="280365" cy="280365"/>
          </a:xfrm>
          <a:prstGeom prst="rect">
            <a:avLst/>
          </a:prstGeom>
        </p:spPr>
      </p:pic>
      <p:sp>
        <p:nvSpPr>
          <p:cNvPr id="22" name="Content Placeholder 14">
            <a:extLst>
              <a:ext uri="{FF2B5EF4-FFF2-40B4-BE49-F238E27FC236}">
                <a16:creationId xmlns:a16="http://schemas.microsoft.com/office/drawing/2014/main" id="{090FD0E7-FC8B-1C00-3290-DA519C68D7F4}"/>
              </a:ext>
            </a:extLst>
          </p:cNvPr>
          <p:cNvSpPr>
            <a:spLocks noGrp="1"/>
          </p:cNvSpPr>
          <p:nvPr>
            <p:ph sz="quarter" idx="25" hasCustomPrompt="1"/>
          </p:nvPr>
        </p:nvSpPr>
        <p:spPr>
          <a:xfrm>
            <a:off x="9481173" y="6332266"/>
            <a:ext cx="2267124" cy="153871"/>
          </a:xfrm>
        </p:spPr>
        <p:txBody>
          <a:bodyPr wrap="square">
            <a:spAutoFit/>
          </a:bodyPr>
          <a:lstStyle>
            <a:lvl1pPr marL="0" indent="0">
              <a:buNone/>
              <a:defRPr sz="1000">
                <a:solidFill>
                  <a:schemeClr val="accent1"/>
                </a:solidFill>
                <a:latin typeface="+mn-lt"/>
              </a:defRPr>
            </a:lvl1pPr>
            <a:lvl2pPr marL="239682" indent="0">
              <a:buNone/>
              <a:defRPr sz="1800">
                <a:solidFill>
                  <a:schemeClr val="accent1"/>
                </a:solidFill>
              </a:defRPr>
            </a:lvl2pPr>
            <a:lvl3pPr marL="538096" indent="0">
              <a:buNone/>
              <a:defRPr sz="1800">
                <a:solidFill>
                  <a:schemeClr val="accent1"/>
                </a:solidFill>
              </a:defRPr>
            </a:lvl3pPr>
            <a:lvl4pPr marL="719049" indent="0">
              <a:buNone/>
              <a:defRPr sz="1800">
                <a:solidFill>
                  <a:schemeClr val="accent1"/>
                </a:solidFill>
              </a:defRPr>
            </a:lvl4pPr>
            <a:lvl5pPr marL="985714" indent="0">
              <a:buNone/>
              <a:defRPr sz="1800">
                <a:solidFill>
                  <a:schemeClr val="accent1"/>
                </a:solidFill>
              </a:defRPr>
            </a:lvl5pPr>
          </a:lstStyle>
          <a:p>
            <a:pPr lvl="0"/>
            <a:r>
              <a:rPr lang="en-GB"/>
              <a:t>Click to edit position</a:t>
            </a:r>
          </a:p>
        </p:txBody>
      </p:sp>
      <p:cxnSp>
        <p:nvCxnSpPr>
          <p:cNvPr id="12" name="Straight Connector 11">
            <a:extLst>
              <a:ext uri="{FF2B5EF4-FFF2-40B4-BE49-F238E27FC236}">
                <a16:creationId xmlns:a16="http://schemas.microsoft.com/office/drawing/2014/main" id="{444AF07B-CDEE-EC27-073E-F5670D906CE3}"/>
              </a:ext>
            </a:extLst>
          </p:cNvPr>
          <p:cNvCxnSpPr>
            <a:cxnSpLocks/>
          </p:cNvCxnSpPr>
          <p:nvPr userDrawn="1"/>
        </p:nvCxnSpPr>
        <p:spPr>
          <a:xfrm>
            <a:off x="6096000" y="1254589"/>
            <a:ext cx="0" cy="52943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6D9B73F-034C-0966-EC75-4A4D093CACC9}"/>
              </a:ext>
            </a:extLst>
          </p:cNvPr>
          <p:cNvSpPr txBox="1"/>
          <p:nvPr userDrawn="1"/>
        </p:nvSpPr>
        <p:spPr>
          <a:xfrm>
            <a:off x="11158233" y="6548970"/>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sp>
        <p:nvSpPr>
          <p:cNvPr id="36" name="Slide Number Placeholder 5">
            <a:extLst>
              <a:ext uri="{FF2B5EF4-FFF2-40B4-BE49-F238E27FC236}">
                <a16:creationId xmlns:a16="http://schemas.microsoft.com/office/drawing/2014/main" id="{CA453C0E-C837-55A4-FDE1-A73BA980CC4F}"/>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Tree>
    <p:extLst>
      <p:ext uri="{BB962C8B-B14F-4D97-AF65-F5344CB8AC3E}">
        <p14:creationId xmlns:p14="http://schemas.microsoft.com/office/powerpoint/2010/main" val="3801774831"/>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p:bg>
      <p:bgPr>
        <a:solidFill>
          <a:schemeClr val="accent6"/>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AA513D-C9B5-A544-B9C4-B9D09DB6E1CF}"/>
              </a:ext>
            </a:extLst>
          </p:cNvPr>
          <p:cNvGraphicFramePr>
            <a:graphicFrameLocks noChangeAspect="1"/>
          </p:cNvGraphicFramePr>
          <p:nvPr userDrawn="1">
            <p:custDataLst>
              <p:tags r:id="rId1"/>
            </p:custDataLst>
            <p:extLst>
              <p:ext uri="{D42A27DB-BD31-4B8C-83A1-F6EECF244321}">
                <p14:modId xmlns:p14="http://schemas.microsoft.com/office/powerpoint/2010/main" val="122396441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3" name="Object 2" hidden="1">
                        <a:extLst>
                          <a:ext uri="{FF2B5EF4-FFF2-40B4-BE49-F238E27FC236}">
                            <a16:creationId xmlns:a16="http://schemas.microsoft.com/office/drawing/2014/main" id="{8CAA513D-C9B5-A544-B9C4-B9D09DB6E1CF}"/>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250826" y="2526838"/>
            <a:ext cx="6722148" cy="2242079"/>
          </a:xfrm>
        </p:spPr>
        <p:txBody>
          <a:bodyPr vert="horz" anchor="b">
            <a:noAutofit/>
          </a:bodyPr>
          <a:lstStyle>
            <a:lvl1pPr algn="l">
              <a:defRPr sz="3600">
                <a:solidFill>
                  <a:schemeClr val="accent1"/>
                </a:solidFill>
                <a:latin typeface="+mn-lt"/>
                <a:cs typeface="Arial" panose="020B0604020202020204" pitchFamily="34" charset="0"/>
              </a:defRPr>
            </a:lvl1pPr>
          </a:lstStyle>
          <a:p>
            <a:r>
              <a:rPr lang="en-US"/>
              <a:t>Click to edit section title</a:t>
            </a:r>
          </a:p>
        </p:txBody>
      </p:sp>
      <p:sp>
        <p:nvSpPr>
          <p:cNvPr id="9" name="Subtitle 2">
            <a:extLst>
              <a:ext uri="{FF2B5EF4-FFF2-40B4-BE49-F238E27FC236}">
                <a16:creationId xmlns:a16="http://schemas.microsoft.com/office/drawing/2014/main" id="{5D52D574-4430-4847-B932-BA1C1DC56322}"/>
              </a:ext>
            </a:extLst>
          </p:cNvPr>
          <p:cNvSpPr>
            <a:spLocks noGrp="1"/>
          </p:cNvSpPr>
          <p:nvPr>
            <p:ph type="subTitle" idx="13" hasCustomPrompt="1"/>
          </p:nvPr>
        </p:nvSpPr>
        <p:spPr>
          <a:xfrm>
            <a:off x="250826" y="4948305"/>
            <a:ext cx="6719063" cy="1283999"/>
          </a:xfrm>
        </p:spPr>
        <p:txBody>
          <a:bodyPr>
            <a:normAutofit/>
          </a:bodyPr>
          <a:lstStyle>
            <a:lvl1pPr marL="0" indent="0" algn="l">
              <a:buNone/>
              <a:defRPr sz="2000">
                <a:solidFill>
                  <a:schemeClr val="accent1"/>
                </a:solidFill>
                <a:latin typeface="+mn-lt"/>
                <a:cs typeface="Arial" panose="020B0604020202020204" pitchFamily="34" charset="0"/>
              </a:defRPr>
            </a:lvl1pPr>
            <a:lvl2pPr marL="457131" indent="0" algn="ctr">
              <a:buNone/>
              <a:defRPr sz="2000"/>
            </a:lvl2pPr>
            <a:lvl3pPr marL="914264" indent="0" algn="ctr">
              <a:buNone/>
              <a:defRPr sz="1800"/>
            </a:lvl3pPr>
            <a:lvl4pPr marL="1371395" indent="0" algn="ctr">
              <a:buNone/>
              <a:defRPr sz="1600"/>
            </a:lvl4pPr>
            <a:lvl5pPr marL="1828525" indent="0" algn="ctr">
              <a:buNone/>
              <a:defRPr sz="1600"/>
            </a:lvl5pPr>
            <a:lvl6pPr marL="2285658"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edit section subtitle </a:t>
            </a:r>
          </a:p>
        </p:txBody>
      </p:sp>
      <p:sp>
        <p:nvSpPr>
          <p:cNvPr id="18" name="Slide Number Placeholder 5">
            <a:extLst>
              <a:ext uri="{FF2B5EF4-FFF2-40B4-BE49-F238E27FC236}">
                <a16:creationId xmlns:a16="http://schemas.microsoft.com/office/drawing/2014/main" id="{6C2690B3-34BA-4DEA-AD15-F9112DF4223E}"/>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pic>
        <p:nvPicPr>
          <p:cNvPr id="6" name="ZRS Logo Horozontal">
            <a:extLst>
              <a:ext uri="{FF2B5EF4-FFF2-40B4-BE49-F238E27FC236}">
                <a16:creationId xmlns:a16="http://schemas.microsoft.com/office/drawing/2014/main" id="{1DD647B3-CC33-49E3-C91D-9928625BF97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50826" y="322781"/>
            <a:ext cx="1338812" cy="444537"/>
          </a:xfrm>
          <a:prstGeom prst="rect">
            <a:avLst/>
          </a:prstGeom>
        </p:spPr>
      </p:pic>
    </p:spTree>
    <p:extLst>
      <p:ext uri="{BB962C8B-B14F-4D97-AF65-F5344CB8AC3E}">
        <p14:creationId xmlns:p14="http://schemas.microsoft.com/office/powerpoint/2010/main" val="11445301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accent6"/>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AA513D-C9B5-A544-B9C4-B9D09DB6E1CF}"/>
              </a:ext>
            </a:extLst>
          </p:cNvPr>
          <p:cNvGraphicFramePr>
            <a:graphicFrameLocks noChangeAspect="1"/>
          </p:cNvGraphicFramePr>
          <p:nvPr userDrawn="1">
            <p:custDataLst>
              <p:tags r:id="rId1"/>
            </p:custDataLst>
            <p:extLst>
              <p:ext uri="{D42A27DB-BD31-4B8C-83A1-F6EECF244321}">
                <p14:modId xmlns:p14="http://schemas.microsoft.com/office/powerpoint/2010/main" val="122396441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3" name="Object 2" hidden="1">
                        <a:extLst>
                          <a:ext uri="{FF2B5EF4-FFF2-40B4-BE49-F238E27FC236}">
                            <a16:creationId xmlns:a16="http://schemas.microsoft.com/office/drawing/2014/main" id="{8CAA513D-C9B5-A544-B9C4-B9D09DB6E1CF}"/>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250827" y="2526838"/>
            <a:ext cx="5847859" cy="2242079"/>
          </a:xfrm>
        </p:spPr>
        <p:txBody>
          <a:bodyPr vert="horz" anchor="b">
            <a:noAutofit/>
          </a:bodyPr>
          <a:lstStyle>
            <a:lvl1pPr algn="l">
              <a:defRPr sz="3600">
                <a:solidFill>
                  <a:schemeClr val="accent1"/>
                </a:solidFill>
                <a:latin typeface="+mn-lt"/>
                <a:cs typeface="Arial" panose="020B0604020202020204" pitchFamily="34" charset="0"/>
              </a:defRPr>
            </a:lvl1pPr>
          </a:lstStyle>
          <a:p>
            <a:r>
              <a:rPr lang="en-US"/>
              <a:t>Click to edit section title</a:t>
            </a:r>
          </a:p>
        </p:txBody>
      </p:sp>
      <p:sp>
        <p:nvSpPr>
          <p:cNvPr id="9" name="Subtitle 2">
            <a:extLst>
              <a:ext uri="{FF2B5EF4-FFF2-40B4-BE49-F238E27FC236}">
                <a16:creationId xmlns:a16="http://schemas.microsoft.com/office/drawing/2014/main" id="{5D52D574-4430-4847-B932-BA1C1DC56322}"/>
              </a:ext>
            </a:extLst>
          </p:cNvPr>
          <p:cNvSpPr>
            <a:spLocks noGrp="1"/>
          </p:cNvSpPr>
          <p:nvPr>
            <p:ph type="subTitle" idx="13" hasCustomPrompt="1"/>
          </p:nvPr>
        </p:nvSpPr>
        <p:spPr>
          <a:xfrm>
            <a:off x="250826" y="4948305"/>
            <a:ext cx="5845175" cy="1283999"/>
          </a:xfrm>
        </p:spPr>
        <p:txBody>
          <a:bodyPr>
            <a:normAutofit/>
          </a:bodyPr>
          <a:lstStyle>
            <a:lvl1pPr marL="0" indent="0" algn="l">
              <a:buNone/>
              <a:defRPr sz="2000">
                <a:solidFill>
                  <a:schemeClr val="accent1"/>
                </a:solidFill>
                <a:latin typeface="+mn-lt"/>
                <a:cs typeface="Arial" panose="020B0604020202020204" pitchFamily="34" charset="0"/>
              </a:defRPr>
            </a:lvl1pPr>
            <a:lvl2pPr marL="457131" indent="0" algn="ctr">
              <a:buNone/>
              <a:defRPr sz="2000"/>
            </a:lvl2pPr>
            <a:lvl3pPr marL="914264" indent="0" algn="ctr">
              <a:buNone/>
              <a:defRPr sz="1800"/>
            </a:lvl3pPr>
            <a:lvl4pPr marL="1371395" indent="0" algn="ctr">
              <a:buNone/>
              <a:defRPr sz="1600"/>
            </a:lvl4pPr>
            <a:lvl5pPr marL="1828525" indent="0" algn="ctr">
              <a:buNone/>
              <a:defRPr sz="1600"/>
            </a:lvl5pPr>
            <a:lvl6pPr marL="2285658"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edit section subtitle </a:t>
            </a:r>
          </a:p>
        </p:txBody>
      </p:sp>
      <p:sp>
        <p:nvSpPr>
          <p:cNvPr id="18" name="Slide Number Placeholder 5">
            <a:extLst>
              <a:ext uri="{FF2B5EF4-FFF2-40B4-BE49-F238E27FC236}">
                <a16:creationId xmlns:a16="http://schemas.microsoft.com/office/drawing/2014/main" id="{6C2690B3-34BA-4DEA-AD15-F9112DF4223E}"/>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pic>
        <p:nvPicPr>
          <p:cNvPr id="6" name="ZRS Logo Horozontal">
            <a:extLst>
              <a:ext uri="{FF2B5EF4-FFF2-40B4-BE49-F238E27FC236}">
                <a16:creationId xmlns:a16="http://schemas.microsoft.com/office/drawing/2014/main" id="{1DD647B3-CC33-49E3-C91D-9928625BF97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50826" y="322781"/>
            <a:ext cx="1338812" cy="444537"/>
          </a:xfrm>
          <a:prstGeom prst="rect">
            <a:avLst/>
          </a:prstGeom>
        </p:spPr>
      </p:pic>
      <p:sp>
        <p:nvSpPr>
          <p:cNvPr id="2" name="Picture Placeholder 2">
            <a:extLst>
              <a:ext uri="{FF2B5EF4-FFF2-40B4-BE49-F238E27FC236}">
                <a16:creationId xmlns:a16="http://schemas.microsoft.com/office/drawing/2014/main" id="{A926C632-F1D7-7BB1-FFA3-D00A89B52837}"/>
              </a:ext>
            </a:extLst>
          </p:cNvPr>
          <p:cNvSpPr>
            <a:spLocks noGrp="1"/>
          </p:cNvSpPr>
          <p:nvPr>
            <p:ph type="pic" sz="quarter" idx="14" hasCustomPrompt="1"/>
          </p:nvPr>
        </p:nvSpPr>
        <p:spPr>
          <a:xfrm>
            <a:off x="6813444" y="1198800"/>
            <a:ext cx="5040000" cy="5040000"/>
          </a:xfrm>
          <a:prstGeom prst="ellipse">
            <a:avLst/>
          </a:prstGeom>
        </p:spPr>
        <p:txBody>
          <a:bodyPr/>
          <a:lstStyle>
            <a:lvl1pPr algn="ctr">
              <a:buNone/>
              <a:defRPr b="0" i="0">
                <a:solidFill>
                  <a:srgbClr val="1C67AF"/>
                </a:solidFill>
                <a:latin typeface="+mn-lt"/>
                <a:cs typeface="Arial" panose="020B0604020202020204" pitchFamily="34" charset="0"/>
              </a:defRPr>
            </a:lvl1pPr>
          </a:lstStyle>
          <a:p>
            <a:r>
              <a:rPr lang="en-US" noProof="0"/>
              <a:t>Add a picture here</a:t>
            </a:r>
          </a:p>
        </p:txBody>
      </p:sp>
    </p:spTree>
    <p:extLst>
      <p:ext uri="{BB962C8B-B14F-4D97-AF65-F5344CB8AC3E}">
        <p14:creationId xmlns:p14="http://schemas.microsoft.com/office/powerpoint/2010/main" val="21440993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A9E0DE-846D-FF38-B2EC-DA3678E2E7E9}"/>
              </a:ext>
            </a:extLst>
          </p:cNvPr>
          <p:cNvGraphicFramePr>
            <a:graphicFrameLocks noChangeAspect="1"/>
          </p:cNvGraphicFramePr>
          <p:nvPr userDrawn="1">
            <p:custDataLst>
              <p:tags r:id="rId1"/>
            </p:custDataLst>
            <p:extLst>
              <p:ext uri="{D42A27DB-BD31-4B8C-83A1-F6EECF244321}">
                <p14:modId xmlns:p14="http://schemas.microsoft.com/office/powerpoint/2010/main" val="209965754"/>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3" name="Object 2" hidden="1">
                        <a:extLst>
                          <a:ext uri="{FF2B5EF4-FFF2-40B4-BE49-F238E27FC236}">
                            <a16:creationId xmlns:a16="http://schemas.microsoft.com/office/drawing/2014/main" id="{A8A9E0DE-846D-FF38-B2EC-DA3678E2E7E9}"/>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16" name="Freeform 12">
            <a:extLst>
              <a:ext uri="{FF2B5EF4-FFF2-40B4-BE49-F238E27FC236}">
                <a16:creationId xmlns:a16="http://schemas.microsoft.com/office/drawing/2014/main" id="{CDD94F9F-17AF-4158-8273-144D6BB8BFBA}"/>
              </a:ext>
            </a:extLst>
          </p:cNvPr>
          <p:cNvSpPr/>
          <p:nvPr userDrawn="1"/>
        </p:nvSpPr>
        <p:spPr bwMode="auto">
          <a:xfrm rot="735038">
            <a:off x="5555101" y="4974390"/>
            <a:ext cx="933047" cy="469973"/>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21904" tIns="60952" rIns="121904" bIns="60952" numCol="1" spcCol="0" rtlCol="0" fromWordArt="0" anchor="ctr" anchorCtr="0" forceAA="0" compatLnSpc="1">
            <a:prstTxWarp prst="textNoShape">
              <a:avLst/>
            </a:prstTxWarp>
            <a:noAutofit/>
          </a:bodyPr>
          <a:lstStyle/>
          <a:p>
            <a:pPr marL="0" marR="0" indent="0" algn="l" defTabSz="1219018"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7" name="Freeform 17">
            <a:extLst>
              <a:ext uri="{FF2B5EF4-FFF2-40B4-BE49-F238E27FC236}">
                <a16:creationId xmlns:a16="http://schemas.microsoft.com/office/drawing/2014/main" id="{03EA52F0-9F47-4C1A-A653-1F060850BB16}"/>
              </a:ext>
            </a:extLst>
          </p:cNvPr>
          <p:cNvSpPr/>
          <p:nvPr userDrawn="1"/>
        </p:nvSpPr>
        <p:spPr bwMode="auto">
          <a:xfrm rot="8315714" flipH="1">
            <a:off x="5015554" y="5547935"/>
            <a:ext cx="1677271" cy="86330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121904" tIns="60952" rIns="121904" bIns="60952" numCol="1" spcCol="0" rtlCol="0" fromWordArt="0" anchor="ctr" anchorCtr="0" forceAA="0" compatLnSpc="1">
            <a:prstTxWarp prst="textNoShape">
              <a:avLst/>
            </a:prstTxWarp>
            <a:noAutofit/>
          </a:bodyPr>
          <a:lstStyle/>
          <a:p>
            <a:pPr marL="0" marR="0" indent="0" algn="l" defTabSz="1219018"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8" name="Oval 17">
            <a:extLst>
              <a:ext uri="{FF2B5EF4-FFF2-40B4-BE49-F238E27FC236}">
                <a16:creationId xmlns:a16="http://schemas.microsoft.com/office/drawing/2014/main" id="{6AED791D-1518-403F-BA5A-79F94E7CDCCB}"/>
              </a:ext>
            </a:extLst>
          </p:cNvPr>
          <p:cNvSpPr>
            <a:spLocks noChangeAspect="1"/>
          </p:cNvSpPr>
          <p:nvPr userDrawn="1"/>
        </p:nvSpPr>
        <p:spPr bwMode="auto">
          <a:xfrm rot="5400000">
            <a:off x="6228880" y="5983125"/>
            <a:ext cx="875301" cy="874456"/>
          </a:xfrm>
          <a:prstGeom prst="ellips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121904" tIns="60952" rIns="121904" bIns="60952" numCol="1" spcCol="0" rtlCol="0" fromWordArt="0" anchor="ctr" anchorCtr="0" forceAA="0" compatLnSpc="1">
            <a:prstTxWarp prst="textNoShape">
              <a:avLst/>
            </a:prstTxWarp>
            <a:noAutofit/>
          </a:bodyPr>
          <a:lstStyle/>
          <a:p>
            <a:pPr marL="0" marR="0" indent="0" algn="l" defTabSz="1219018"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26" name="TextBox 25">
            <a:extLst>
              <a:ext uri="{FF2B5EF4-FFF2-40B4-BE49-F238E27FC236}">
                <a16:creationId xmlns:a16="http://schemas.microsoft.com/office/drawing/2014/main" id="{964649C4-0FE0-4E4D-B386-F39D40C28AE9}"/>
              </a:ext>
            </a:extLst>
          </p:cNvPr>
          <p:cNvSpPr txBox="1"/>
          <p:nvPr userDrawn="1"/>
        </p:nvSpPr>
        <p:spPr>
          <a:xfrm>
            <a:off x="11158233" y="6548970"/>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mn-lt"/>
                <a:cs typeface="Arial" panose="020B0604020202020204" pitchFamily="34" charset="0"/>
              </a:rPr>
              <a:t>© Zurich</a:t>
            </a:r>
          </a:p>
        </p:txBody>
      </p:sp>
      <p:pic>
        <p:nvPicPr>
          <p:cNvPr id="8" name="ZRS Logo Horozontal">
            <a:extLst>
              <a:ext uri="{FF2B5EF4-FFF2-40B4-BE49-F238E27FC236}">
                <a16:creationId xmlns:a16="http://schemas.microsoft.com/office/drawing/2014/main" id="{EE156BD8-5428-DCB4-51C8-E191AF5B765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65434" y="2726578"/>
            <a:ext cx="2461135" cy="817191"/>
          </a:xfrm>
          <a:prstGeom prst="rect">
            <a:avLst/>
          </a:prstGeom>
        </p:spPr>
      </p:pic>
      <p:sp>
        <p:nvSpPr>
          <p:cNvPr id="2" name="Oval 1">
            <a:extLst>
              <a:ext uri="{FF2B5EF4-FFF2-40B4-BE49-F238E27FC236}">
                <a16:creationId xmlns:a16="http://schemas.microsoft.com/office/drawing/2014/main" id="{25770D62-4A62-49A3-BF3C-16AD104D2A7C}"/>
              </a:ext>
            </a:extLst>
          </p:cNvPr>
          <p:cNvSpPr>
            <a:spLocks noChangeAspect="1"/>
          </p:cNvSpPr>
          <p:nvPr userDrawn="1"/>
        </p:nvSpPr>
        <p:spPr bwMode="auto">
          <a:xfrm rot="5400000">
            <a:off x="5647728" y="4552884"/>
            <a:ext cx="374075" cy="373715"/>
          </a:xfrm>
          <a:prstGeom prst="ellipse">
            <a:avLst/>
          </a:prstGeom>
          <a:solidFill>
            <a:schemeClr val="accent5"/>
          </a:solidFill>
          <a:ln w="9525" cap="flat" cmpd="sng" algn="ctr">
            <a:noFill/>
            <a:prstDash val="solid"/>
            <a:round/>
            <a:headEnd type="none" w="med" len="med"/>
            <a:tailEnd type="none" w="med" len="med"/>
          </a:ln>
          <a:effectLst/>
        </p:spPr>
        <p:txBody>
          <a:bodyPr rot="0" spcFirstLastPara="0" vertOverflow="overflow" horzOverflow="overflow" vert="horz" wrap="square" lIns="121904" tIns="60952" rIns="121904" bIns="60952" numCol="1" spcCol="0" rtlCol="0" fromWordArt="0" anchor="ctr" anchorCtr="0" forceAA="0" compatLnSpc="1">
            <a:prstTxWarp prst="textNoShape">
              <a:avLst/>
            </a:prstTxWarp>
            <a:noAutofit/>
          </a:bodyPr>
          <a:lstStyle/>
          <a:p>
            <a:pPr marL="0" marR="0" indent="0" algn="l" defTabSz="1219018"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Tree>
    <p:extLst>
      <p:ext uri="{BB962C8B-B14F-4D97-AF65-F5344CB8AC3E}">
        <p14:creationId xmlns:p14="http://schemas.microsoft.com/office/powerpoint/2010/main" val="8010049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text box, Safe Space ima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4E4EC2-CC62-354C-827A-D4A883E74696}"/>
              </a:ext>
            </a:extLst>
          </p:cNvPr>
          <p:cNvGraphicFramePr>
            <a:graphicFrameLocks noChangeAspect="1"/>
          </p:cNvGraphicFramePr>
          <p:nvPr userDrawn="1">
            <p:custDataLst>
              <p:tags r:id="rId1"/>
            </p:custDataLst>
            <p:extLst>
              <p:ext uri="{D42A27DB-BD31-4B8C-83A1-F6EECF244321}">
                <p14:modId xmlns:p14="http://schemas.microsoft.com/office/powerpoint/2010/main" val="3104288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304E4EC2-CC62-354C-827A-D4A883E746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334963" y="1206178"/>
            <a:ext cx="5573967" cy="5040145"/>
          </a:xfrm>
        </p:spPr>
        <p:txBody>
          <a:bodyPr lIns="72000" tIns="72000" rIns="72000" bIns="72000"/>
          <a:lstStyle>
            <a:lvl1pPr rtl="0">
              <a:defRPr sz="1800">
                <a:latin typeface="+mn-lt"/>
                <a:cs typeface="Arial" panose="020B0604020202020204" pitchFamily="34" charset="0"/>
              </a:defRPr>
            </a:lvl1pPr>
            <a:lvl2pPr rtl="0">
              <a:defRPr sz="1600">
                <a:latin typeface="+mn-lt"/>
                <a:cs typeface="Arial" panose="020B0604020202020204" pitchFamily="34" charset="0"/>
              </a:defRPr>
            </a:lvl2pPr>
            <a:lvl3pPr rtl="0">
              <a:defRPr sz="1400">
                <a:latin typeface="+mn-lt"/>
                <a:cs typeface="Arial" panose="020B0604020202020204" pitchFamily="34" charset="0"/>
              </a:defRPr>
            </a:lvl3pPr>
            <a:lvl4pPr rtl="0">
              <a:defRPr sz="1200">
                <a:latin typeface="+mn-lt"/>
                <a:cs typeface="Arial" panose="020B0604020202020204" pitchFamily="34" charset="0"/>
              </a:defRPr>
            </a:lvl4pPr>
            <a:lvl5pPr rtl="0">
              <a:defRPr sz="1200">
                <a:latin typeface="+mn-lt"/>
                <a:cs typeface="Arial" panose="020B0604020202020204" pitchFamily="34" charset="0"/>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20" name="Title 1">
            <a:extLst>
              <a:ext uri="{FF2B5EF4-FFF2-40B4-BE49-F238E27FC236}">
                <a16:creationId xmlns:a16="http://schemas.microsoft.com/office/drawing/2014/main" id="{C29EECA6-DA60-0545-94DA-DA2F8B81238E}"/>
              </a:ext>
            </a:extLst>
          </p:cNvPr>
          <p:cNvSpPr>
            <a:spLocks noGrp="1"/>
          </p:cNvSpPr>
          <p:nvPr>
            <p:ph type="title" hasCustomPrompt="1"/>
          </p:nvPr>
        </p:nvSpPr>
        <p:spPr>
          <a:xfrm>
            <a:off x="334964" y="260268"/>
            <a:ext cx="9504110" cy="332399"/>
          </a:xfrm>
        </p:spPr>
        <p:txBody>
          <a:bodyPr vert="horz" wrap="square">
            <a:spAutoFit/>
          </a:bodyPr>
          <a:lstStyle>
            <a:lvl1pPr rtl="0">
              <a:defRPr>
                <a:latin typeface="+mj-lt"/>
                <a:cs typeface="Arial" panose="020B0604020202020204" pitchFamily="34" charset="0"/>
              </a:defRPr>
            </a:lvl1pPr>
          </a:lstStyle>
          <a:p>
            <a:r>
              <a:rPr lang="de-DE"/>
              <a:t>Click to edit Master title style</a:t>
            </a:r>
          </a:p>
        </p:txBody>
      </p:sp>
      <p:sp>
        <p:nvSpPr>
          <p:cNvPr id="21" name="Subtitle 2">
            <a:extLst>
              <a:ext uri="{FF2B5EF4-FFF2-40B4-BE49-F238E27FC236}">
                <a16:creationId xmlns:a16="http://schemas.microsoft.com/office/drawing/2014/main" id="{78EE7002-C39A-5A48-B25E-20539A4FFD23}"/>
              </a:ext>
            </a:extLst>
          </p:cNvPr>
          <p:cNvSpPr>
            <a:spLocks noGrp="1"/>
          </p:cNvSpPr>
          <p:nvPr>
            <p:ph type="subTitle" idx="14" hasCustomPrompt="1"/>
          </p:nvPr>
        </p:nvSpPr>
        <p:spPr>
          <a:xfrm>
            <a:off x="334963" y="610597"/>
            <a:ext cx="9504110" cy="332399"/>
          </a:xfrm>
          <a:prstGeom prst="rect">
            <a:avLst/>
          </a:prstGeom>
        </p:spPr>
        <p:txBody>
          <a:bodyPr anchor="t">
            <a:normAutofit/>
          </a:bodyPr>
          <a:lstStyle>
            <a:lvl1pPr marL="0" indent="0" algn="l" rtl="0">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Click to edit Master subtitle style</a:t>
            </a:r>
            <a:endParaRPr lang="de-DE" noProof="0"/>
          </a:p>
        </p:txBody>
      </p:sp>
      <p:sp>
        <p:nvSpPr>
          <p:cNvPr id="37" name="Picture Placeholder 23">
            <a:extLst>
              <a:ext uri="{FF2B5EF4-FFF2-40B4-BE49-F238E27FC236}">
                <a16:creationId xmlns:a16="http://schemas.microsoft.com/office/drawing/2014/main" id="{632F94C8-BFF9-44C4-AD1A-92E5E5E20C6E}"/>
              </a:ext>
            </a:extLst>
          </p:cNvPr>
          <p:cNvSpPr>
            <a:spLocks noGrp="1" noChangeAspect="1"/>
          </p:cNvSpPr>
          <p:nvPr>
            <p:ph type="pic" sz="quarter" idx="19" hasCustomPrompt="1"/>
          </p:nvPr>
        </p:nvSpPr>
        <p:spPr>
          <a:xfrm>
            <a:off x="6813533" y="1204279"/>
            <a:ext cx="5039466" cy="5040000"/>
          </a:xfrm>
          <a:custGeom>
            <a:avLst/>
            <a:gdLst>
              <a:gd name="connsiteX0" fmla="*/ 991609 w 1983218"/>
              <a:gd name="connsiteY0" fmla="*/ 0 h 1983428"/>
              <a:gd name="connsiteX1" fmla="*/ 1983218 w 1983218"/>
              <a:gd name="connsiteY1" fmla="*/ 991609 h 1983428"/>
              <a:gd name="connsiteX2" fmla="*/ 991399 w 1983218"/>
              <a:gd name="connsiteY2" fmla="*/ 1983428 h 1983428"/>
              <a:gd name="connsiteX3" fmla="*/ 237390 w 1983218"/>
              <a:gd name="connsiteY3" fmla="*/ 1635494 h 1983428"/>
              <a:gd name="connsiteX4" fmla="*/ 287345 w 1983218"/>
              <a:gd name="connsiteY4" fmla="*/ 1620941 h 1983428"/>
              <a:gd name="connsiteX5" fmla="*/ 339399 w 1983218"/>
              <a:gd name="connsiteY5" fmla="*/ 1616744 h 1983428"/>
              <a:gd name="connsiteX6" fmla="*/ 446934 w 1983218"/>
              <a:gd name="connsiteY6" fmla="*/ 1627798 h 1983428"/>
              <a:gd name="connsiteX7" fmla="*/ 538448 w 1983218"/>
              <a:gd name="connsiteY7" fmla="*/ 1637663 h 1983428"/>
              <a:gd name="connsiteX8" fmla="*/ 542996 w 1983218"/>
              <a:gd name="connsiteY8" fmla="*/ 1637593 h 1983428"/>
              <a:gd name="connsiteX9" fmla="*/ 620377 w 1983218"/>
              <a:gd name="connsiteY9" fmla="*/ 1612126 h 1983428"/>
              <a:gd name="connsiteX10" fmla="*/ 672640 w 1983218"/>
              <a:gd name="connsiteY10" fmla="*/ 1542861 h 1983428"/>
              <a:gd name="connsiteX11" fmla="*/ 686703 w 1983218"/>
              <a:gd name="connsiteY11" fmla="*/ 1502981 h 1983428"/>
              <a:gd name="connsiteX12" fmla="*/ 672570 w 1983218"/>
              <a:gd name="connsiteY12" fmla="*/ 1499413 h 1983428"/>
              <a:gd name="connsiteX13" fmla="*/ 667883 w 1983218"/>
              <a:gd name="connsiteY13" fmla="*/ 1508928 h 1983428"/>
              <a:gd name="connsiteX14" fmla="*/ 620517 w 1983218"/>
              <a:gd name="connsiteY14" fmla="*/ 1562941 h 1983428"/>
              <a:gd name="connsiteX15" fmla="*/ 586304 w 1983218"/>
              <a:gd name="connsiteY15" fmla="*/ 1579382 h 1983428"/>
              <a:gd name="connsiteX16" fmla="*/ 530752 w 1983218"/>
              <a:gd name="connsiteY16" fmla="*/ 1586029 h 1983428"/>
              <a:gd name="connsiteX17" fmla="*/ 488703 w 1983218"/>
              <a:gd name="connsiteY17" fmla="*/ 1584560 h 1983428"/>
              <a:gd name="connsiteX18" fmla="*/ 441757 w 1983218"/>
              <a:gd name="connsiteY18" fmla="*/ 1581621 h 1983428"/>
              <a:gd name="connsiteX19" fmla="*/ 392992 w 1983218"/>
              <a:gd name="connsiteY19" fmla="*/ 1579662 h 1983428"/>
              <a:gd name="connsiteX20" fmla="*/ 355001 w 1983218"/>
              <a:gd name="connsiteY20" fmla="*/ 1581551 h 1983428"/>
              <a:gd name="connsiteX21" fmla="*/ 619327 w 1983218"/>
              <a:gd name="connsiteY21" fmla="*/ 1228160 h 1983428"/>
              <a:gd name="connsiteX22" fmla="*/ 286715 w 1983218"/>
              <a:gd name="connsiteY22" fmla="*/ 1228160 h 1983428"/>
              <a:gd name="connsiteX23" fmla="*/ 260688 w 1983218"/>
              <a:gd name="connsiteY23" fmla="*/ 1328349 h 1983428"/>
              <a:gd name="connsiteX24" fmla="*/ 276221 w 1983218"/>
              <a:gd name="connsiteY24" fmla="*/ 1331847 h 1983428"/>
              <a:gd name="connsiteX25" fmla="*/ 280558 w 1983218"/>
              <a:gd name="connsiteY25" fmla="*/ 1323592 h 1983428"/>
              <a:gd name="connsiteX26" fmla="*/ 313092 w 1983218"/>
              <a:gd name="connsiteY26" fmla="*/ 1284901 h 1983428"/>
              <a:gd name="connsiteX27" fmla="*/ 345625 w 1983218"/>
              <a:gd name="connsiteY27" fmla="*/ 1271608 h 1983428"/>
              <a:gd name="connsiteX28" fmla="*/ 424825 w 1983218"/>
              <a:gd name="connsiteY28" fmla="*/ 1265451 h 1983428"/>
              <a:gd name="connsiteX29" fmla="*/ 453161 w 1983218"/>
              <a:gd name="connsiteY29" fmla="*/ 1265521 h 1983428"/>
              <a:gd name="connsiteX30" fmla="*/ 481777 w 1983218"/>
              <a:gd name="connsiteY30" fmla="*/ 1265451 h 1983428"/>
              <a:gd name="connsiteX31" fmla="*/ 218150 w 1983218"/>
              <a:gd name="connsiteY31" fmla="*/ 1611846 h 1983428"/>
              <a:gd name="connsiteX32" fmla="*/ 0 w 1983218"/>
              <a:gd name="connsiteY32" fmla="*/ 991609 h 1983428"/>
              <a:gd name="connsiteX33" fmla="*/ 991609 w 1983218"/>
              <a:gd name="connsiteY33" fmla="*/ 0 h 198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83218" h="1983428">
                <a:moveTo>
                  <a:pt x="991609" y="0"/>
                </a:moveTo>
                <a:cubicBezTo>
                  <a:pt x="1539293" y="0"/>
                  <a:pt x="1983218" y="443996"/>
                  <a:pt x="1983218" y="991609"/>
                </a:cubicBezTo>
                <a:cubicBezTo>
                  <a:pt x="1983218" y="1539293"/>
                  <a:pt x="1539293" y="1983218"/>
                  <a:pt x="991399" y="1983428"/>
                </a:cubicBezTo>
                <a:cubicBezTo>
                  <a:pt x="689502" y="1983428"/>
                  <a:pt x="419298" y="1848327"/>
                  <a:pt x="237390" y="1635494"/>
                </a:cubicBezTo>
                <a:cubicBezTo>
                  <a:pt x="256211" y="1627098"/>
                  <a:pt x="265516" y="1624370"/>
                  <a:pt x="287345" y="1620941"/>
                </a:cubicBezTo>
                <a:cubicBezTo>
                  <a:pt x="304696" y="1618073"/>
                  <a:pt x="321418" y="1616744"/>
                  <a:pt x="339399" y="1616744"/>
                </a:cubicBezTo>
                <a:cubicBezTo>
                  <a:pt x="366265" y="1616744"/>
                  <a:pt x="393481" y="1619542"/>
                  <a:pt x="446934" y="1627798"/>
                </a:cubicBezTo>
                <a:cubicBezTo>
                  <a:pt x="499548" y="1635844"/>
                  <a:pt x="516479" y="1637663"/>
                  <a:pt x="538448" y="1637663"/>
                </a:cubicBezTo>
                <a:lnTo>
                  <a:pt x="542996" y="1637593"/>
                </a:lnTo>
                <a:cubicBezTo>
                  <a:pt x="572661" y="1637103"/>
                  <a:pt x="597708" y="1628917"/>
                  <a:pt x="620377" y="1612126"/>
                </a:cubicBezTo>
                <a:cubicBezTo>
                  <a:pt x="642416" y="1595824"/>
                  <a:pt x="658437" y="1574555"/>
                  <a:pt x="672640" y="1542861"/>
                </a:cubicBezTo>
                <a:cubicBezTo>
                  <a:pt x="679707" y="1527189"/>
                  <a:pt x="682086" y="1520472"/>
                  <a:pt x="686703" y="1502981"/>
                </a:cubicBezTo>
                <a:lnTo>
                  <a:pt x="672570" y="1499413"/>
                </a:lnTo>
                <a:cubicBezTo>
                  <a:pt x="670681" y="1503681"/>
                  <a:pt x="668932" y="1506829"/>
                  <a:pt x="667883" y="1508928"/>
                </a:cubicBezTo>
                <a:cubicBezTo>
                  <a:pt x="657108" y="1529568"/>
                  <a:pt x="639057" y="1550067"/>
                  <a:pt x="620517" y="1562941"/>
                </a:cubicBezTo>
                <a:cubicBezTo>
                  <a:pt x="609882" y="1570077"/>
                  <a:pt x="598408" y="1575674"/>
                  <a:pt x="586304" y="1579382"/>
                </a:cubicBezTo>
                <a:cubicBezTo>
                  <a:pt x="570702" y="1584140"/>
                  <a:pt x="554960" y="1586029"/>
                  <a:pt x="530752" y="1586029"/>
                </a:cubicBezTo>
                <a:cubicBezTo>
                  <a:pt x="519907" y="1586029"/>
                  <a:pt x="505565" y="1585539"/>
                  <a:pt x="488703" y="1584560"/>
                </a:cubicBezTo>
                <a:lnTo>
                  <a:pt x="441757" y="1581621"/>
                </a:lnTo>
                <a:cubicBezTo>
                  <a:pt x="419998" y="1580362"/>
                  <a:pt x="403696" y="1579662"/>
                  <a:pt x="392992" y="1579662"/>
                </a:cubicBezTo>
                <a:cubicBezTo>
                  <a:pt x="379069" y="1579662"/>
                  <a:pt x="372142" y="1580012"/>
                  <a:pt x="355001" y="1581551"/>
                </a:cubicBezTo>
                <a:lnTo>
                  <a:pt x="619327" y="1228160"/>
                </a:lnTo>
                <a:lnTo>
                  <a:pt x="286715" y="1228160"/>
                </a:lnTo>
                <a:lnTo>
                  <a:pt x="260688" y="1328349"/>
                </a:lnTo>
                <a:lnTo>
                  <a:pt x="276221" y="1331847"/>
                </a:lnTo>
                <a:cubicBezTo>
                  <a:pt x="278110" y="1327999"/>
                  <a:pt x="279579" y="1325411"/>
                  <a:pt x="280558" y="1323592"/>
                </a:cubicBezTo>
                <a:cubicBezTo>
                  <a:pt x="289234" y="1308059"/>
                  <a:pt x="302527" y="1292317"/>
                  <a:pt x="313092" y="1284901"/>
                </a:cubicBezTo>
                <a:cubicBezTo>
                  <a:pt x="322117" y="1278534"/>
                  <a:pt x="333172" y="1274057"/>
                  <a:pt x="345625" y="1271608"/>
                </a:cubicBezTo>
                <a:cubicBezTo>
                  <a:pt x="366125" y="1267620"/>
                  <a:pt x="394531" y="1265451"/>
                  <a:pt x="424825" y="1265451"/>
                </a:cubicBezTo>
                <a:lnTo>
                  <a:pt x="453161" y="1265521"/>
                </a:lnTo>
                <a:lnTo>
                  <a:pt x="481777" y="1265451"/>
                </a:lnTo>
                <a:lnTo>
                  <a:pt x="218150" y="1611846"/>
                </a:lnTo>
                <a:cubicBezTo>
                  <a:pt x="81789" y="1441972"/>
                  <a:pt x="0" y="1226411"/>
                  <a:pt x="0" y="991609"/>
                </a:cubicBezTo>
                <a:cubicBezTo>
                  <a:pt x="0" y="443996"/>
                  <a:pt x="443996" y="0"/>
                  <a:pt x="991609" y="0"/>
                </a:cubicBezTo>
                <a:close/>
              </a:path>
            </a:pathLst>
          </a:custGeom>
        </p:spPr>
        <p:txBody>
          <a:bodyPr wrap="square">
            <a:noAutofit/>
          </a:bodyPr>
          <a:lstStyle>
            <a:lvl1pPr marL="0" indent="0" algn="ctr" rtl="0">
              <a:buNone/>
              <a:defRPr>
                <a:latin typeface="+mn-lt"/>
                <a:cs typeface="Arial" panose="020B0604020202020204" pitchFamily="34" charset="0"/>
              </a:defRPr>
            </a:lvl1pPr>
          </a:lstStyle>
          <a:p>
            <a:r>
              <a:rPr lang="de-DE"/>
              <a:t>Click icon to add picture</a:t>
            </a:r>
          </a:p>
        </p:txBody>
      </p:sp>
      <p:sp>
        <p:nvSpPr>
          <p:cNvPr id="33" name="Slide Number Placeholder 5">
            <a:extLst>
              <a:ext uri="{FF2B5EF4-FFF2-40B4-BE49-F238E27FC236}">
                <a16:creationId xmlns:a16="http://schemas.microsoft.com/office/drawing/2014/main" id="{2940119E-5F10-4EB4-B937-FD54D145016C}"/>
              </a:ext>
            </a:extLst>
          </p:cNvPr>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35" name="Footer Placeholder 3">
            <a:extLst>
              <a:ext uri="{FF2B5EF4-FFF2-40B4-BE49-F238E27FC236}">
                <a16:creationId xmlns:a16="http://schemas.microsoft.com/office/drawing/2014/main" id="{40454D8E-1F3F-4D16-AA7F-FBF0AED1BC21}"/>
              </a:ext>
            </a:extLst>
          </p:cNvPr>
          <p:cNvSpPr>
            <a:spLocks noGrp="1"/>
          </p:cNvSpPr>
          <p:nvPr>
            <p:ph type="ftr" sz="quarter" idx="3"/>
          </p:nvPr>
        </p:nvSpPr>
        <p:spPr>
          <a:xfrm>
            <a:off x="2261053" y="6531715"/>
            <a:ext cx="8112000" cy="181960"/>
          </a:xfrm>
          <a:prstGeom prst="rect">
            <a:avLst/>
          </a:prstGeom>
        </p:spPr>
        <p:txBody>
          <a:bodyPr lIns="0" tIns="0" rIns="0" bIns="0"/>
          <a:lstStyle>
            <a:lvl1pPr algn="r" rtl="0">
              <a:defRPr sz="900">
                <a:solidFill>
                  <a:schemeClr val="accent1"/>
                </a:solidFill>
                <a:latin typeface="+mn-lt"/>
                <a:cs typeface="Arial" panose="020B0604020202020204" pitchFamily="34" charset="0"/>
              </a:defRPr>
            </a:lvl1pPr>
          </a:lstStyle>
          <a:p>
            <a:endParaRPr lang="de-DE"/>
          </a:p>
        </p:txBody>
      </p:sp>
    </p:spTree>
    <p:extLst>
      <p:ext uri="{BB962C8B-B14F-4D97-AF65-F5344CB8AC3E}">
        <p14:creationId xmlns:p14="http://schemas.microsoft.com/office/powerpoint/2010/main" val="7958233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pic>
        <p:nvPicPr>
          <p:cNvPr id="2" name="ZRS Logo Horozontal">
            <a:extLst>
              <a:ext uri="{FF2B5EF4-FFF2-40B4-BE49-F238E27FC236}">
                <a16:creationId xmlns:a16="http://schemas.microsoft.com/office/drawing/2014/main" id="{AD6B03EA-B1F5-E5B3-E991-0F57E0753F4B}"/>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194" t="5628" b="28088"/>
          <a:stretch/>
        </p:blipFill>
        <p:spPr>
          <a:xfrm>
            <a:off x="10342653" y="317502"/>
            <a:ext cx="1510791" cy="520700"/>
          </a:xfrm>
          <a:prstGeom prst="rect">
            <a:avLst/>
          </a:prstGeom>
        </p:spPr>
      </p:pic>
      <p:sp>
        <p:nvSpPr>
          <p:cNvPr id="3" name="Content Placeholder 2"/>
          <p:cNvSpPr>
            <a:spLocks noGrp="1"/>
          </p:cNvSpPr>
          <p:nvPr>
            <p:ph idx="1"/>
          </p:nvPr>
        </p:nvSpPr>
        <p:spPr>
          <a:xfrm>
            <a:off x="259451" y="1205998"/>
            <a:ext cx="11669024" cy="5040145"/>
          </a:xfrm>
        </p:spPr>
        <p:txBody>
          <a:bodyPr/>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21" name="Title 1">
            <a:extLst>
              <a:ext uri="{FF2B5EF4-FFF2-40B4-BE49-F238E27FC236}">
                <a16:creationId xmlns:a16="http://schemas.microsoft.com/office/drawing/2014/main" id="{29FBF581-E754-574B-A309-6F2FB382E481}"/>
              </a:ext>
            </a:extLst>
          </p:cNvPr>
          <p:cNvSpPr>
            <a:spLocks noGrp="1"/>
          </p:cNvSpPr>
          <p:nvPr>
            <p:ph type="title"/>
          </p:nvPr>
        </p:nvSpPr>
        <p:spPr>
          <a:xfrm>
            <a:off x="252662" y="260273"/>
            <a:ext cx="9586415" cy="332399"/>
          </a:xfrm>
        </p:spPr>
        <p:txBody>
          <a:bodyPr>
            <a:spAutoFit/>
          </a:bodyPr>
          <a:lstStyle>
            <a:lvl1pPr>
              <a:defRPr>
                <a:latin typeface="+mn-lt"/>
                <a:cs typeface="Arial" panose="020B0604020202020204" pitchFamily="34" charset="0"/>
              </a:defRPr>
            </a:lvl1pPr>
          </a:lstStyle>
          <a:p>
            <a:r>
              <a:rPr lang="es-ES"/>
              <a:t>Haga clic para modificar el estilo de título del patrón</a:t>
            </a:r>
            <a:endParaRPr lang="en-US"/>
          </a:p>
        </p:txBody>
      </p:sp>
      <p:sp>
        <p:nvSpPr>
          <p:cNvPr id="22" name="Subtitle 2">
            <a:extLst>
              <a:ext uri="{FF2B5EF4-FFF2-40B4-BE49-F238E27FC236}">
                <a16:creationId xmlns:a16="http://schemas.microsoft.com/office/drawing/2014/main" id="{60580A64-4AC1-D547-A7C8-FF2A5434D2C5}"/>
              </a:ext>
            </a:extLst>
          </p:cNvPr>
          <p:cNvSpPr>
            <a:spLocks noGrp="1"/>
          </p:cNvSpPr>
          <p:nvPr>
            <p:ph type="subTitle" idx="13"/>
          </p:nvPr>
        </p:nvSpPr>
        <p:spPr>
          <a:xfrm>
            <a:off x="252661" y="610601"/>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03" indent="0" algn="ctr">
              <a:buNone/>
              <a:defRPr>
                <a:solidFill>
                  <a:schemeClr val="tx1">
                    <a:tint val="75000"/>
                  </a:schemeClr>
                </a:solidFill>
              </a:defRPr>
            </a:lvl2pPr>
            <a:lvl3pPr marL="685606" indent="0" algn="ctr">
              <a:buNone/>
              <a:defRPr>
                <a:solidFill>
                  <a:schemeClr val="tx1">
                    <a:tint val="75000"/>
                  </a:schemeClr>
                </a:solidFill>
              </a:defRPr>
            </a:lvl3pPr>
            <a:lvl4pPr marL="1028409" indent="0" algn="ctr">
              <a:buNone/>
              <a:defRPr>
                <a:solidFill>
                  <a:schemeClr val="tx1">
                    <a:tint val="75000"/>
                  </a:schemeClr>
                </a:solidFill>
              </a:defRPr>
            </a:lvl4pPr>
            <a:lvl5pPr marL="1371212" indent="0" algn="ctr">
              <a:buNone/>
              <a:defRPr>
                <a:solidFill>
                  <a:schemeClr val="tx1">
                    <a:tint val="75000"/>
                  </a:schemeClr>
                </a:solidFill>
              </a:defRPr>
            </a:lvl5pPr>
            <a:lvl6pPr marL="1714014" indent="0" algn="ctr">
              <a:buNone/>
              <a:defRPr>
                <a:solidFill>
                  <a:schemeClr val="tx1">
                    <a:tint val="75000"/>
                  </a:schemeClr>
                </a:solidFill>
              </a:defRPr>
            </a:lvl6pPr>
            <a:lvl7pPr marL="2056818" indent="0" algn="ctr">
              <a:buNone/>
              <a:defRPr>
                <a:solidFill>
                  <a:schemeClr val="tx1">
                    <a:tint val="75000"/>
                  </a:schemeClr>
                </a:solidFill>
              </a:defRPr>
            </a:lvl7pPr>
            <a:lvl8pPr marL="2399620" indent="0" algn="ctr">
              <a:buNone/>
              <a:defRPr>
                <a:solidFill>
                  <a:schemeClr val="tx1">
                    <a:tint val="75000"/>
                  </a:schemeClr>
                </a:solidFill>
              </a:defRPr>
            </a:lvl8pPr>
            <a:lvl9pPr marL="2742423" indent="0" algn="ctr">
              <a:buNone/>
              <a:defRPr>
                <a:solidFill>
                  <a:schemeClr val="tx1">
                    <a:tint val="75000"/>
                  </a:schemeClr>
                </a:solidFill>
              </a:defRPr>
            </a:lvl9pPr>
          </a:lstStyle>
          <a:p>
            <a:r>
              <a:rPr lang="es-ES"/>
              <a:t>Haga clic para modificar el estilo de subtítulo del patrón</a:t>
            </a:r>
            <a:endParaRPr lang="en-GB" noProof="0"/>
          </a:p>
        </p:txBody>
      </p:sp>
      <p:sp>
        <p:nvSpPr>
          <p:cNvPr id="18" name="Slide Number Placeholder 5">
            <a:extLst>
              <a:ext uri="{FF2B5EF4-FFF2-40B4-BE49-F238E27FC236}">
                <a16:creationId xmlns:a16="http://schemas.microsoft.com/office/drawing/2014/main" id="{9DEE29F2-F280-4686-A9A8-3959443731C7}"/>
              </a:ext>
            </a:extLst>
          </p:cNvPr>
          <p:cNvSpPr>
            <a:spLocks noGrp="1"/>
          </p:cNvSpPr>
          <p:nvPr>
            <p:ph type="sldNum" sz="quarter" idx="4"/>
          </p:nvPr>
        </p:nvSpPr>
        <p:spPr>
          <a:xfrm>
            <a:off x="10704513"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34917280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5_CV sli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6B8AF0C-8068-A9A7-24FD-79A419F32BEF}"/>
              </a:ext>
            </a:extLst>
          </p:cNvPr>
          <p:cNvGraphicFramePr>
            <a:graphicFrameLocks noChangeAspect="1"/>
          </p:cNvGraphicFramePr>
          <p:nvPr userDrawn="1">
            <p:custDataLst>
              <p:tags r:id="rId1"/>
            </p:custDataLst>
            <p:extLst>
              <p:ext uri="{D42A27DB-BD31-4B8C-83A1-F6EECF244321}">
                <p14:modId xmlns:p14="http://schemas.microsoft.com/office/powerpoint/2010/main" val="151641412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06B8AF0C-8068-A9A7-24FD-79A419F32BEF}"/>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0660FE9-7058-445A-A87D-587C9395E97C}"/>
              </a:ext>
            </a:extLst>
          </p:cNvPr>
          <p:cNvSpPr/>
          <p:nvPr userDrawn="1"/>
        </p:nvSpPr>
        <p:spPr>
          <a:xfrm>
            <a:off x="8234008" y="0"/>
            <a:ext cx="3960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a:endParaRPr lang="de-DE" sz="1000">
              <a:latin typeface="+mn-lt"/>
              <a:cs typeface="Arial" panose="020B0604020202020204" pitchFamily="34" charset="0"/>
            </a:endParaRPr>
          </a:p>
        </p:txBody>
      </p:sp>
      <p:sp>
        <p:nvSpPr>
          <p:cNvPr id="18" name="Picture Placeholder 3">
            <a:extLst>
              <a:ext uri="{FF2B5EF4-FFF2-40B4-BE49-F238E27FC236}">
                <a16:creationId xmlns:a16="http://schemas.microsoft.com/office/drawing/2014/main" id="{33BE1813-D5B5-4415-BB63-F6AD5397276E}"/>
              </a:ext>
            </a:extLst>
          </p:cNvPr>
          <p:cNvSpPr>
            <a:spLocks noGrp="1"/>
          </p:cNvSpPr>
          <p:nvPr>
            <p:ph type="pic" sz="quarter" idx="30" hasCustomPrompt="1"/>
          </p:nvPr>
        </p:nvSpPr>
        <p:spPr>
          <a:xfrm>
            <a:off x="9413053" y="1509000"/>
            <a:ext cx="1920000" cy="1920000"/>
          </a:xfrm>
          <a:prstGeom prst="ellipse">
            <a:avLst/>
          </a:prstGeom>
        </p:spPr>
        <p:txBody>
          <a:bodyPr/>
          <a:lstStyle>
            <a:lvl1pPr marL="0" indent="0" algn="ctr" rtl="0">
              <a:buNone/>
              <a:defRPr sz="1333">
                <a:solidFill>
                  <a:srgbClr val="2167AE"/>
                </a:solidFill>
                <a:latin typeface="+mn-lt"/>
                <a:cs typeface="Arial" panose="020B0604020202020204" pitchFamily="34" charset="0"/>
              </a:defRPr>
            </a:lvl1pPr>
          </a:lstStyle>
          <a:p>
            <a:r>
              <a:rPr lang="de-DE"/>
              <a:t>Add picture here</a:t>
            </a:r>
          </a:p>
        </p:txBody>
      </p:sp>
      <p:sp>
        <p:nvSpPr>
          <p:cNvPr id="20" name="Title 1">
            <a:extLst>
              <a:ext uri="{FF2B5EF4-FFF2-40B4-BE49-F238E27FC236}">
                <a16:creationId xmlns:a16="http://schemas.microsoft.com/office/drawing/2014/main" id="{6E310D89-47FE-194B-8632-078ED6BD782F}"/>
              </a:ext>
            </a:extLst>
          </p:cNvPr>
          <p:cNvSpPr>
            <a:spLocks noGrp="1"/>
          </p:cNvSpPr>
          <p:nvPr>
            <p:ph type="title" hasCustomPrompt="1"/>
          </p:nvPr>
        </p:nvSpPr>
        <p:spPr>
          <a:xfrm>
            <a:off x="334801" y="260270"/>
            <a:ext cx="7621515" cy="332399"/>
          </a:xfrm>
        </p:spPr>
        <p:txBody>
          <a:bodyPr vert="horz" wrap="square">
            <a:spAutoFit/>
          </a:bodyPr>
          <a:lstStyle>
            <a:lvl1pPr rtl="0">
              <a:defRPr>
                <a:latin typeface="+mj-lt"/>
                <a:cs typeface="Arial" panose="020B0604020202020204" pitchFamily="34" charset="0"/>
              </a:defRPr>
            </a:lvl1pPr>
          </a:lstStyle>
          <a:p>
            <a:r>
              <a:rPr lang="de-DE"/>
              <a:t>Click to edit Master title style</a:t>
            </a:r>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hasCustomPrompt="1"/>
          </p:nvPr>
        </p:nvSpPr>
        <p:spPr>
          <a:xfrm>
            <a:off x="334801" y="610598"/>
            <a:ext cx="7621515" cy="332399"/>
          </a:xfrm>
          <a:prstGeom prst="rect">
            <a:avLst/>
          </a:prstGeom>
        </p:spPr>
        <p:txBody>
          <a:bodyPr anchor="t">
            <a:normAutofit/>
          </a:bodyPr>
          <a:lstStyle>
            <a:lvl1pPr marL="0" indent="0" algn="l" rtl="0">
              <a:buFont typeface="Arial" panose="020B0604020202020204" pitchFamily="34" charset="0"/>
              <a:buNone/>
              <a:defRPr sz="1800" b="0" i="0">
                <a:solidFill>
                  <a:srgbClr val="2167AE"/>
                </a:solidFill>
                <a:latin typeface="+mn-lt"/>
                <a:cs typeface="Arial" panose="020B0604020202020204" pitchFamily="34" charset="0"/>
              </a:defRPr>
            </a:lvl1pPr>
            <a:lvl2pPr marL="342846" indent="0" algn="ctr">
              <a:buNone/>
              <a:defRPr>
                <a:solidFill>
                  <a:schemeClr val="tx1">
                    <a:tint val="75000"/>
                  </a:schemeClr>
                </a:solidFill>
              </a:defRPr>
            </a:lvl2pPr>
            <a:lvl3pPr marL="685692" indent="0" algn="ctr">
              <a:buNone/>
              <a:defRPr>
                <a:solidFill>
                  <a:schemeClr val="tx1">
                    <a:tint val="75000"/>
                  </a:schemeClr>
                </a:solidFill>
              </a:defRPr>
            </a:lvl3pPr>
            <a:lvl4pPr marL="1028537" indent="0" algn="ctr">
              <a:buNone/>
              <a:defRPr>
                <a:solidFill>
                  <a:schemeClr val="tx1">
                    <a:tint val="75000"/>
                  </a:schemeClr>
                </a:solidFill>
              </a:defRPr>
            </a:lvl4pPr>
            <a:lvl5pPr marL="1371383" indent="0" algn="ctr">
              <a:buNone/>
              <a:defRPr>
                <a:solidFill>
                  <a:schemeClr val="tx1">
                    <a:tint val="75000"/>
                  </a:schemeClr>
                </a:solidFill>
              </a:defRPr>
            </a:lvl5pPr>
            <a:lvl6pPr marL="1714228" indent="0" algn="ctr">
              <a:buNone/>
              <a:defRPr>
                <a:solidFill>
                  <a:schemeClr val="tx1">
                    <a:tint val="75000"/>
                  </a:schemeClr>
                </a:solidFill>
              </a:defRPr>
            </a:lvl6pPr>
            <a:lvl7pPr marL="2057075" indent="0" algn="ctr">
              <a:buNone/>
              <a:defRPr>
                <a:solidFill>
                  <a:schemeClr val="tx1">
                    <a:tint val="75000"/>
                  </a:schemeClr>
                </a:solidFill>
              </a:defRPr>
            </a:lvl7pPr>
            <a:lvl8pPr marL="2399920" indent="0" algn="ctr">
              <a:buNone/>
              <a:defRPr>
                <a:solidFill>
                  <a:schemeClr val="tx1">
                    <a:tint val="75000"/>
                  </a:schemeClr>
                </a:solidFill>
              </a:defRPr>
            </a:lvl8pPr>
            <a:lvl9pPr marL="2742766" indent="0" algn="ctr">
              <a:buNone/>
              <a:defRPr>
                <a:solidFill>
                  <a:schemeClr val="tx1">
                    <a:tint val="75000"/>
                  </a:schemeClr>
                </a:solidFill>
              </a:defRPr>
            </a:lvl9pPr>
          </a:lstStyle>
          <a:p>
            <a:r>
              <a:rPr lang="de-DE"/>
              <a:t>Click to edit Master subtitle style</a:t>
            </a:r>
            <a:endParaRPr lang="de-DE" noProof="0"/>
          </a:p>
        </p:txBody>
      </p:sp>
      <p:sp>
        <p:nvSpPr>
          <p:cNvPr id="33" name="Content Placeholder 2">
            <a:extLst>
              <a:ext uri="{FF2B5EF4-FFF2-40B4-BE49-F238E27FC236}">
                <a16:creationId xmlns:a16="http://schemas.microsoft.com/office/drawing/2014/main" id="{22F76E53-ED3E-4712-828A-462700FD54D1}"/>
              </a:ext>
            </a:extLst>
          </p:cNvPr>
          <p:cNvSpPr>
            <a:spLocks noGrp="1"/>
          </p:cNvSpPr>
          <p:nvPr>
            <p:ph idx="1" hasCustomPrompt="1"/>
          </p:nvPr>
        </p:nvSpPr>
        <p:spPr>
          <a:xfrm>
            <a:off x="334801" y="1206180"/>
            <a:ext cx="7621515" cy="5040145"/>
          </a:xfrm>
        </p:spPr>
        <p:txBody>
          <a:bodyPr lIns="72000" tIns="72000" rIns="72000" bIns="72000"/>
          <a:lstStyle>
            <a:lvl1pPr rtl="0">
              <a:defRPr sz="1800">
                <a:latin typeface="+mn-lt"/>
                <a:cs typeface="Arial" panose="020B0604020202020204" pitchFamily="34" charset="0"/>
              </a:defRPr>
            </a:lvl1pPr>
            <a:lvl2pPr rtl="0">
              <a:defRPr sz="1600">
                <a:latin typeface="+mn-lt"/>
                <a:cs typeface="Arial" panose="020B0604020202020204" pitchFamily="34" charset="0"/>
              </a:defRPr>
            </a:lvl2pPr>
            <a:lvl3pPr rtl="0">
              <a:defRPr sz="1400">
                <a:latin typeface="+mn-lt"/>
                <a:cs typeface="Arial" panose="020B0604020202020204" pitchFamily="34" charset="0"/>
              </a:defRPr>
            </a:lvl3pPr>
            <a:lvl4pPr rtl="0">
              <a:defRPr sz="1200">
                <a:latin typeface="+mn-lt"/>
                <a:cs typeface="Arial" panose="020B0604020202020204" pitchFamily="34" charset="0"/>
              </a:defRPr>
            </a:lvl4pPr>
            <a:lvl5pPr rtl="0">
              <a:defRPr sz="1200">
                <a:latin typeface="+mn-lt"/>
                <a:cs typeface="Arial" panose="020B0604020202020204" pitchFamily="34" charset="0"/>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34" name="Slide Number Placeholder 5">
            <a:extLst>
              <a:ext uri="{FF2B5EF4-FFF2-40B4-BE49-F238E27FC236}">
                <a16:creationId xmlns:a16="http://schemas.microsoft.com/office/drawing/2014/main" id="{3E83A98D-348B-40D1-B8DE-954D062DE5ED}"/>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35" name="TextBox 34">
            <a:extLst>
              <a:ext uri="{FF2B5EF4-FFF2-40B4-BE49-F238E27FC236}">
                <a16:creationId xmlns:a16="http://schemas.microsoft.com/office/drawing/2014/main" id="{20454A9A-E833-4775-8C2D-33EB42BCE6B5}"/>
              </a:ext>
            </a:extLst>
          </p:cNvPr>
          <p:cNvSpPr txBox="1"/>
          <p:nvPr userDrawn="1"/>
        </p:nvSpPr>
        <p:spPr>
          <a:xfrm>
            <a:off x="11158232" y="6548650"/>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rtl="0"/>
            <a:r>
              <a:rPr lang="de-DE" sz="900">
                <a:latin typeface="+mn-lt"/>
                <a:cs typeface="Arial" panose="020B0604020202020204" pitchFamily="34" charset="0"/>
              </a:rPr>
              <a:t>© </a:t>
            </a:r>
            <a:r>
              <a:rPr lang="de-DE" sz="900" err="1">
                <a:latin typeface="+mn-lt"/>
                <a:cs typeface="Arial" panose="020B0604020202020204" pitchFamily="34" charset="0"/>
              </a:rPr>
              <a:t>Zurich</a:t>
            </a:r>
            <a:endParaRPr lang="de-DE" sz="900">
              <a:latin typeface="+mn-lt"/>
              <a:cs typeface="Arial" panose="020B0604020202020204" pitchFamily="34" charset="0"/>
            </a:endParaRPr>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31715"/>
            <a:ext cx="8112000" cy="181960"/>
          </a:xfrm>
          <a:prstGeom prst="rect">
            <a:avLst/>
          </a:prstGeom>
        </p:spPr>
        <p:txBody>
          <a:bodyPr lIns="0" tIns="0" rIns="0" bIns="0"/>
          <a:lstStyle>
            <a:lvl1pPr algn="r" rtl="0">
              <a:defRPr sz="900">
                <a:solidFill>
                  <a:schemeClr val="accent1"/>
                </a:solidFill>
                <a:latin typeface="+mn-lt"/>
                <a:cs typeface="Arial" panose="020B0604020202020204" pitchFamily="34" charset="0"/>
              </a:defRPr>
            </a:lvl1pPr>
          </a:lstStyle>
          <a:p>
            <a:endParaRPr lang="de-DE"/>
          </a:p>
        </p:txBody>
      </p:sp>
      <p:pic>
        <p:nvPicPr>
          <p:cNvPr id="37" name="Graphic 36">
            <a:extLst>
              <a:ext uri="{FF2B5EF4-FFF2-40B4-BE49-F238E27FC236}">
                <a16:creationId xmlns:a16="http://schemas.microsoft.com/office/drawing/2014/main" id="{C8B466E6-A668-4046-A75F-AB1CFB0F8F1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353689" y="306000"/>
            <a:ext cx="1500251" cy="498141"/>
          </a:xfrm>
          <a:prstGeom prst="rect">
            <a:avLst/>
          </a:prstGeom>
        </p:spPr>
      </p:pic>
    </p:spTree>
    <p:extLst>
      <p:ext uri="{BB962C8B-B14F-4D97-AF65-F5344CB8AC3E}">
        <p14:creationId xmlns:p14="http://schemas.microsoft.com/office/powerpoint/2010/main" val="19184639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3818" y="1430338"/>
            <a:ext cx="11381783" cy="4959663"/>
          </a:xfrm>
        </p:spPr>
        <p:txBody>
          <a:bodyPr/>
          <a:lstStyle>
            <a:lvl5pPr marL="1345897" indent="-271403">
              <a:buClr>
                <a:srgbClr val="000066"/>
              </a:buClr>
              <a:buSzPct val="100000"/>
              <a:buFont typeface="Frutiger 55 Roman" pitchFamily="34" charset="0"/>
              <a:buChar char="–"/>
              <a:defRPr/>
            </a:lvl5pPr>
            <a:lvl6pPr marL="1614126" indent="-285685">
              <a:spcBef>
                <a:spcPts val="0"/>
              </a:spcBef>
              <a:spcAft>
                <a:spcPts val="300"/>
              </a:spcAft>
              <a:buClr>
                <a:srgbClr val="000066"/>
              </a:buClr>
              <a:buSzPct val="100000"/>
              <a:buFont typeface="Frutiger 55 Roman" pitchFamily="34" charset="0"/>
              <a:buChar char="–"/>
              <a:defRPr/>
            </a:lvl6pPr>
            <a:lvl7pPr marL="1880765" indent="-285685">
              <a:spcBef>
                <a:spcPts val="0"/>
              </a:spcBef>
              <a:spcAft>
                <a:spcPts val="300"/>
              </a:spcAft>
              <a:buClr>
                <a:srgbClr val="000066"/>
              </a:buClr>
              <a:buSzPct val="100000"/>
              <a:buFont typeface="Frutiger 55 Roman" pitchFamily="34" charset="0"/>
              <a:buChar char="–"/>
              <a:defRPr/>
            </a:lvl7pPr>
            <a:lvl8pPr marL="2160102" indent="-285685">
              <a:spcBef>
                <a:spcPts val="0"/>
              </a:spcBef>
              <a:spcAft>
                <a:spcPts val="300"/>
              </a:spcAft>
              <a:buClr>
                <a:srgbClr val="000066"/>
              </a:buClr>
              <a:buSzPct val="100000"/>
              <a:buFont typeface="Frutiger 55 Roman" pitchFamily="34" charset="0"/>
              <a:buChar char="–"/>
              <a:defRPr/>
            </a:lvl8pPr>
            <a:lvl9pPr marL="2426742" indent="-285685">
              <a:spcBef>
                <a:spcPts val="0"/>
              </a:spcBef>
              <a:spcAft>
                <a:spcPts val="300"/>
              </a:spcAft>
              <a:buClr>
                <a:srgbClr val="000066"/>
              </a:buClr>
              <a:buSzPct val="100000"/>
              <a:buFont typeface="Frutiger 55 Roman" pitchFamily="34" charset="0"/>
              <a:buChar cha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Subtitle 2"/>
          <p:cNvSpPr>
            <a:spLocks noGrp="1"/>
          </p:cNvSpPr>
          <p:nvPr>
            <p:ph type="subTitle" idx="13"/>
          </p:nvPr>
        </p:nvSpPr>
        <p:spPr>
          <a:xfrm>
            <a:off x="403148" y="689656"/>
            <a:ext cx="10208272" cy="396000"/>
          </a:xfrm>
        </p:spPr>
        <p:txBody>
          <a:bodyPr/>
          <a:lstStyle>
            <a:lvl1pPr marL="0" indent="0" algn="l">
              <a:buNone/>
              <a:defRPr sz="2000">
                <a:solidFill>
                  <a:schemeClr val="tx1"/>
                </a:solidFill>
              </a:defRPr>
            </a:lvl1pPr>
            <a:lvl2pPr marL="457097" indent="0" algn="ctr">
              <a:buNone/>
              <a:defRPr>
                <a:solidFill>
                  <a:schemeClr val="tx1">
                    <a:tint val="75000"/>
                  </a:schemeClr>
                </a:solidFill>
              </a:defRPr>
            </a:lvl2pPr>
            <a:lvl3pPr marL="914196" indent="0" algn="ctr">
              <a:buNone/>
              <a:defRPr>
                <a:solidFill>
                  <a:schemeClr val="tx1">
                    <a:tint val="75000"/>
                  </a:schemeClr>
                </a:solidFill>
              </a:defRPr>
            </a:lvl3pPr>
            <a:lvl4pPr marL="1371292" indent="0" algn="ctr">
              <a:buNone/>
              <a:defRPr>
                <a:solidFill>
                  <a:schemeClr val="tx1">
                    <a:tint val="75000"/>
                  </a:schemeClr>
                </a:solidFill>
              </a:defRPr>
            </a:lvl4pPr>
            <a:lvl5pPr marL="1828389" indent="0" algn="ctr">
              <a:buNone/>
              <a:defRPr>
                <a:solidFill>
                  <a:schemeClr val="tx1">
                    <a:tint val="75000"/>
                  </a:schemeClr>
                </a:solidFill>
              </a:defRPr>
            </a:lvl5pPr>
            <a:lvl6pPr marL="2285486" indent="0" algn="ctr">
              <a:buNone/>
              <a:defRPr>
                <a:solidFill>
                  <a:schemeClr val="tx1">
                    <a:tint val="75000"/>
                  </a:schemeClr>
                </a:solidFill>
              </a:defRPr>
            </a:lvl6pPr>
            <a:lvl7pPr marL="2742583" indent="0" algn="ctr">
              <a:buNone/>
              <a:defRPr>
                <a:solidFill>
                  <a:schemeClr val="tx1">
                    <a:tint val="75000"/>
                  </a:schemeClr>
                </a:solidFill>
              </a:defRPr>
            </a:lvl7pPr>
            <a:lvl8pPr marL="3199680" indent="0" algn="ctr">
              <a:buNone/>
              <a:defRPr>
                <a:solidFill>
                  <a:schemeClr val="tx1">
                    <a:tint val="75000"/>
                  </a:schemeClr>
                </a:solidFill>
              </a:defRPr>
            </a:lvl8pPr>
            <a:lvl9pPr marL="3656777" indent="0" algn="ctr">
              <a:buNone/>
              <a:defRPr>
                <a:solidFill>
                  <a:schemeClr val="tx1">
                    <a:tint val="75000"/>
                  </a:schemeClr>
                </a:solidFill>
              </a:defRPr>
            </a:lvl9pPr>
          </a:lstStyle>
          <a:p>
            <a:r>
              <a:rPr lang="en-US"/>
              <a:t>Click to edit Master subtitle style</a:t>
            </a:r>
          </a:p>
        </p:txBody>
      </p:sp>
      <p:sp>
        <p:nvSpPr>
          <p:cNvPr id="7" name="Title 6"/>
          <p:cNvSpPr>
            <a:spLocks noGrp="1"/>
          </p:cNvSpPr>
          <p:nvPr>
            <p:ph type="title"/>
          </p:nvPr>
        </p:nvSpPr>
        <p:spPr/>
        <p:txBody>
          <a:bodyPr/>
          <a:lstStyle/>
          <a:p>
            <a:r>
              <a:rPr lang="en-US"/>
              <a:t>Click to edit Master title style</a:t>
            </a:r>
          </a:p>
        </p:txBody>
      </p:sp>
      <p:sp>
        <p:nvSpPr>
          <p:cNvPr id="2" name="Date Placeholder 1"/>
          <p:cNvSpPr>
            <a:spLocks noGrp="1"/>
          </p:cNvSpPr>
          <p:nvPr>
            <p:ph type="dt" sz="half" idx="14"/>
          </p:nvPr>
        </p:nvSpPr>
        <p:spPr>
          <a:xfrm>
            <a:off x="403149" y="6566401"/>
            <a:ext cx="1079859" cy="151200"/>
          </a:xfrm>
          <a:prstGeom prst="rect">
            <a:avLst/>
          </a:prstGeom>
        </p:spPr>
        <p:txBody>
          <a:bodyPr anchor="t"/>
          <a:lstStyle>
            <a:lvl1pPr>
              <a:defRPr b="0">
                <a:solidFill>
                  <a:srgbClr val="000066"/>
                </a:solidFill>
              </a:defRPr>
            </a:lvl1pPr>
          </a:lstStyle>
          <a:p>
            <a:endParaRPr lang="en-US"/>
          </a:p>
        </p:txBody>
      </p:sp>
      <p:sp>
        <p:nvSpPr>
          <p:cNvPr id="9" name="Footer Placeholder 8"/>
          <p:cNvSpPr>
            <a:spLocks noGrp="1"/>
          </p:cNvSpPr>
          <p:nvPr>
            <p:ph type="ftr" sz="quarter" idx="15"/>
          </p:nvPr>
        </p:nvSpPr>
        <p:spPr>
          <a:xfrm>
            <a:off x="3203583" y="6566401"/>
            <a:ext cx="7559016" cy="151200"/>
          </a:xfrm>
          <a:prstGeom prst="rect">
            <a:avLst/>
          </a:prstGeom>
        </p:spPr>
        <p:txBody>
          <a:bodyPr/>
          <a:lstStyle/>
          <a:p>
            <a:endParaRPr lang="en-US"/>
          </a:p>
        </p:txBody>
      </p:sp>
      <p:sp>
        <p:nvSpPr>
          <p:cNvPr id="10" name="Slide Number Placeholder 9"/>
          <p:cNvSpPr>
            <a:spLocks noGrp="1"/>
          </p:cNvSpPr>
          <p:nvPr>
            <p:ph type="sldNum" sz="quarter" idx="16"/>
          </p:nvPr>
        </p:nvSpPr>
        <p:spPr>
          <a:xfrm>
            <a:off x="11436101" y="6566400"/>
            <a:ext cx="359953" cy="151200"/>
          </a:xfrm>
        </p:spPr>
        <p:txBody>
          <a:bodyPr anchor="t"/>
          <a:lstStyle>
            <a:lvl1pPr marL="0" algn="r" defTabSz="914196" rtl="0" eaLnBrk="1" latinLnBrk="0" hangingPunct="1">
              <a:buNone/>
              <a:defRPr b="0"/>
            </a:lvl1pPr>
          </a:lstStyle>
          <a:p>
            <a:fld id="{389075F7-7510-4B87-94F8-2C8610BEE4CA}" type="slidenum">
              <a:rPr lang="en-US" smtClean="0"/>
              <a:pPr/>
              <a:t>‹nr.›</a:t>
            </a:fld>
            <a:endParaRPr lang="en-US"/>
          </a:p>
        </p:txBody>
      </p:sp>
      <p:pic>
        <p:nvPicPr>
          <p:cNvPr id="4" name="ZRS Logo Horozontal">
            <a:extLst>
              <a:ext uri="{FF2B5EF4-FFF2-40B4-BE49-F238E27FC236}">
                <a16:creationId xmlns:a16="http://schemas.microsoft.com/office/drawing/2014/main" id="{7BCDDC6D-13C9-21C9-A2E8-7168572EDB7A}"/>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189294762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47835D-75EC-A62D-9B61-8A2BCD111B16}"/>
              </a:ext>
            </a:extLst>
          </p:cNvPr>
          <p:cNvGraphicFramePr>
            <a:graphicFrameLocks noChangeAspect="1"/>
          </p:cNvGraphicFramePr>
          <p:nvPr userDrawn="1">
            <p:custDataLst>
              <p:tags r:id="rId1"/>
            </p:custDataLst>
            <p:extLst>
              <p:ext uri="{D42A27DB-BD31-4B8C-83A1-F6EECF244321}">
                <p14:modId xmlns:p14="http://schemas.microsoft.com/office/powerpoint/2010/main" val="1582984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think-cell data - do not delete" hidden="1">
                        <a:extLst>
                          <a:ext uri="{FF2B5EF4-FFF2-40B4-BE49-F238E27FC236}">
                            <a16:creationId xmlns:a16="http://schemas.microsoft.com/office/drawing/2014/main" id="{3147835D-75EC-A62D-9B61-8A2BCD111B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9979B0B5-DCB0-844D-8724-1DB31C8A8C0B}"/>
              </a:ext>
            </a:extLst>
          </p:cNvPr>
          <p:cNvSpPr>
            <a:spLocks noGrp="1"/>
          </p:cNvSpPr>
          <p:nvPr>
            <p:ph type="title" hasCustomPrompt="1"/>
          </p:nvPr>
        </p:nvSpPr>
        <p:spPr>
          <a:xfrm>
            <a:off x="407988" y="260268"/>
            <a:ext cx="9418320" cy="332399"/>
          </a:xfrm>
        </p:spPr>
        <p:txBody>
          <a:bodyPr vert="horz">
            <a:spAutoFit/>
          </a:bodyPr>
          <a:lstStyle>
            <a:lvl1pPr>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28" name="Slide Number Placeholder 5">
            <a:extLst>
              <a:ext uri="{FF2B5EF4-FFF2-40B4-BE49-F238E27FC236}">
                <a16:creationId xmlns:a16="http://schemas.microsoft.com/office/drawing/2014/main" id="{54613BA4-3F37-477A-9F83-816FFC37569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sp>
        <p:nvSpPr>
          <p:cNvPr id="30" name="Footer Placeholder 3">
            <a:extLst>
              <a:ext uri="{FF2B5EF4-FFF2-40B4-BE49-F238E27FC236}">
                <a16:creationId xmlns:a16="http://schemas.microsoft.com/office/drawing/2014/main" id="{3866945B-F4D3-4972-8A47-C02C9E2AC957}"/>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endParaRPr lang="en-US"/>
          </a:p>
        </p:txBody>
      </p:sp>
      <p:pic>
        <p:nvPicPr>
          <p:cNvPr id="2" name="ZRS Logo Horozontal">
            <a:extLst>
              <a:ext uri="{FF2B5EF4-FFF2-40B4-BE49-F238E27FC236}">
                <a16:creationId xmlns:a16="http://schemas.microsoft.com/office/drawing/2014/main" id="{E596DD75-5364-10E9-B4FC-6AC8DEA13895}"/>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360443861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Content_one box">
    <p:bg>
      <p:bgPr>
        <a:solidFill>
          <a:srgbClr val="FFFFFF"/>
        </a:solidFill>
        <a:effectLst/>
      </p:bgPr>
    </p:bg>
    <p:spTree>
      <p:nvGrpSpPr>
        <p:cNvPr id="1" name=""/>
        <p:cNvGrpSpPr/>
        <p:nvPr/>
      </p:nvGrpSpPr>
      <p:grpSpPr>
        <a:xfrm>
          <a:off x="0" y="0"/>
          <a:ext cx="0" cy="0"/>
          <a:chOff x="0" y="0"/>
          <a:chExt cx="0" cy="0"/>
        </a:xfrm>
      </p:grpSpPr>
      <p:sp>
        <p:nvSpPr>
          <p:cNvPr id="15" name="Subtitle 2">
            <a:extLst>
              <a:ext uri="{FF2B5EF4-FFF2-40B4-BE49-F238E27FC236}">
                <a16:creationId xmlns:a16="http://schemas.microsoft.com/office/drawing/2014/main" id="{EBEC7CCE-A39D-4C41-B1AA-B285B26D9952}"/>
              </a:ext>
            </a:extLst>
          </p:cNvPr>
          <p:cNvSpPr>
            <a:spLocks noGrp="1"/>
          </p:cNvSpPr>
          <p:nvPr>
            <p:ph type="subTitle" idx="13" hasCustomPrompt="1"/>
          </p:nvPr>
        </p:nvSpPr>
        <p:spPr>
          <a:xfrm>
            <a:off x="334434" y="718071"/>
            <a:ext cx="8189383" cy="255596"/>
          </a:xfrm>
          <a:prstGeom prst="rect">
            <a:avLst/>
          </a:prstGeom>
        </p:spPr>
        <p:txBody>
          <a:bodyPr anchor="t">
            <a:noAutofit/>
          </a:bodyPr>
          <a:lstStyle>
            <a:lvl1pPr marL="0" indent="0" algn="l">
              <a:buNone/>
              <a:defRPr sz="1600" b="0" i="0">
                <a:solidFill>
                  <a:srgbClr val="2167AE"/>
                </a:solidFill>
                <a:latin typeface="Zurich Sans Light" panose="02000000000000000000" pitchFamily="2" charset="0"/>
                <a:cs typeface="Arial" panose="020B0604020202020204" pitchFamily="34" charset="0"/>
              </a:defRPr>
            </a:lvl1pPr>
            <a:lvl2pPr marL="457127" indent="0" algn="ctr">
              <a:buNone/>
              <a:defRPr>
                <a:solidFill>
                  <a:schemeClr val="tx1">
                    <a:tint val="75000"/>
                  </a:schemeClr>
                </a:solidFill>
              </a:defRPr>
            </a:lvl2pPr>
            <a:lvl3pPr marL="914256" indent="0" algn="ctr">
              <a:buNone/>
              <a:defRPr>
                <a:solidFill>
                  <a:schemeClr val="tx1">
                    <a:tint val="75000"/>
                  </a:schemeClr>
                </a:solidFill>
              </a:defRPr>
            </a:lvl3pPr>
            <a:lvl4pPr marL="1371383" indent="0" algn="ctr">
              <a:buNone/>
              <a:defRPr>
                <a:solidFill>
                  <a:schemeClr val="tx1">
                    <a:tint val="75000"/>
                  </a:schemeClr>
                </a:solidFill>
              </a:defRPr>
            </a:lvl4pPr>
            <a:lvl5pPr marL="1828510" indent="0" algn="ctr">
              <a:buNone/>
              <a:defRPr>
                <a:solidFill>
                  <a:schemeClr val="tx1">
                    <a:tint val="75000"/>
                  </a:schemeClr>
                </a:solidFill>
              </a:defRPr>
            </a:lvl5pPr>
            <a:lvl6pPr marL="2285638" indent="0" algn="ctr">
              <a:buNone/>
              <a:defRPr>
                <a:solidFill>
                  <a:schemeClr val="tx1">
                    <a:tint val="75000"/>
                  </a:schemeClr>
                </a:solidFill>
              </a:defRPr>
            </a:lvl6pPr>
            <a:lvl7pPr marL="2742766" indent="0" algn="ctr">
              <a:buNone/>
              <a:defRPr>
                <a:solidFill>
                  <a:schemeClr val="tx1">
                    <a:tint val="75000"/>
                  </a:schemeClr>
                </a:solidFill>
              </a:defRPr>
            </a:lvl7pPr>
            <a:lvl8pPr marL="3199893" indent="0" algn="ctr">
              <a:buNone/>
              <a:defRPr>
                <a:solidFill>
                  <a:schemeClr val="tx1">
                    <a:tint val="75000"/>
                  </a:schemeClr>
                </a:solidFill>
              </a:defRPr>
            </a:lvl8pPr>
            <a:lvl9pPr marL="3657021" indent="0" algn="ctr">
              <a:buNone/>
              <a:defRPr>
                <a:solidFill>
                  <a:schemeClr val="tx1">
                    <a:tint val="75000"/>
                  </a:schemeClr>
                </a:solidFill>
              </a:defRPr>
            </a:lvl9pPr>
          </a:lstStyle>
          <a:p>
            <a:r>
              <a:rPr lang="en-GB" noProof="0"/>
              <a:t>Subtitle goes here</a:t>
            </a:r>
          </a:p>
        </p:txBody>
      </p:sp>
      <p:sp>
        <p:nvSpPr>
          <p:cNvPr id="5" name="Title 4">
            <a:extLst>
              <a:ext uri="{FF2B5EF4-FFF2-40B4-BE49-F238E27FC236}">
                <a16:creationId xmlns:a16="http://schemas.microsoft.com/office/drawing/2014/main" id="{47736004-DEE1-EA44-A367-43336F87EDA5}"/>
              </a:ext>
            </a:extLst>
          </p:cNvPr>
          <p:cNvSpPr>
            <a:spLocks noGrp="1"/>
          </p:cNvSpPr>
          <p:nvPr>
            <p:ph type="title" hasCustomPrompt="1"/>
          </p:nvPr>
        </p:nvSpPr>
        <p:spPr>
          <a:xfrm>
            <a:off x="334434" y="325967"/>
            <a:ext cx="8189383" cy="392104"/>
          </a:xfrm>
          <a:prstGeom prst="rect">
            <a:avLst/>
          </a:prstGeom>
        </p:spPr>
        <p:txBody>
          <a:bodyPr anchor="t">
            <a:normAutofit/>
          </a:bodyPr>
          <a:lstStyle>
            <a:lvl1pPr>
              <a:defRPr b="0" i="0">
                <a:solidFill>
                  <a:srgbClr val="2167AE"/>
                </a:solidFill>
              </a:defRPr>
            </a:lvl1pPr>
          </a:lstStyle>
          <a:p>
            <a:r>
              <a:rPr lang="en-GB" noProof="0"/>
              <a:t>Add title here</a:t>
            </a:r>
          </a:p>
        </p:txBody>
      </p:sp>
      <p:sp>
        <p:nvSpPr>
          <p:cNvPr id="2" name="Footer Placeholder 1">
            <a:extLst>
              <a:ext uri="{FF2B5EF4-FFF2-40B4-BE49-F238E27FC236}">
                <a16:creationId xmlns:a16="http://schemas.microsoft.com/office/drawing/2014/main" id="{910EC3A2-833D-B34A-8519-327DC26231F0}"/>
              </a:ext>
            </a:extLst>
          </p:cNvPr>
          <p:cNvSpPr>
            <a:spLocks noGrp="1"/>
          </p:cNvSpPr>
          <p:nvPr>
            <p:ph type="ftr" sz="quarter" idx="22"/>
          </p:nvPr>
        </p:nvSpPr>
        <p:spPr/>
        <p:txBody>
          <a:bodyPr/>
          <a:lstStyle>
            <a:lvl1pPr algn="r">
              <a:defRPr b="0" i="0">
                <a:solidFill>
                  <a:srgbClr val="2167AE"/>
                </a:solidFill>
              </a:defRPr>
            </a:lvl1pPr>
          </a:lstStyle>
          <a:p>
            <a:endParaRPr lang="en-GB"/>
          </a:p>
        </p:txBody>
      </p:sp>
      <p:sp>
        <p:nvSpPr>
          <p:cNvPr id="6" name="Slide Number Placeholder 5">
            <a:extLst>
              <a:ext uri="{FF2B5EF4-FFF2-40B4-BE49-F238E27FC236}">
                <a16:creationId xmlns:a16="http://schemas.microsoft.com/office/drawing/2014/main" id="{728A3554-0C44-3B47-BD3B-F8AF6A7272B3}"/>
              </a:ext>
            </a:extLst>
          </p:cNvPr>
          <p:cNvSpPr>
            <a:spLocks noGrp="1"/>
          </p:cNvSpPr>
          <p:nvPr>
            <p:ph type="sldNum" sz="quarter" idx="23"/>
          </p:nvPr>
        </p:nvSpPr>
        <p:spPr/>
        <p:txBody>
          <a:bodyPr/>
          <a:lstStyle>
            <a:lvl1pPr>
              <a:defRPr b="0" i="0">
                <a:solidFill>
                  <a:srgbClr val="2167AE"/>
                </a:solidFill>
              </a:defRPr>
            </a:lvl1pPr>
          </a:lstStyle>
          <a:p>
            <a:fld id="{D691331D-A62F-41F8-BAEC-0A7727B7C525}" type="slidenum">
              <a:rPr lang="en-GB" smtClean="0"/>
              <a:pPr/>
              <a:t>‹nr.›</a:t>
            </a:fld>
            <a:endParaRPr lang="en-GB"/>
          </a:p>
        </p:txBody>
      </p:sp>
    </p:spTree>
    <p:extLst>
      <p:ext uri="{BB962C8B-B14F-4D97-AF65-F5344CB8AC3E}">
        <p14:creationId xmlns:p14="http://schemas.microsoft.com/office/powerpoint/2010/main" val="3015465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text box, Safe Space image_2">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221CE5F-9685-00B3-8DF2-C9CAA98A55F4}"/>
              </a:ext>
            </a:extLst>
          </p:cNvPr>
          <p:cNvGraphicFramePr>
            <a:graphicFrameLocks noChangeAspect="1"/>
          </p:cNvGraphicFramePr>
          <p:nvPr userDrawn="1">
            <p:custDataLst>
              <p:tags r:id="rId1"/>
            </p:custDataLst>
            <p:extLst>
              <p:ext uri="{D42A27DB-BD31-4B8C-83A1-F6EECF244321}">
                <p14:modId xmlns:p14="http://schemas.microsoft.com/office/powerpoint/2010/main" val="4213254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5" name="think-cell data - do not delete" hidden="1">
                        <a:extLst>
                          <a:ext uri="{FF2B5EF4-FFF2-40B4-BE49-F238E27FC236}">
                            <a16:creationId xmlns:a16="http://schemas.microsoft.com/office/drawing/2014/main" id="{8221CE5F-9685-00B3-8DF2-C9CAA98A55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250824" y="1206178"/>
            <a:ext cx="5573967" cy="5040145"/>
          </a:xfrm>
        </p:spPr>
        <p:txBody>
          <a:bodyPr lIns="72000" tIns="72000" rIns="72000" bIns="72000"/>
          <a:lstStyle>
            <a:lvl1pPr>
              <a:defRPr sz="1800">
                <a:latin typeface="Zurich Sans Light" panose="02000000000000000000" pitchFamily="2" charset="0"/>
                <a:cs typeface="Arial" panose="020B0604020202020204" pitchFamily="34" charset="0"/>
                <a:sym typeface="Zurich Sans Light" panose="02000000000000000000" pitchFamily="2" charset="0"/>
              </a:defRPr>
            </a:lvl1pPr>
            <a:lvl2pPr>
              <a:defRPr sz="1600">
                <a:latin typeface="Zurich Sans Light" panose="02000000000000000000" pitchFamily="2" charset="0"/>
                <a:cs typeface="Arial" panose="020B0604020202020204" pitchFamily="34" charset="0"/>
                <a:sym typeface="Zurich Sans Light" panose="02000000000000000000" pitchFamily="2" charset="0"/>
              </a:defRPr>
            </a:lvl2pPr>
            <a:lvl3pPr>
              <a:defRPr sz="1400">
                <a:latin typeface="Zurich Sans Light" panose="02000000000000000000" pitchFamily="2" charset="0"/>
                <a:cs typeface="Arial" panose="020B0604020202020204" pitchFamily="34" charset="0"/>
                <a:sym typeface="Zurich Sans Light" panose="02000000000000000000" pitchFamily="2" charset="0"/>
              </a:defRPr>
            </a:lvl3pPr>
            <a:lvl4pPr>
              <a:defRPr sz="1200">
                <a:latin typeface="Zurich Sans Light" panose="02000000000000000000" pitchFamily="2" charset="0"/>
                <a:cs typeface="Arial" panose="020B0604020202020204" pitchFamily="34" charset="0"/>
                <a:sym typeface="Zurich Sans Light" panose="02000000000000000000" pitchFamily="2" charset="0"/>
              </a:defRPr>
            </a:lvl4pPr>
            <a:lvl5pPr>
              <a:defRPr sz="1200">
                <a:latin typeface="Zurich Sans Light" panose="02000000000000000000" pitchFamily="2" charset="0"/>
                <a:cs typeface="Arial" panose="020B0604020202020204" pitchFamily="34" charset="0"/>
                <a:sym typeface="Zurich Sans Light"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0" name="Title 1">
            <a:extLst>
              <a:ext uri="{FF2B5EF4-FFF2-40B4-BE49-F238E27FC236}">
                <a16:creationId xmlns:a16="http://schemas.microsoft.com/office/drawing/2014/main" id="{C29EECA6-DA60-0545-94DA-DA2F8B81238E}"/>
              </a:ext>
            </a:extLst>
          </p:cNvPr>
          <p:cNvSpPr>
            <a:spLocks noGrp="1"/>
          </p:cNvSpPr>
          <p:nvPr>
            <p:ph type="title" hasCustomPrompt="1"/>
          </p:nvPr>
        </p:nvSpPr>
        <p:spPr>
          <a:xfrm>
            <a:off x="252659" y="260268"/>
            <a:ext cx="9586415" cy="332399"/>
          </a:xfrm>
        </p:spPr>
        <p:txBody>
          <a:bodyPr vert="horz">
            <a:spAutoFit/>
          </a:bodyPr>
          <a:lstStyle>
            <a:lvl1pPr>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Mastertitelformat bearbeiten</a:t>
            </a:r>
            <a:endParaRPr lang="en-US"/>
          </a:p>
        </p:txBody>
      </p:sp>
      <p:sp>
        <p:nvSpPr>
          <p:cNvPr id="21" name="Subtitle 2">
            <a:extLst>
              <a:ext uri="{FF2B5EF4-FFF2-40B4-BE49-F238E27FC236}">
                <a16:creationId xmlns:a16="http://schemas.microsoft.com/office/drawing/2014/main" id="{78EE7002-C39A-5A48-B25E-20539A4FFD23}"/>
              </a:ext>
            </a:extLst>
          </p:cNvPr>
          <p:cNvSpPr>
            <a:spLocks noGrp="1"/>
          </p:cNvSpPr>
          <p:nvPr>
            <p:ph type="subTitle" idx="14"/>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Zurich Sans Light" panose="02000000000000000000" pitchFamily="2" charset="0"/>
                <a:cs typeface="Arial" panose="020B0604020202020204" pitchFamily="34" charset="0"/>
                <a:sym typeface="Zurich Sans Light" panose="02000000000000000000" pitchFamily="2"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Master-Untertitelformat bearbeiten</a:t>
            </a:r>
            <a:endParaRPr lang="en-GB" noProof="0"/>
          </a:p>
        </p:txBody>
      </p:sp>
      <p:sp>
        <p:nvSpPr>
          <p:cNvPr id="36" name="Picture Placeholder 22">
            <a:extLst>
              <a:ext uri="{FF2B5EF4-FFF2-40B4-BE49-F238E27FC236}">
                <a16:creationId xmlns:a16="http://schemas.microsoft.com/office/drawing/2014/main" id="{8A849791-6852-4C64-AE72-FB234CCCE27F}"/>
              </a:ext>
            </a:extLst>
          </p:cNvPr>
          <p:cNvSpPr>
            <a:spLocks noGrp="1" noChangeAspect="1"/>
          </p:cNvSpPr>
          <p:nvPr>
            <p:ph type="pic" sz="quarter" idx="18"/>
          </p:nvPr>
        </p:nvSpPr>
        <p:spPr>
          <a:xfrm>
            <a:off x="6813533" y="1274619"/>
            <a:ext cx="5040000" cy="5040000"/>
          </a:xfrm>
          <a:custGeom>
            <a:avLst/>
            <a:gdLst>
              <a:gd name="connsiteX0" fmla="*/ 991609 w 1983218"/>
              <a:gd name="connsiteY0" fmla="*/ 0 h 1983218"/>
              <a:gd name="connsiteX1" fmla="*/ 1983218 w 1983218"/>
              <a:gd name="connsiteY1" fmla="*/ 991609 h 1983218"/>
              <a:gd name="connsiteX2" fmla="*/ 991679 w 1983218"/>
              <a:gd name="connsiteY2" fmla="*/ 1983218 h 1983218"/>
              <a:gd name="connsiteX3" fmla="*/ 236970 w 1983218"/>
              <a:gd name="connsiteY3" fmla="*/ 1634445 h 1983218"/>
              <a:gd name="connsiteX4" fmla="*/ 303087 w 1983218"/>
              <a:gd name="connsiteY4" fmla="*/ 1615274 h 1983218"/>
              <a:gd name="connsiteX5" fmla="*/ 372492 w 1983218"/>
              <a:gd name="connsiteY5" fmla="*/ 1609677 h 1983218"/>
              <a:gd name="connsiteX6" fmla="*/ 515919 w 1983218"/>
              <a:gd name="connsiteY6" fmla="*/ 1624440 h 1983218"/>
              <a:gd name="connsiteX7" fmla="*/ 637938 w 1983218"/>
              <a:gd name="connsiteY7" fmla="*/ 1637593 h 1983218"/>
              <a:gd name="connsiteX8" fmla="*/ 643955 w 1983218"/>
              <a:gd name="connsiteY8" fmla="*/ 1637523 h 1983218"/>
              <a:gd name="connsiteX9" fmla="*/ 747083 w 1983218"/>
              <a:gd name="connsiteY9" fmla="*/ 1603520 h 1983218"/>
              <a:gd name="connsiteX10" fmla="*/ 816768 w 1983218"/>
              <a:gd name="connsiteY10" fmla="*/ 1511167 h 1983218"/>
              <a:gd name="connsiteX11" fmla="*/ 835448 w 1983218"/>
              <a:gd name="connsiteY11" fmla="*/ 1457994 h 1983218"/>
              <a:gd name="connsiteX12" fmla="*/ 816558 w 1983218"/>
              <a:gd name="connsiteY12" fmla="*/ 1453166 h 1983218"/>
              <a:gd name="connsiteX13" fmla="*/ 810261 w 1983218"/>
              <a:gd name="connsiteY13" fmla="*/ 1465830 h 1983218"/>
              <a:gd name="connsiteX14" fmla="*/ 747083 w 1983218"/>
              <a:gd name="connsiteY14" fmla="*/ 1537893 h 1983218"/>
              <a:gd name="connsiteX15" fmla="*/ 701466 w 1983218"/>
              <a:gd name="connsiteY15" fmla="*/ 1559862 h 1983218"/>
              <a:gd name="connsiteX16" fmla="*/ 627303 w 1983218"/>
              <a:gd name="connsiteY16" fmla="*/ 1568748 h 1983218"/>
              <a:gd name="connsiteX17" fmla="*/ 571192 w 1983218"/>
              <a:gd name="connsiteY17" fmla="*/ 1566789 h 1983218"/>
              <a:gd name="connsiteX18" fmla="*/ 508573 w 1983218"/>
              <a:gd name="connsiteY18" fmla="*/ 1562941 h 1983218"/>
              <a:gd name="connsiteX19" fmla="*/ 443576 w 1983218"/>
              <a:gd name="connsiteY19" fmla="*/ 1560352 h 1983218"/>
              <a:gd name="connsiteX20" fmla="*/ 392922 w 1983218"/>
              <a:gd name="connsiteY20" fmla="*/ 1562871 h 1983218"/>
              <a:gd name="connsiteX21" fmla="*/ 745334 w 1983218"/>
              <a:gd name="connsiteY21" fmla="*/ 1091659 h 1983218"/>
              <a:gd name="connsiteX22" fmla="*/ 301828 w 1983218"/>
              <a:gd name="connsiteY22" fmla="*/ 1091659 h 1983218"/>
              <a:gd name="connsiteX23" fmla="*/ 267125 w 1983218"/>
              <a:gd name="connsiteY23" fmla="*/ 1225291 h 1983218"/>
              <a:gd name="connsiteX24" fmla="*/ 287835 w 1983218"/>
              <a:gd name="connsiteY24" fmla="*/ 1229979 h 1983218"/>
              <a:gd name="connsiteX25" fmla="*/ 293572 w 1983218"/>
              <a:gd name="connsiteY25" fmla="*/ 1218924 h 1983218"/>
              <a:gd name="connsiteX26" fmla="*/ 336950 w 1983218"/>
              <a:gd name="connsiteY26" fmla="*/ 1167361 h 1983218"/>
              <a:gd name="connsiteX27" fmla="*/ 380328 w 1983218"/>
              <a:gd name="connsiteY27" fmla="*/ 1149659 h 1983218"/>
              <a:gd name="connsiteX28" fmla="*/ 485975 w 1983218"/>
              <a:gd name="connsiteY28" fmla="*/ 1141474 h 1983218"/>
              <a:gd name="connsiteX29" fmla="*/ 523755 w 1983218"/>
              <a:gd name="connsiteY29" fmla="*/ 1141544 h 1983218"/>
              <a:gd name="connsiteX30" fmla="*/ 561886 w 1983218"/>
              <a:gd name="connsiteY30" fmla="*/ 1141474 h 1983218"/>
              <a:gd name="connsiteX31" fmla="*/ 210943 w 1983218"/>
              <a:gd name="connsiteY31" fmla="*/ 1602681 h 1983218"/>
              <a:gd name="connsiteX32" fmla="*/ 0 w 1983218"/>
              <a:gd name="connsiteY32" fmla="*/ 991609 h 1983218"/>
              <a:gd name="connsiteX33" fmla="*/ 991609 w 1983218"/>
              <a:gd name="connsiteY33" fmla="*/ 0 h 198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83218" h="1983218">
                <a:moveTo>
                  <a:pt x="991609" y="0"/>
                </a:moveTo>
                <a:cubicBezTo>
                  <a:pt x="1539293" y="0"/>
                  <a:pt x="1983218" y="443996"/>
                  <a:pt x="1983218" y="991609"/>
                </a:cubicBezTo>
                <a:cubicBezTo>
                  <a:pt x="1983218" y="1539293"/>
                  <a:pt x="1539293" y="1983218"/>
                  <a:pt x="991679" y="1983218"/>
                </a:cubicBezTo>
                <a:cubicBezTo>
                  <a:pt x="689362" y="1983218"/>
                  <a:pt x="418878" y="1847767"/>
                  <a:pt x="236970" y="1634445"/>
                </a:cubicBezTo>
                <a:cubicBezTo>
                  <a:pt x="261668" y="1623390"/>
                  <a:pt x="274122" y="1619822"/>
                  <a:pt x="303087" y="1615274"/>
                </a:cubicBezTo>
                <a:cubicBezTo>
                  <a:pt x="326245" y="1611496"/>
                  <a:pt x="348494" y="1609677"/>
                  <a:pt x="372492" y="1609677"/>
                </a:cubicBezTo>
                <a:cubicBezTo>
                  <a:pt x="408314" y="1609677"/>
                  <a:pt x="444625" y="1613455"/>
                  <a:pt x="515919" y="1624440"/>
                </a:cubicBezTo>
                <a:cubicBezTo>
                  <a:pt x="586024" y="1635144"/>
                  <a:pt x="608693" y="1637593"/>
                  <a:pt x="637938" y="1637593"/>
                </a:cubicBezTo>
                <a:lnTo>
                  <a:pt x="643955" y="1637523"/>
                </a:lnTo>
                <a:cubicBezTo>
                  <a:pt x="683485" y="1636823"/>
                  <a:pt x="716858" y="1625909"/>
                  <a:pt x="747083" y="1603520"/>
                </a:cubicBezTo>
                <a:cubicBezTo>
                  <a:pt x="776468" y="1581831"/>
                  <a:pt x="797807" y="1553425"/>
                  <a:pt x="816768" y="1511167"/>
                </a:cubicBezTo>
                <a:cubicBezTo>
                  <a:pt x="826073" y="1490317"/>
                  <a:pt x="829291" y="1481362"/>
                  <a:pt x="835448" y="1457994"/>
                </a:cubicBezTo>
                <a:lnTo>
                  <a:pt x="816558" y="1453166"/>
                </a:lnTo>
                <a:cubicBezTo>
                  <a:pt x="813969" y="1458763"/>
                  <a:pt x="811660" y="1463031"/>
                  <a:pt x="810261" y="1465830"/>
                </a:cubicBezTo>
                <a:cubicBezTo>
                  <a:pt x="795918" y="1493326"/>
                  <a:pt x="771850" y="1520752"/>
                  <a:pt x="747083" y="1537893"/>
                </a:cubicBezTo>
                <a:cubicBezTo>
                  <a:pt x="732950" y="1547478"/>
                  <a:pt x="717628" y="1554895"/>
                  <a:pt x="701466" y="1559862"/>
                </a:cubicBezTo>
                <a:cubicBezTo>
                  <a:pt x="680546" y="1566229"/>
                  <a:pt x="659557" y="1568748"/>
                  <a:pt x="627303" y="1568748"/>
                </a:cubicBezTo>
                <a:cubicBezTo>
                  <a:pt x="612821" y="1568748"/>
                  <a:pt x="593720" y="1568048"/>
                  <a:pt x="571192" y="1566789"/>
                </a:cubicBezTo>
                <a:lnTo>
                  <a:pt x="508573" y="1562941"/>
                </a:lnTo>
                <a:cubicBezTo>
                  <a:pt x="479608" y="1561262"/>
                  <a:pt x="457849" y="1560352"/>
                  <a:pt x="443576" y="1560352"/>
                </a:cubicBezTo>
                <a:cubicBezTo>
                  <a:pt x="425035" y="1560352"/>
                  <a:pt x="415800" y="1560842"/>
                  <a:pt x="392922" y="1562871"/>
                </a:cubicBezTo>
                <a:lnTo>
                  <a:pt x="745334" y="1091659"/>
                </a:lnTo>
                <a:lnTo>
                  <a:pt x="301828" y="1091659"/>
                </a:lnTo>
                <a:lnTo>
                  <a:pt x="267125" y="1225291"/>
                </a:lnTo>
                <a:lnTo>
                  <a:pt x="287835" y="1229979"/>
                </a:lnTo>
                <a:cubicBezTo>
                  <a:pt x="290283" y="1224871"/>
                  <a:pt x="292242" y="1221303"/>
                  <a:pt x="293572" y="1218924"/>
                </a:cubicBezTo>
                <a:cubicBezTo>
                  <a:pt x="305116" y="1198285"/>
                  <a:pt x="322817" y="1177225"/>
                  <a:pt x="336950" y="1167361"/>
                </a:cubicBezTo>
                <a:cubicBezTo>
                  <a:pt x="348984" y="1158895"/>
                  <a:pt x="363746" y="1152948"/>
                  <a:pt x="380328" y="1149659"/>
                </a:cubicBezTo>
                <a:cubicBezTo>
                  <a:pt x="407684" y="1144342"/>
                  <a:pt x="445605" y="1141474"/>
                  <a:pt x="485975" y="1141474"/>
                </a:cubicBezTo>
                <a:lnTo>
                  <a:pt x="523755" y="1141544"/>
                </a:lnTo>
                <a:lnTo>
                  <a:pt x="561886" y="1141474"/>
                </a:lnTo>
                <a:lnTo>
                  <a:pt x="210943" y="1602681"/>
                </a:lnTo>
                <a:cubicBezTo>
                  <a:pt x="78920" y="1434276"/>
                  <a:pt x="0" y="1222213"/>
                  <a:pt x="0" y="991609"/>
                </a:cubicBezTo>
                <a:cubicBezTo>
                  <a:pt x="0" y="443996"/>
                  <a:pt x="443996" y="0"/>
                  <a:pt x="991609" y="0"/>
                </a:cubicBezTo>
                <a:close/>
              </a:path>
            </a:pathLst>
          </a:custGeom>
        </p:spPr>
        <p:txBody>
          <a:bodyPr wrap="square">
            <a:noAutofit/>
          </a:bodyPr>
          <a:lstStyle>
            <a:lvl1pPr marL="0" indent="0" algn="ctr">
              <a:buNone/>
              <a:defRPr>
                <a:latin typeface="Zurich Sans Light" panose="02000000000000000000" pitchFamily="2" charset="0"/>
                <a:cs typeface="Arial" panose="020B0604020202020204" pitchFamily="34" charset="0"/>
                <a:sym typeface="Zurich Sans Light" panose="02000000000000000000" pitchFamily="2" charset="0"/>
              </a:defRPr>
            </a:lvl1pPr>
          </a:lstStyle>
          <a:p>
            <a:r>
              <a:rPr lang="de-DE"/>
              <a:t>Bild durch Klicken auf Symbol hinzufügen</a:t>
            </a:r>
            <a:endParaRPr lang="en-US"/>
          </a:p>
        </p:txBody>
      </p:sp>
      <p:sp>
        <p:nvSpPr>
          <p:cNvPr id="32" name="Slide Number Placeholder 5">
            <a:extLst>
              <a:ext uri="{FF2B5EF4-FFF2-40B4-BE49-F238E27FC236}">
                <a16:creationId xmlns:a16="http://schemas.microsoft.com/office/drawing/2014/main" id="{93FBEF06-3376-4805-93CA-9F93395D9603}"/>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84B6CFBF-971A-45D4-9A48-C535D13B975C}"/>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endParaRPr lang="en-US"/>
          </a:p>
        </p:txBody>
      </p:sp>
      <p:pic>
        <p:nvPicPr>
          <p:cNvPr id="2" name="ZRS Logo Horozontal">
            <a:extLst>
              <a:ext uri="{FF2B5EF4-FFF2-40B4-BE49-F238E27FC236}">
                <a16:creationId xmlns:a16="http://schemas.microsoft.com/office/drawing/2014/main" id="{C5080199-38AB-B6FB-333D-B31AD9699720}"/>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8640717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Title Slide_Dark">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65426" y="1103215"/>
            <a:ext cx="6722148" cy="2242079"/>
          </a:xfrm>
        </p:spPr>
        <p:txBody>
          <a:bodyPr anchor="b">
            <a:normAutofit/>
          </a:bodyPr>
          <a:lstStyle>
            <a:lvl1pPr algn="l">
              <a:defRPr sz="3600">
                <a:solidFill>
                  <a:schemeClr val="accent6"/>
                </a:solidFill>
                <a:latin typeface="+mj-lt"/>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65426" y="3437369"/>
            <a:ext cx="5761567" cy="1283999"/>
          </a:xfrm>
        </p:spPr>
        <p:txBody>
          <a:bodyPr>
            <a:normAutofit/>
          </a:bodyPr>
          <a:lstStyle>
            <a:lvl1pPr marL="0" indent="0" algn="l">
              <a:buNone/>
              <a:defRPr sz="2000">
                <a:solidFill>
                  <a:schemeClr val="accent6"/>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Oval 9">
            <a:extLst>
              <a:ext uri="{FF2B5EF4-FFF2-40B4-BE49-F238E27FC236}">
                <a16:creationId xmlns:a16="http://schemas.microsoft.com/office/drawing/2014/main" id="{DCD6D046-9E8A-417B-B758-A6E20A0FE31C}"/>
              </a:ext>
            </a:extLst>
          </p:cNvPr>
          <p:cNvSpPr/>
          <p:nvPr userDrawn="1"/>
        </p:nvSpPr>
        <p:spPr bwMode="auto">
          <a:xfrm>
            <a:off x="6787133" y="5399389"/>
            <a:ext cx="547941" cy="547483"/>
          </a:xfrm>
          <a:prstGeom prst="ellipse">
            <a:avLst/>
          </a:pr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mn-lt"/>
              <a:cs typeface="Arial" panose="020B0604020202020204" pitchFamily="34" charset="0"/>
            </a:endParaRPr>
          </a:p>
        </p:txBody>
      </p:sp>
      <p:sp>
        <p:nvSpPr>
          <p:cNvPr id="11" name="Freeform 8">
            <a:extLst>
              <a:ext uri="{FF2B5EF4-FFF2-40B4-BE49-F238E27FC236}">
                <a16:creationId xmlns:a16="http://schemas.microsoft.com/office/drawing/2014/main" id="{977530C5-2DE6-44CA-8A8F-019E4D7C204F}"/>
              </a:ext>
            </a:extLst>
          </p:cNvPr>
          <p:cNvSpPr/>
          <p:nvPr userDrawn="1"/>
        </p:nvSpPr>
        <p:spPr bwMode="auto">
          <a:xfrm>
            <a:off x="5929176" y="5949896"/>
            <a:ext cx="1802643" cy="908104"/>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mn-lt"/>
              <a:cs typeface="Arial" panose="020B0604020202020204" pitchFamily="34" charset="0"/>
            </a:endParaRPr>
          </a:p>
        </p:txBody>
      </p:sp>
      <p:sp>
        <p:nvSpPr>
          <p:cNvPr id="12" name="Freeform 10">
            <a:extLst>
              <a:ext uri="{FF2B5EF4-FFF2-40B4-BE49-F238E27FC236}">
                <a16:creationId xmlns:a16="http://schemas.microsoft.com/office/drawing/2014/main" id="{CBDF7E11-8F3D-4306-A7C9-3CBBFA98620F}"/>
              </a:ext>
            </a:extLst>
          </p:cNvPr>
          <p:cNvSpPr/>
          <p:nvPr userDrawn="1"/>
        </p:nvSpPr>
        <p:spPr bwMode="auto">
          <a:xfrm rot="7933215">
            <a:off x="6018217" y="4998607"/>
            <a:ext cx="1201179" cy="604951"/>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56"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mn-lt"/>
              <a:cs typeface="Arial" panose="020B0604020202020204" pitchFamily="34" charset="0"/>
            </a:endParaRPr>
          </a:p>
        </p:txBody>
      </p:sp>
      <p:sp>
        <p:nvSpPr>
          <p:cNvPr id="22" name="Picture Placeholder 2">
            <a:extLst>
              <a:ext uri="{FF2B5EF4-FFF2-40B4-BE49-F238E27FC236}">
                <a16:creationId xmlns:a16="http://schemas.microsoft.com/office/drawing/2014/main" id="{8C38856E-DF0D-49BD-A0AF-37F515F1D5FF}"/>
              </a:ext>
            </a:extLst>
          </p:cNvPr>
          <p:cNvSpPr>
            <a:spLocks noGrp="1"/>
          </p:cNvSpPr>
          <p:nvPr>
            <p:ph type="pic" sz="quarter" idx="13" hasCustomPrompt="1"/>
          </p:nvPr>
        </p:nvSpPr>
        <p:spPr>
          <a:xfrm>
            <a:off x="7145996" y="1810817"/>
            <a:ext cx="5040000" cy="5040000"/>
          </a:xfrm>
          <a:prstGeom prst="ellipse">
            <a:avLst/>
          </a:prstGeom>
        </p:spPr>
        <p:txBody>
          <a:bodyPr/>
          <a:lstStyle>
            <a:lvl1pPr algn="ctr">
              <a:buNone/>
              <a:defRPr b="0" i="0">
                <a:solidFill>
                  <a:schemeClr val="accent6"/>
                </a:solidFill>
                <a:latin typeface="+mn-lt"/>
                <a:cs typeface="Arial" panose="020B0604020202020204" pitchFamily="34" charset="0"/>
              </a:defRPr>
            </a:lvl1pPr>
          </a:lstStyle>
          <a:p>
            <a:r>
              <a:rPr lang="en-US" noProof="0"/>
              <a:t>Add a picture here</a:t>
            </a:r>
          </a:p>
        </p:txBody>
      </p:sp>
      <p:sp>
        <p:nvSpPr>
          <p:cNvPr id="20" name="Date Name Organization">
            <a:extLst>
              <a:ext uri="{FF2B5EF4-FFF2-40B4-BE49-F238E27FC236}">
                <a16:creationId xmlns:a16="http://schemas.microsoft.com/office/drawing/2014/main" id="{B679C166-F3F4-4469-BDA4-0521529C846E}"/>
              </a:ext>
            </a:extLst>
          </p:cNvPr>
          <p:cNvSpPr>
            <a:spLocks noGrp="1"/>
          </p:cNvSpPr>
          <p:nvPr>
            <p:ph type="body" sz="quarter" idx="14" hasCustomPrompt="1"/>
          </p:nvPr>
        </p:nvSpPr>
        <p:spPr>
          <a:xfrm>
            <a:off x="265425" y="4913252"/>
            <a:ext cx="5251984" cy="1056000"/>
          </a:xfrm>
        </p:spPr>
        <p:txBody>
          <a:bodyPr anchor="b"/>
          <a:lstStyle>
            <a:lvl1pPr marL="0" indent="0">
              <a:spcAft>
                <a:spcPts val="133"/>
              </a:spcAft>
              <a:buNone/>
              <a:defRPr sz="1200">
                <a:solidFill>
                  <a:schemeClr val="accent6"/>
                </a:solidFill>
                <a:latin typeface="+mn-lt"/>
                <a:cs typeface="Arial" panose="020B0604020202020204" pitchFamily="34" charset="0"/>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Date]</a:t>
            </a:r>
            <a:br>
              <a:rPr lang="en-US"/>
            </a:br>
            <a:r>
              <a:rPr lang="en-US"/>
              <a:t>[Name of moderator]</a:t>
            </a:r>
            <a:br>
              <a:rPr lang="en-US"/>
            </a:br>
            <a:r>
              <a:rPr lang="en-US"/>
              <a:t>[Organizational Unit]</a:t>
            </a:r>
          </a:p>
        </p:txBody>
      </p:sp>
      <p:sp>
        <p:nvSpPr>
          <p:cNvPr id="23" name="TextBox 22">
            <a:extLst>
              <a:ext uri="{FF2B5EF4-FFF2-40B4-BE49-F238E27FC236}">
                <a16:creationId xmlns:a16="http://schemas.microsoft.com/office/drawing/2014/main" id="{F693D7AA-4B02-44F3-849A-D51D7F7A9CD0}"/>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mn-lt"/>
                <a:cs typeface="Arial" panose="020B0604020202020204" pitchFamily="34" charset="0"/>
              </a:rPr>
              <a:t>© Zurich</a:t>
            </a:r>
          </a:p>
        </p:txBody>
      </p:sp>
      <p:pic>
        <p:nvPicPr>
          <p:cNvPr id="14" name="ZRS Logo Horozontal">
            <a:extLst>
              <a:ext uri="{FF2B5EF4-FFF2-40B4-BE49-F238E27FC236}">
                <a16:creationId xmlns:a16="http://schemas.microsoft.com/office/drawing/2014/main" id="{E169DFED-E3C1-418D-9AA4-29D44878FE8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016" y="325479"/>
            <a:ext cx="1501200" cy="498456"/>
          </a:xfrm>
          <a:prstGeom prst="rect">
            <a:avLst/>
          </a:prstGeom>
        </p:spPr>
      </p:pic>
    </p:spTree>
    <p:extLst>
      <p:ext uri="{BB962C8B-B14F-4D97-AF65-F5344CB8AC3E}">
        <p14:creationId xmlns:p14="http://schemas.microsoft.com/office/powerpoint/2010/main" val="23672000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59451" y="1205994"/>
            <a:ext cx="11669024" cy="5040145"/>
          </a:xfrm>
        </p:spPr>
        <p:txBody>
          <a:bodyPr/>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9FBF581-E754-574B-A309-6F2FB382E481}"/>
              </a:ext>
            </a:extLst>
          </p:cNvPr>
          <p:cNvSpPr>
            <a:spLocks noGrp="1"/>
          </p:cNvSpPr>
          <p:nvPr>
            <p:ph type="title"/>
          </p:nvPr>
        </p:nvSpPr>
        <p:spPr>
          <a:xfrm>
            <a:off x="252659" y="260268"/>
            <a:ext cx="9586415" cy="332399"/>
          </a:xfrm>
        </p:spPr>
        <p:txBody>
          <a:bodyPr>
            <a:spAutoFit/>
          </a:bodyPr>
          <a:lstStyle>
            <a:lvl1pPr>
              <a:defRPr>
                <a:latin typeface="+mj-lt"/>
                <a:cs typeface="Arial" panose="020B0604020202020204" pitchFamily="34" charset="0"/>
              </a:defRPr>
            </a:lvl1pPr>
          </a:lstStyle>
          <a:p>
            <a:r>
              <a:rPr lang="en-US"/>
              <a:t>Click to edit Master title style</a:t>
            </a:r>
          </a:p>
        </p:txBody>
      </p:sp>
      <p:sp>
        <p:nvSpPr>
          <p:cNvPr id="22" name="Subtitle 2">
            <a:extLst>
              <a:ext uri="{FF2B5EF4-FFF2-40B4-BE49-F238E27FC236}">
                <a16:creationId xmlns:a16="http://schemas.microsoft.com/office/drawing/2014/main" id="{60580A64-4AC1-D547-A7C8-FF2A5434D2C5}"/>
              </a:ext>
            </a:extLst>
          </p:cNvPr>
          <p:cNvSpPr>
            <a:spLocks noGrp="1"/>
          </p:cNvSpPr>
          <p:nvPr>
            <p:ph type="subTitle" idx="13"/>
          </p:nvPr>
        </p:nvSpPr>
        <p:spPr>
          <a:xfrm>
            <a:off x="252658" y="610597"/>
            <a:ext cx="95864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US"/>
              <a:t>Click to edit Master subtitle style</a:t>
            </a:r>
            <a:endParaRPr lang="en-GB" noProof="0"/>
          </a:p>
        </p:txBody>
      </p:sp>
      <p:sp>
        <p:nvSpPr>
          <p:cNvPr id="18" name="Slide Number Placeholder 5">
            <a:extLst>
              <a:ext uri="{FF2B5EF4-FFF2-40B4-BE49-F238E27FC236}">
                <a16:creationId xmlns:a16="http://schemas.microsoft.com/office/drawing/2014/main" id="{9DEE29F2-F280-4686-A9A8-3959443731C7}"/>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2" name="ZRS Logo Horozontal">
            <a:extLst>
              <a:ext uri="{FF2B5EF4-FFF2-40B4-BE49-F238E27FC236}">
                <a16:creationId xmlns:a16="http://schemas.microsoft.com/office/drawing/2014/main" id="{2A81B312-5AF9-E32D-1A82-87DC4C9E974D}"/>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194" t="5628" b="28088"/>
          <a:stretch/>
        </p:blipFill>
        <p:spPr>
          <a:xfrm>
            <a:off x="10342650" y="317500"/>
            <a:ext cx="1510791" cy="520700"/>
          </a:xfrm>
          <a:prstGeom prst="rect">
            <a:avLst/>
          </a:prstGeom>
        </p:spPr>
      </p:pic>
    </p:spTree>
    <p:extLst>
      <p:ext uri="{BB962C8B-B14F-4D97-AF65-F5344CB8AC3E}">
        <p14:creationId xmlns:p14="http://schemas.microsoft.com/office/powerpoint/2010/main" val="395899412"/>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and 2 text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4C0D27-889B-3151-6ECA-B7B1AF6D6458}"/>
              </a:ext>
            </a:extLst>
          </p:cNvPr>
          <p:cNvGraphicFramePr>
            <a:graphicFrameLocks noChangeAspect="1"/>
          </p:cNvGraphicFramePr>
          <p:nvPr userDrawn="1">
            <p:custDataLst>
              <p:tags r:id="rId1"/>
            </p:custDataLst>
            <p:extLst>
              <p:ext uri="{D42A27DB-BD31-4B8C-83A1-F6EECF244321}">
                <p14:modId xmlns:p14="http://schemas.microsoft.com/office/powerpoint/2010/main" val="40743865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B04C0D27-889B-3151-6ECA-B7B1AF6D645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252000" y="1198800"/>
            <a:ext cx="5647150" cy="5040145"/>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Content Placeholder 2">
            <a:extLst>
              <a:ext uri="{FF2B5EF4-FFF2-40B4-BE49-F238E27FC236}">
                <a16:creationId xmlns:a16="http://schemas.microsoft.com/office/drawing/2014/main" id="{DD38D433-C715-4635-977C-8E54E7555A08}"/>
              </a:ext>
            </a:extLst>
          </p:cNvPr>
          <p:cNvSpPr>
            <a:spLocks noGrp="1"/>
          </p:cNvSpPr>
          <p:nvPr>
            <p:ph idx="13"/>
          </p:nvPr>
        </p:nvSpPr>
        <p:spPr>
          <a:xfrm>
            <a:off x="6280731" y="1198800"/>
            <a:ext cx="5652000" cy="5040145"/>
          </a:xfrm>
        </p:spPr>
        <p:txBody>
          <a:bodyPr lIns="72000" tIns="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2" name="Slide Number Placeholder 5">
            <a:extLst>
              <a:ext uri="{FF2B5EF4-FFF2-40B4-BE49-F238E27FC236}">
                <a16:creationId xmlns:a16="http://schemas.microsoft.com/office/drawing/2014/main" id="{7778DC4A-6DD8-4810-A49B-89B671171FAE}"/>
              </a:ext>
            </a:extLst>
          </p:cNvPr>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B66B4EB9-2868-4BA8-BD4D-16B8E7A16DF5}"/>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2" name="Title Placeholder 1">
            <a:extLst>
              <a:ext uri="{FF2B5EF4-FFF2-40B4-BE49-F238E27FC236}">
                <a16:creationId xmlns:a16="http://schemas.microsoft.com/office/drawing/2014/main" id="{C14EA731-2898-D962-FAA6-B0737584A2F4}"/>
              </a:ext>
            </a:extLst>
          </p:cNvPr>
          <p:cNvSpPr>
            <a:spLocks noGrp="1"/>
          </p:cNvSpPr>
          <p:nvPr>
            <p:ph type="title"/>
          </p:nvPr>
        </p:nvSpPr>
        <p:spPr>
          <a:xfrm>
            <a:off x="250826" y="249926"/>
            <a:ext cx="8996541" cy="360099"/>
          </a:xfrm>
          <a:prstGeom prst="rect">
            <a:avLst/>
          </a:prstGeom>
        </p:spPr>
        <p:txBody>
          <a:bodyPr vert="horz" wrap="square" lIns="0" tIns="0" rIns="0" bIns="0" rtlCol="0" anchor="t" anchorCtr="0">
            <a:spAutoFit/>
          </a:bodyPr>
          <a:lstStyle/>
          <a:p>
            <a:r>
              <a:rPr lang="de-DE"/>
              <a:t>Mastertitelformat bearbeiten</a:t>
            </a:r>
            <a:endParaRPr lang="en-US"/>
          </a:p>
        </p:txBody>
      </p:sp>
      <p:sp>
        <p:nvSpPr>
          <p:cNvPr id="8" name="Content Placeholder 14">
            <a:extLst>
              <a:ext uri="{FF2B5EF4-FFF2-40B4-BE49-F238E27FC236}">
                <a16:creationId xmlns:a16="http://schemas.microsoft.com/office/drawing/2014/main" id="{45C87A36-AF1D-5E17-86AD-9CDBE1DEDA7A}"/>
              </a:ext>
            </a:extLst>
          </p:cNvPr>
          <p:cNvSpPr>
            <a:spLocks noGrp="1"/>
          </p:cNvSpPr>
          <p:nvPr>
            <p:ph sz="quarter" idx="10" hasCustomPrompt="1"/>
          </p:nvPr>
        </p:nvSpPr>
        <p:spPr>
          <a:xfrm>
            <a:off x="250825" y="666073"/>
            <a:ext cx="8996541" cy="276999"/>
          </a:xfrm>
        </p:spPr>
        <p:txBody>
          <a:bodyPr wrap="square">
            <a:spAutoFit/>
          </a:bodyPr>
          <a:lstStyle>
            <a:lvl1pPr marL="0" indent="0">
              <a:buNone/>
              <a:defRPr sz="1800">
                <a:solidFill>
                  <a:schemeClr val="accent1"/>
                </a:solidFill>
              </a:defRPr>
            </a:lvl1pPr>
            <a:lvl2pPr marL="239712" indent="0">
              <a:buNone/>
              <a:defRPr sz="1800">
                <a:solidFill>
                  <a:schemeClr val="accent1"/>
                </a:solidFill>
              </a:defRPr>
            </a:lvl2pPr>
            <a:lvl3pPr marL="538163" indent="0">
              <a:buNone/>
              <a:defRPr sz="1800">
                <a:solidFill>
                  <a:schemeClr val="accent1"/>
                </a:solidFill>
              </a:defRPr>
            </a:lvl3pPr>
            <a:lvl4pPr marL="719138" indent="0">
              <a:buNone/>
              <a:defRPr sz="1800">
                <a:solidFill>
                  <a:schemeClr val="accent1"/>
                </a:solidFill>
              </a:defRPr>
            </a:lvl4pPr>
            <a:lvl5pPr marL="985837" indent="0">
              <a:buNone/>
              <a:defRPr sz="1800">
                <a:solidFill>
                  <a:schemeClr val="accent1"/>
                </a:solidFill>
              </a:defRPr>
            </a:lvl5pPr>
          </a:lstStyle>
          <a:p>
            <a:pPr lvl="0"/>
            <a:r>
              <a:rPr lang="en-GB"/>
              <a:t>Click to edit Master subtitle style</a:t>
            </a:r>
          </a:p>
        </p:txBody>
      </p:sp>
    </p:spTree>
    <p:extLst>
      <p:ext uri="{BB962C8B-B14F-4D97-AF65-F5344CB8AC3E}">
        <p14:creationId xmlns:p14="http://schemas.microsoft.com/office/powerpoint/2010/main" val="28429399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1_Thank you">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250825" y="2490259"/>
            <a:ext cx="6722148" cy="2242079"/>
          </a:xfrm>
        </p:spPr>
        <p:txBody>
          <a:bodyPr anchor="b">
            <a:noAutofit/>
          </a:bodyPr>
          <a:lstStyle>
            <a:lvl1pPr algn="l">
              <a:defRPr sz="3600">
                <a:solidFill>
                  <a:schemeClr val="accent6"/>
                </a:solidFill>
                <a:latin typeface="+mj-lt"/>
                <a:cs typeface="Arial" panose="020B0604020202020204" pitchFamily="34" charset="0"/>
              </a:defRPr>
            </a:lvl1pPr>
          </a:lstStyle>
          <a:p>
            <a:r>
              <a:rPr lang="en-US"/>
              <a:t>Click to edit title</a:t>
            </a:r>
          </a:p>
        </p:txBody>
      </p:sp>
      <p:sp>
        <p:nvSpPr>
          <p:cNvPr id="9" name="Subtitle 2">
            <a:extLst>
              <a:ext uri="{FF2B5EF4-FFF2-40B4-BE49-F238E27FC236}">
                <a16:creationId xmlns:a16="http://schemas.microsoft.com/office/drawing/2014/main" id="{5D52D574-4430-4847-B932-BA1C1DC56322}"/>
              </a:ext>
            </a:extLst>
          </p:cNvPr>
          <p:cNvSpPr>
            <a:spLocks noGrp="1"/>
          </p:cNvSpPr>
          <p:nvPr>
            <p:ph type="subTitle" idx="13" hasCustomPrompt="1"/>
          </p:nvPr>
        </p:nvSpPr>
        <p:spPr>
          <a:xfrm>
            <a:off x="250825" y="4911725"/>
            <a:ext cx="6719063" cy="1283999"/>
          </a:xfrm>
        </p:spPr>
        <p:txBody>
          <a:bodyPr>
            <a:normAutofit/>
          </a:bodyPr>
          <a:lstStyle>
            <a:lvl1pPr marL="0" indent="0" algn="l">
              <a:buNone/>
              <a:defRPr sz="2000">
                <a:solidFill>
                  <a:schemeClr val="accent6"/>
                </a:solidFill>
                <a:latin typeface="+mn-l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subtitle</a:t>
            </a:r>
          </a:p>
        </p:txBody>
      </p:sp>
      <p:sp>
        <p:nvSpPr>
          <p:cNvPr id="15" name="Picture Placeholder 2">
            <a:extLst>
              <a:ext uri="{FF2B5EF4-FFF2-40B4-BE49-F238E27FC236}">
                <a16:creationId xmlns:a16="http://schemas.microsoft.com/office/drawing/2014/main" id="{207E0EDD-CE7D-485D-90AA-EB92659F4C2E}"/>
              </a:ext>
            </a:extLst>
          </p:cNvPr>
          <p:cNvSpPr>
            <a:spLocks noGrp="1" noChangeAspect="1"/>
          </p:cNvSpPr>
          <p:nvPr>
            <p:ph type="pic" sz="quarter" idx="14" hasCustomPrompt="1"/>
          </p:nvPr>
        </p:nvSpPr>
        <p:spPr>
          <a:xfrm>
            <a:off x="9061251" y="1902437"/>
            <a:ext cx="3120000" cy="3120000"/>
          </a:xfrm>
          <a:prstGeom prst="ellipse">
            <a:avLst/>
          </a:prstGeom>
        </p:spPr>
        <p:txBody>
          <a:bodyPr/>
          <a:lstStyle>
            <a:lvl1pPr algn="ctr">
              <a:buNone/>
              <a:defRPr b="0" i="0">
                <a:solidFill>
                  <a:schemeClr val="accent6"/>
                </a:solidFill>
                <a:latin typeface="+mn-lt"/>
                <a:cs typeface="Arial" panose="020B0604020202020204" pitchFamily="34" charset="0"/>
              </a:defRPr>
            </a:lvl1pPr>
          </a:lstStyle>
          <a:p>
            <a:r>
              <a:rPr lang="en-GB"/>
              <a:t>Add a picture here</a:t>
            </a:r>
          </a:p>
        </p:txBody>
      </p:sp>
      <p:sp>
        <p:nvSpPr>
          <p:cNvPr id="16" name="Freeform 12">
            <a:extLst>
              <a:ext uri="{FF2B5EF4-FFF2-40B4-BE49-F238E27FC236}">
                <a16:creationId xmlns:a16="http://schemas.microsoft.com/office/drawing/2014/main" id="{CDD94F9F-17AF-4158-8273-144D6BB8BFBA}"/>
              </a:ext>
            </a:extLst>
          </p:cNvPr>
          <p:cNvSpPr/>
          <p:nvPr userDrawn="1"/>
        </p:nvSpPr>
        <p:spPr bwMode="auto">
          <a:xfrm rot="735038">
            <a:off x="9719774" y="4974386"/>
            <a:ext cx="933047" cy="469973"/>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7" name="Freeform 17">
            <a:extLst>
              <a:ext uri="{FF2B5EF4-FFF2-40B4-BE49-F238E27FC236}">
                <a16:creationId xmlns:a16="http://schemas.microsoft.com/office/drawing/2014/main" id="{03EA52F0-9F47-4C1A-A653-1F060850BB16}"/>
              </a:ext>
            </a:extLst>
          </p:cNvPr>
          <p:cNvSpPr/>
          <p:nvPr userDrawn="1"/>
        </p:nvSpPr>
        <p:spPr bwMode="auto">
          <a:xfrm rot="8315714" flipH="1">
            <a:off x="9180227" y="5547933"/>
            <a:ext cx="1677271" cy="86330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8" name="Oval 17">
            <a:extLst>
              <a:ext uri="{FF2B5EF4-FFF2-40B4-BE49-F238E27FC236}">
                <a16:creationId xmlns:a16="http://schemas.microsoft.com/office/drawing/2014/main" id="{6AED791D-1518-403F-BA5A-79F94E7CDCCB}"/>
              </a:ext>
            </a:extLst>
          </p:cNvPr>
          <p:cNvSpPr>
            <a:spLocks noChangeAspect="1"/>
          </p:cNvSpPr>
          <p:nvPr userDrawn="1"/>
        </p:nvSpPr>
        <p:spPr bwMode="auto">
          <a:xfrm rot="5400000">
            <a:off x="10403602" y="5983124"/>
            <a:ext cx="875301" cy="874456"/>
          </a:xfrm>
          <a:prstGeom prst="ellips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26" name="TextBox 25">
            <a:extLst>
              <a:ext uri="{FF2B5EF4-FFF2-40B4-BE49-F238E27FC236}">
                <a16:creationId xmlns:a16="http://schemas.microsoft.com/office/drawing/2014/main" id="{964649C4-0FE0-4E4D-B386-F39D40C28AE9}"/>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mn-lt"/>
                <a:cs typeface="Arial" panose="020B0604020202020204" pitchFamily="34" charset="0"/>
              </a:rPr>
              <a:t>© Zurich</a:t>
            </a:r>
          </a:p>
        </p:txBody>
      </p:sp>
      <p:pic>
        <p:nvPicPr>
          <p:cNvPr id="11" name="ZRS Logo Horozontal">
            <a:extLst>
              <a:ext uri="{FF2B5EF4-FFF2-40B4-BE49-F238E27FC236}">
                <a16:creationId xmlns:a16="http://schemas.microsoft.com/office/drawing/2014/main" id="{D2B33BE5-EB34-483C-92C0-DCBF73E42AA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016" y="325479"/>
            <a:ext cx="1501200" cy="498456"/>
          </a:xfrm>
          <a:prstGeom prst="rect">
            <a:avLst/>
          </a:prstGeom>
        </p:spPr>
      </p:pic>
    </p:spTree>
    <p:extLst>
      <p:ext uri="{BB962C8B-B14F-4D97-AF65-F5344CB8AC3E}">
        <p14:creationId xmlns:p14="http://schemas.microsoft.com/office/powerpoint/2010/main" val="24467547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box, Safe Space image_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C80958E-01C0-1FFA-FAC4-AA9B2A91AF37}"/>
              </a:ext>
            </a:extLst>
          </p:cNvPr>
          <p:cNvGraphicFramePr>
            <a:graphicFrameLocks noChangeAspect="1"/>
          </p:cNvGraphicFramePr>
          <p:nvPr userDrawn="1">
            <p:custDataLst>
              <p:tags r:id="rId1"/>
            </p:custDataLst>
            <p:extLst>
              <p:ext uri="{D42A27DB-BD31-4B8C-83A1-F6EECF244321}">
                <p14:modId xmlns:p14="http://schemas.microsoft.com/office/powerpoint/2010/main" val="2131220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9C80958E-01C0-1FFA-FAC4-AA9B2A91AF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334963" y="1206178"/>
            <a:ext cx="5573967" cy="5040145"/>
          </a:xfrm>
        </p:spPr>
        <p:txBody>
          <a:bodyPr lIns="72000" tIns="72000" rIns="72000" bIns="72000"/>
          <a:lstStyle>
            <a:lvl1pPr rtl="0">
              <a:defRPr sz="1800">
                <a:latin typeface="+mn-lt"/>
                <a:cs typeface="Arial" panose="020B0604020202020204" pitchFamily="34" charset="0"/>
              </a:defRPr>
            </a:lvl1pPr>
            <a:lvl2pPr rtl="0">
              <a:defRPr sz="1600">
                <a:latin typeface="+mn-lt"/>
                <a:cs typeface="Arial" panose="020B0604020202020204" pitchFamily="34" charset="0"/>
              </a:defRPr>
            </a:lvl2pPr>
            <a:lvl3pPr rtl="0">
              <a:defRPr sz="1400">
                <a:latin typeface="+mn-lt"/>
                <a:cs typeface="Arial" panose="020B0604020202020204" pitchFamily="34" charset="0"/>
              </a:defRPr>
            </a:lvl3pPr>
            <a:lvl4pPr rtl="0">
              <a:defRPr sz="1200">
                <a:latin typeface="+mn-lt"/>
                <a:cs typeface="Arial" panose="020B0604020202020204" pitchFamily="34" charset="0"/>
              </a:defRPr>
            </a:lvl4pPr>
            <a:lvl5pPr rtl="0">
              <a:defRPr sz="1200">
                <a:latin typeface="+mn-lt"/>
                <a:cs typeface="Arial" panose="020B0604020202020204" pitchFamily="34" charset="0"/>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20" name="Title 1">
            <a:extLst>
              <a:ext uri="{FF2B5EF4-FFF2-40B4-BE49-F238E27FC236}">
                <a16:creationId xmlns:a16="http://schemas.microsoft.com/office/drawing/2014/main" id="{C29EECA6-DA60-0545-94DA-DA2F8B81238E}"/>
              </a:ext>
            </a:extLst>
          </p:cNvPr>
          <p:cNvSpPr>
            <a:spLocks noGrp="1"/>
          </p:cNvSpPr>
          <p:nvPr>
            <p:ph type="title" hasCustomPrompt="1"/>
          </p:nvPr>
        </p:nvSpPr>
        <p:spPr>
          <a:xfrm>
            <a:off x="334963" y="260268"/>
            <a:ext cx="9504111" cy="332399"/>
          </a:xfrm>
        </p:spPr>
        <p:txBody>
          <a:bodyPr vert="horz" wrap="square">
            <a:spAutoFit/>
          </a:bodyPr>
          <a:lstStyle>
            <a:lvl1pPr rtl="0">
              <a:defRPr>
                <a:latin typeface="+mj-lt"/>
                <a:cs typeface="Arial" panose="020B0604020202020204" pitchFamily="34" charset="0"/>
              </a:defRPr>
            </a:lvl1pPr>
          </a:lstStyle>
          <a:p>
            <a:r>
              <a:rPr lang="de-DE"/>
              <a:t>Click to edit Master title style</a:t>
            </a:r>
          </a:p>
        </p:txBody>
      </p:sp>
      <p:sp>
        <p:nvSpPr>
          <p:cNvPr id="21" name="Subtitle 2">
            <a:extLst>
              <a:ext uri="{FF2B5EF4-FFF2-40B4-BE49-F238E27FC236}">
                <a16:creationId xmlns:a16="http://schemas.microsoft.com/office/drawing/2014/main" id="{78EE7002-C39A-5A48-B25E-20539A4FFD23}"/>
              </a:ext>
            </a:extLst>
          </p:cNvPr>
          <p:cNvSpPr>
            <a:spLocks noGrp="1"/>
          </p:cNvSpPr>
          <p:nvPr>
            <p:ph type="subTitle" idx="14" hasCustomPrompt="1"/>
          </p:nvPr>
        </p:nvSpPr>
        <p:spPr>
          <a:xfrm>
            <a:off x="334962" y="610597"/>
            <a:ext cx="9504111" cy="332399"/>
          </a:xfrm>
          <a:prstGeom prst="rect">
            <a:avLst/>
          </a:prstGeom>
        </p:spPr>
        <p:txBody>
          <a:bodyPr anchor="t">
            <a:normAutofit/>
          </a:bodyPr>
          <a:lstStyle>
            <a:lvl1pPr marL="0" indent="0" algn="l" rtl="0">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Click to edit Master subtitle style</a:t>
            </a:r>
            <a:endParaRPr lang="de-DE" noProof="0"/>
          </a:p>
        </p:txBody>
      </p:sp>
      <p:sp>
        <p:nvSpPr>
          <p:cNvPr id="36" name="Picture Placeholder 22">
            <a:extLst>
              <a:ext uri="{FF2B5EF4-FFF2-40B4-BE49-F238E27FC236}">
                <a16:creationId xmlns:a16="http://schemas.microsoft.com/office/drawing/2014/main" id="{8A849791-6852-4C64-AE72-FB234CCCE27F}"/>
              </a:ext>
            </a:extLst>
          </p:cNvPr>
          <p:cNvSpPr>
            <a:spLocks noGrp="1" noChangeAspect="1"/>
          </p:cNvSpPr>
          <p:nvPr>
            <p:ph type="pic" sz="quarter" idx="18" hasCustomPrompt="1"/>
          </p:nvPr>
        </p:nvSpPr>
        <p:spPr>
          <a:xfrm>
            <a:off x="6813533" y="1204279"/>
            <a:ext cx="5040000" cy="5040000"/>
          </a:xfrm>
          <a:custGeom>
            <a:avLst/>
            <a:gdLst>
              <a:gd name="connsiteX0" fmla="*/ 991609 w 1983218"/>
              <a:gd name="connsiteY0" fmla="*/ 0 h 1983218"/>
              <a:gd name="connsiteX1" fmla="*/ 1983218 w 1983218"/>
              <a:gd name="connsiteY1" fmla="*/ 991609 h 1983218"/>
              <a:gd name="connsiteX2" fmla="*/ 991679 w 1983218"/>
              <a:gd name="connsiteY2" fmla="*/ 1983218 h 1983218"/>
              <a:gd name="connsiteX3" fmla="*/ 236970 w 1983218"/>
              <a:gd name="connsiteY3" fmla="*/ 1634445 h 1983218"/>
              <a:gd name="connsiteX4" fmla="*/ 303087 w 1983218"/>
              <a:gd name="connsiteY4" fmla="*/ 1615274 h 1983218"/>
              <a:gd name="connsiteX5" fmla="*/ 372492 w 1983218"/>
              <a:gd name="connsiteY5" fmla="*/ 1609677 h 1983218"/>
              <a:gd name="connsiteX6" fmla="*/ 515919 w 1983218"/>
              <a:gd name="connsiteY6" fmla="*/ 1624440 h 1983218"/>
              <a:gd name="connsiteX7" fmla="*/ 637938 w 1983218"/>
              <a:gd name="connsiteY7" fmla="*/ 1637593 h 1983218"/>
              <a:gd name="connsiteX8" fmla="*/ 643955 w 1983218"/>
              <a:gd name="connsiteY8" fmla="*/ 1637523 h 1983218"/>
              <a:gd name="connsiteX9" fmla="*/ 747083 w 1983218"/>
              <a:gd name="connsiteY9" fmla="*/ 1603520 h 1983218"/>
              <a:gd name="connsiteX10" fmla="*/ 816768 w 1983218"/>
              <a:gd name="connsiteY10" fmla="*/ 1511167 h 1983218"/>
              <a:gd name="connsiteX11" fmla="*/ 835448 w 1983218"/>
              <a:gd name="connsiteY11" fmla="*/ 1457994 h 1983218"/>
              <a:gd name="connsiteX12" fmla="*/ 816558 w 1983218"/>
              <a:gd name="connsiteY12" fmla="*/ 1453166 h 1983218"/>
              <a:gd name="connsiteX13" fmla="*/ 810261 w 1983218"/>
              <a:gd name="connsiteY13" fmla="*/ 1465830 h 1983218"/>
              <a:gd name="connsiteX14" fmla="*/ 747083 w 1983218"/>
              <a:gd name="connsiteY14" fmla="*/ 1537893 h 1983218"/>
              <a:gd name="connsiteX15" fmla="*/ 701466 w 1983218"/>
              <a:gd name="connsiteY15" fmla="*/ 1559862 h 1983218"/>
              <a:gd name="connsiteX16" fmla="*/ 627303 w 1983218"/>
              <a:gd name="connsiteY16" fmla="*/ 1568748 h 1983218"/>
              <a:gd name="connsiteX17" fmla="*/ 571192 w 1983218"/>
              <a:gd name="connsiteY17" fmla="*/ 1566789 h 1983218"/>
              <a:gd name="connsiteX18" fmla="*/ 508573 w 1983218"/>
              <a:gd name="connsiteY18" fmla="*/ 1562941 h 1983218"/>
              <a:gd name="connsiteX19" fmla="*/ 443576 w 1983218"/>
              <a:gd name="connsiteY19" fmla="*/ 1560352 h 1983218"/>
              <a:gd name="connsiteX20" fmla="*/ 392922 w 1983218"/>
              <a:gd name="connsiteY20" fmla="*/ 1562871 h 1983218"/>
              <a:gd name="connsiteX21" fmla="*/ 745334 w 1983218"/>
              <a:gd name="connsiteY21" fmla="*/ 1091659 h 1983218"/>
              <a:gd name="connsiteX22" fmla="*/ 301828 w 1983218"/>
              <a:gd name="connsiteY22" fmla="*/ 1091659 h 1983218"/>
              <a:gd name="connsiteX23" fmla="*/ 267125 w 1983218"/>
              <a:gd name="connsiteY23" fmla="*/ 1225291 h 1983218"/>
              <a:gd name="connsiteX24" fmla="*/ 287835 w 1983218"/>
              <a:gd name="connsiteY24" fmla="*/ 1229979 h 1983218"/>
              <a:gd name="connsiteX25" fmla="*/ 293572 w 1983218"/>
              <a:gd name="connsiteY25" fmla="*/ 1218924 h 1983218"/>
              <a:gd name="connsiteX26" fmla="*/ 336950 w 1983218"/>
              <a:gd name="connsiteY26" fmla="*/ 1167361 h 1983218"/>
              <a:gd name="connsiteX27" fmla="*/ 380328 w 1983218"/>
              <a:gd name="connsiteY27" fmla="*/ 1149659 h 1983218"/>
              <a:gd name="connsiteX28" fmla="*/ 485975 w 1983218"/>
              <a:gd name="connsiteY28" fmla="*/ 1141474 h 1983218"/>
              <a:gd name="connsiteX29" fmla="*/ 523755 w 1983218"/>
              <a:gd name="connsiteY29" fmla="*/ 1141544 h 1983218"/>
              <a:gd name="connsiteX30" fmla="*/ 561886 w 1983218"/>
              <a:gd name="connsiteY30" fmla="*/ 1141474 h 1983218"/>
              <a:gd name="connsiteX31" fmla="*/ 210943 w 1983218"/>
              <a:gd name="connsiteY31" fmla="*/ 1602681 h 1983218"/>
              <a:gd name="connsiteX32" fmla="*/ 0 w 1983218"/>
              <a:gd name="connsiteY32" fmla="*/ 991609 h 1983218"/>
              <a:gd name="connsiteX33" fmla="*/ 991609 w 1983218"/>
              <a:gd name="connsiteY33" fmla="*/ 0 h 198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83218" h="1983218">
                <a:moveTo>
                  <a:pt x="991609" y="0"/>
                </a:moveTo>
                <a:cubicBezTo>
                  <a:pt x="1539293" y="0"/>
                  <a:pt x="1983218" y="443996"/>
                  <a:pt x="1983218" y="991609"/>
                </a:cubicBezTo>
                <a:cubicBezTo>
                  <a:pt x="1983218" y="1539293"/>
                  <a:pt x="1539293" y="1983218"/>
                  <a:pt x="991679" y="1983218"/>
                </a:cubicBezTo>
                <a:cubicBezTo>
                  <a:pt x="689362" y="1983218"/>
                  <a:pt x="418878" y="1847767"/>
                  <a:pt x="236970" y="1634445"/>
                </a:cubicBezTo>
                <a:cubicBezTo>
                  <a:pt x="261668" y="1623390"/>
                  <a:pt x="274122" y="1619822"/>
                  <a:pt x="303087" y="1615274"/>
                </a:cubicBezTo>
                <a:cubicBezTo>
                  <a:pt x="326245" y="1611496"/>
                  <a:pt x="348494" y="1609677"/>
                  <a:pt x="372492" y="1609677"/>
                </a:cubicBezTo>
                <a:cubicBezTo>
                  <a:pt x="408314" y="1609677"/>
                  <a:pt x="444625" y="1613455"/>
                  <a:pt x="515919" y="1624440"/>
                </a:cubicBezTo>
                <a:cubicBezTo>
                  <a:pt x="586024" y="1635144"/>
                  <a:pt x="608693" y="1637593"/>
                  <a:pt x="637938" y="1637593"/>
                </a:cubicBezTo>
                <a:lnTo>
                  <a:pt x="643955" y="1637523"/>
                </a:lnTo>
                <a:cubicBezTo>
                  <a:pt x="683485" y="1636823"/>
                  <a:pt x="716858" y="1625909"/>
                  <a:pt x="747083" y="1603520"/>
                </a:cubicBezTo>
                <a:cubicBezTo>
                  <a:pt x="776468" y="1581831"/>
                  <a:pt x="797807" y="1553425"/>
                  <a:pt x="816768" y="1511167"/>
                </a:cubicBezTo>
                <a:cubicBezTo>
                  <a:pt x="826073" y="1490317"/>
                  <a:pt x="829291" y="1481362"/>
                  <a:pt x="835448" y="1457994"/>
                </a:cubicBezTo>
                <a:lnTo>
                  <a:pt x="816558" y="1453166"/>
                </a:lnTo>
                <a:cubicBezTo>
                  <a:pt x="813969" y="1458763"/>
                  <a:pt x="811660" y="1463031"/>
                  <a:pt x="810261" y="1465830"/>
                </a:cubicBezTo>
                <a:cubicBezTo>
                  <a:pt x="795918" y="1493326"/>
                  <a:pt x="771850" y="1520752"/>
                  <a:pt x="747083" y="1537893"/>
                </a:cubicBezTo>
                <a:cubicBezTo>
                  <a:pt x="732950" y="1547478"/>
                  <a:pt x="717628" y="1554895"/>
                  <a:pt x="701466" y="1559862"/>
                </a:cubicBezTo>
                <a:cubicBezTo>
                  <a:pt x="680546" y="1566229"/>
                  <a:pt x="659557" y="1568748"/>
                  <a:pt x="627303" y="1568748"/>
                </a:cubicBezTo>
                <a:cubicBezTo>
                  <a:pt x="612821" y="1568748"/>
                  <a:pt x="593720" y="1568048"/>
                  <a:pt x="571192" y="1566789"/>
                </a:cubicBezTo>
                <a:lnTo>
                  <a:pt x="508573" y="1562941"/>
                </a:lnTo>
                <a:cubicBezTo>
                  <a:pt x="479608" y="1561262"/>
                  <a:pt x="457849" y="1560352"/>
                  <a:pt x="443576" y="1560352"/>
                </a:cubicBezTo>
                <a:cubicBezTo>
                  <a:pt x="425035" y="1560352"/>
                  <a:pt x="415800" y="1560842"/>
                  <a:pt x="392922" y="1562871"/>
                </a:cubicBezTo>
                <a:lnTo>
                  <a:pt x="745334" y="1091659"/>
                </a:lnTo>
                <a:lnTo>
                  <a:pt x="301828" y="1091659"/>
                </a:lnTo>
                <a:lnTo>
                  <a:pt x="267125" y="1225291"/>
                </a:lnTo>
                <a:lnTo>
                  <a:pt x="287835" y="1229979"/>
                </a:lnTo>
                <a:cubicBezTo>
                  <a:pt x="290283" y="1224871"/>
                  <a:pt x="292242" y="1221303"/>
                  <a:pt x="293572" y="1218924"/>
                </a:cubicBezTo>
                <a:cubicBezTo>
                  <a:pt x="305116" y="1198285"/>
                  <a:pt x="322817" y="1177225"/>
                  <a:pt x="336950" y="1167361"/>
                </a:cubicBezTo>
                <a:cubicBezTo>
                  <a:pt x="348984" y="1158895"/>
                  <a:pt x="363746" y="1152948"/>
                  <a:pt x="380328" y="1149659"/>
                </a:cubicBezTo>
                <a:cubicBezTo>
                  <a:pt x="407684" y="1144342"/>
                  <a:pt x="445605" y="1141474"/>
                  <a:pt x="485975" y="1141474"/>
                </a:cubicBezTo>
                <a:lnTo>
                  <a:pt x="523755" y="1141544"/>
                </a:lnTo>
                <a:lnTo>
                  <a:pt x="561886" y="1141474"/>
                </a:lnTo>
                <a:lnTo>
                  <a:pt x="210943" y="1602681"/>
                </a:lnTo>
                <a:cubicBezTo>
                  <a:pt x="78920" y="1434276"/>
                  <a:pt x="0" y="1222213"/>
                  <a:pt x="0" y="991609"/>
                </a:cubicBezTo>
                <a:cubicBezTo>
                  <a:pt x="0" y="443996"/>
                  <a:pt x="443996" y="0"/>
                  <a:pt x="991609" y="0"/>
                </a:cubicBezTo>
                <a:close/>
              </a:path>
            </a:pathLst>
          </a:custGeom>
        </p:spPr>
        <p:txBody>
          <a:bodyPr wrap="square">
            <a:noAutofit/>
          </a:bodyPr>
          <a:lstStyle>
            <a:lvl1pPr marL="0" indent="0" algn="ctr" rtl="0">
              <a:buNone/>
              <a:defRPr>
                <a:latin typeface="+mn-lt"/>
                <a:cs typeface="Arial" panose="020B0604020202020204" pitchFamily="34" charset="0"/>
              </a:defRPr>
            </a:lvl1pPr>
          </a:lstStyle>
          <a:p>
            <a:r>
              <a:rPr lang="de-DE"/>
              <a:t>Click icon to add picture</a:t>
            </a:r>
          </a:p>
        </p:txBody>
      </p:sp>
      <p:sp>
        <p:nvSpPr>
          <p:cNvPr id="32" name="Slide Number Placeholder 5">
            <a:extLst>
              <a:ext uri="{FF2B5EF4-FFF2-40B4-BE49-F238E27FC236}">
                <a16:creationId xmlns:a16="http://schemas.microsoft.com/office/drawing/2014/main" id="{93FBEF06-3376-4805-93CA-9F93395D9603}"/>
              </a:ext>
            </a:extLst>
          </p:cNvPr>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34" name="Footer Placeholder 3">
            <a:extLst>
              <a:ext uri="{FF2B5EF4-FFF2-40B4-BE49-F238E27FC236}">
                <a16:creationId xmlns:a16="http://schemas.microsoft.com/office/drawing/2014/main" id="{84B6CFBF-971A-45D4-9A48-C535D13B975C}"/>
              </a:ext>
            </a:extLst>
          </p:cNvPr>
          <p:cNvSpPr>
            <a:spLocks noGrp="1"/>
          </p:cNvSpPr>
          <p:nvPr>
            <p:ph type="ftr" sz="quarter" idx="3"/>
          </p:nvPr>
        </p:nvSpPr>
        <p:spPr>
          <a:xfrm>
            <a:off x="2261053" y="6531715"/>
            <a:ext cx="8112000" cy="181960"/>
          </a:xfrm>
          <a:prstGeom prst="rect">
            <a:avLst/>
          </a:prstGeom>
        </p:spPr>
        <p:txBody>
          <a:bodyPr lIns="0" tIns="0" rIns="0" bIns="0"/>
          <a:lstStyle>
            <a:lvl1pPr algn="r" rtl="0">
              <a:defRPr sz="900">
                <a:solidFill>
                  <a:schemeClr val="accent1"/>
                </a:solidFill>
                <a:latin typeface="+mn-lt"/>
                <a:cs typeface="Arial" panose="020B0604020202020204" pitchFamily="34" charset="0"/>
              </a:defRPr>
            </a:lvl1pPr>
          </a:lstStyle>
          <a:p>
            <a:endParaRPr lang="de-DE"/>
          </a:p>
        </p:txBody>
      </p:sp>
    </p:spTree>
    <p:extLst>
      <p:ext uri="{BB962C8B-B14F-4D97-AF65-F5344CB8AC3E}">
        <p14:creationId xmlns:p14="http://schemas.microsoft.com/office/powerpoint/2010/main" val="8663689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Disclaimer dark">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ACFF7A-0A26-4F0A-A400-3AF20106862B}"/>
              </a:ext>
            </a:extLst>
          </p:cNvPr>
          <p:cNvSpPr>
            <a:spLocks noGrp="1"/>
          </p:cNvSpPr>
          <p:nvPr>
            <p:ph type="ctrTitle" hasCustomPrompt="1"/>
          </p:nvPr>
        </p:nvSpPr>
        <p:spPr>
          <a:xfrm>
            <a:off x="274890" y="6401514"/>
            <a:ext cx="6028129" cy="123111"/>
          </a:xfrm>
        </p:spPr>
        <p:txBody>
          <a:bodyPr vert="horz" wrap="square" lIns="0" tIns="0" rIns="0" bIns="0" rtlCol="0" anchor="b" anchorCtr="0">
            <a:spAutoFit/>
          </a:bodyPr>
          <a:lstStyle>
            <a:lvl1pPr>
              <a:defRPr lang="en-US" sz="800" dirty="0">
                <a:solidFill>
                  <a:schemeClr val="accent5"/>
                </a:solidFill>
                <a:latin typeface="+mn-lt"/>
                <a:ea typeface="+mn-ea"/>
              </a:defRPr>
            </a:lvl1pPr>
          </a:lstStyle>
          <a:p>
            <a:pPr marL="0" lvl="0" indent="0">
              <a:lnSpc>
                <a:spcPct val="100000"/>
              </a:lnSpc>
              <a:spcBef>
                <a:spcPts val="0"/>
              </a:spcBef>
              <a:spcAft>
                <a:spcPts val="600"/>
              </a:spcAft>
              <a:buFont typeface="Arial" panose="020B0604020202020204" pitchFamily="34" charset="0"/>
            </a:pPr>
            <a:r>
              <a:rPr lang="en-US"/>
              <a:t>Job number</a:t>
            </a:r>
          </a:p>
        </p:txBody>
      </p:sp>
      <p:sp>
        <p:nvSpPr>
          <p:cNvPr id="15" name="Picture Placeholder 2">
            <a:extLst>
              <a:ext uri="{FF2B5EF4-FFF2-40B4-BE49-F238E27FC236}">
                <a16:creationId xmlns:a16="http://schemas.microsoft.com/office/drawing/2014/main" id="{207E0EDD-CE7D-485D-90AA-EB92659F4C2E}"/>
              </a:ext>
            </a:extLst>
          </p:cNvPr>
          <p:cNvSpPr>
            <a:spLocks noGrp="1" noChangeAspect="1"/>
          </p:cNvSpPr>
          <p:nvPr>
            <p:ph type="pic" sz="quarter" idx="14" hasCustomPrompt="1"/>
          </p:nvPr>
        </p:nvSpPr>
        <p:spPr>
          <a:xfrm>
            <a:off x="9061251" y="1902437"/>
            <a:ext cx="3120000" cy="3120000"/>
          </a:xfrm>
          <a:prstGeom prst="ellipse">
            <a:avLst/>
          </a:prstGeom>
        </p:spPr>
        <p:txBody>
          <a:bodyPr/>
          <a:lstStyle>
            <a:lvl1pPr algn="ctr">
              <a:buNone/>
              <a:defRPr b="0" i="0">
                <a:solidFill>
                  <a:schemeClr val="accent6"/>
                </a:solidFill>
                <a:latin typeface="+mn-lt"/>
                <a:cs typeface="Arial" panose="020B0604020202020204" pitchFamily="34" charset="0"/>
              </a:defRPr>
            </a:lvl1pPr>
          </a:lstStyle>
          <a:p>
            <a:r>
              <a:rPr lang="en-GB"/>
              <a:t>Add a picture here</a:t>
            </a:r>
          </a:p>
        </p:txBody>
      </p:sp>
      <p:sp>
        <p:nvSpPr>
          <p:cNvPr id="16" name="Freeform 12">
            <a:extLst>
              <a:ext uri="{FF2B5EF4-FFF2-40B4-BE49-F238E27FC236}">
                <a16:creationId xmlns:a16="http://schemas.microsoft.com/office/drawing/2014/main" id="{CDD94F9F-17AF-4158-8273-144D6BB8BFBA}"/>
              </a:ext>
            </a:extLst>
          </p:cNvPr>
          <p:cNvSpPr/>
          <p:nvPr userDrawn="1"/>
        </p:nvSpPr>
        <p:spPr bwMode="auto">
          <a:xfrm rot="735038">
            <a:off x="9719774" y="4974386"/>
            <a:ext cx="933047" cy="469973"/>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7" name="Freeform 17">
            <a:extLst>
              <a:ext uri="{FF2B5EF4-FFF2-40B4-BE49-F238E27FC236}">
                <a16:creationId xmlns:a16="http://schemas.microsoft.com/office/drawing/2014/main" id="{03EA52F0-9F47-4C1A-A653-1F060850BB16}"/>
              </a:ext>
            </a:extLst>
          </p:cNvPr>
          <p:cNvSpPr/>
          <p:nvPr userDrawn="1"/>
        </p:nvSpPr>
        <p:spPr bwMode="auto">
          <a:xfrm rot="8315714" flipH="1">
            <a:off x="9180227" y="5547933"/>
            <a:ext cx="1677271" cy="86330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18" name="Oval 17">
            <a:extLst>
              <a:ext uri="{FF2B5EF4-FFF2-40B4-BE49-F238E27FC236}">
                <a16:creationId xmlns:a16="http://schemas.microsoft.com/office/drawing/2014/main" id="{6AED791D-1518-403F-BA5A-79F94E7CDCCB}"/>
              </a:ext>
            </a:extLst>
          </p:cNvPr>
          <p:cNvSpPr>
            <a:spLocks noChangeAspect="1"/>
          </p:cNvSpPr>
          <p:nvPr userDrawn="1"/>
        </p:nvSpPr>
        <p:spPr bwMode="auto">
          <a:xfrm rot="5400000">
            <a:off x="10403602" y="5983124"/>
            <a:ext cx="875301" cy="874456"/>
          </a:xfrm>
          <a:prstGeom prst="ellips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ES" sz="2400" b="0" i="0" u="none" strike="noStrike" cap="none" normalizeH="0" baseline="0">
              <a:ln>
                <a:noFill/>
              </a:ln>
              <a:solidFill>
                <a:schemeClr val="accent6"/>
              </a:solidFill>
              <a:effectLst/>
              <a:latin typeface="+mn-lt"/>
              <a:cs typeface="Arial" panose="020B0604020202020204" pitchFamily="34" charset="0"/>
            </a:endParaRPr>
          </a:p>
        </p:txBody>
      </p:sp>
      <p:sp>
        <p:nvSpPr>
          <p:cNvPr id="26" name="TextBox 25">
            <a:extLst>
              <a:ext uri="{FF2B5EF4-FFF2-40B4-BE49-F238E27FC236}">
                <a16:creationId xmlns:a16="http://schemas.microsoft.com/office/drawing/2014/main" id="{964649C4-0FE0-4E4D-B386-F39D40C28AE9}"/>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mn-lt"/>
                <a:cs typeface="Arial" panose="020B0604020202020204" pitchFamily="34" charset="0"/>
              </a:rPr>
              <a:t>© Zurich</a:t>
            </a:r>
          </a:p>
        </p:txBody>
      </p:sp>
      <p:pic>
        <p:nvPicPr>
          <p:cNvPr id="11" name="ZRS Logo Horozontal">
            <a:extLst>
              <a:ext uri="{FF2B5EF4-FFF2-40B4-BE49-F238E27FC236}">
                <a16:creationId xmlns:a16="http://schemas.microsoft.com/office/drawing/2014/main" id="{D2B33BE5-EB34-483C-92C0-DCBF73E42AA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016" y="325479"/>
            <a:ext cx="1501200" cy="498456"/>
          </a:xfrm>
          <a:prstGeom prst="rect">
            <a:avLst/>
          </a:prstGeom>
        </p:spPr>
      </p:pic>
      <p:sp>
        <p:nvSpPr>
          <p:cNvPr id="12" name="Disclaimer">
            <a:extLst>
              <a:ext uri="{FF2B5EF4-FFF2-40B4-BE49-F238E27FC236}">
                <a16:creationId xmlns:a16="http://schemas.microsoft.com/office/drawing/2014/main" id="{5B406369-73D2-47B4-9695-1A05225AED50}"/>
              </a:ext>
            </a:extLst>
          </p:cNvPr>
          <p:cNvSpPr txBox="1">
            <a:spLocks/>
          </p:cNvSpPr>
          <p:nvPr userDrawn="1"/>
        </p:nvSpPr>
        <p:spPr>
          <a:xfrm>
            <a:off x="274889" y="1117411"/>
            <a:ext cx="6028130" cy="5078313"/>
          </a:xfrm>
          <a:prstGeom prst="rect">
            <a:avLst/>
          </a:prstGeom>
        </p:spPr>
        <p:txBody>
          <a:bodyPr vert="horz" wrap="square" lIns="0" tIns="0" rIns="0" bIns="0" rtlCol="0" anchor="b" anchorCtr="0">
            <a:spAutoFit/>
          </a:bodyPr>
          <a:lstStyle>
            <a:lvl1pPr marL="268288" indent="-268288" algn="l" defTabSz="914377" rtl="0" eaLnBrk="1" latinLnBrk="0" hangingPunct="1">
              <a:lnSpc>
                <a:spcPct val="100000"/>
              </a:lnSpc>
              <a:spcBef>
                <a:spcPts val="0"/>
              </a:spcBef>
              <a:spcAft>
                <a:spcPts val="600"/>
              </a:spcAft>
              <a:buFont typeface="Arial" panose="020B0604020202020204" pitchFamily="34" charset="0"/>
              <a:buChar char="•"/>
              <a:defRPr sz="1800" kern="1200">
                <a:solidFill>
                  <a:schemeClr val="accent5"/>
                </a:solidFill>
                <a:latin typeface="+mn-lt"/>
                <a:ea typeface="+mn-ea"/>
                <a:cs typeface="Arial" panose="020B0604020202020204" pitchFamily="34" charset="0"/>
              </a:defRPr>
            </a:lvl1pPr>
            <a:lvl2pPr marL="447675" indent="-207963" algn="l" defTabSz="914377"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Arial" panose="020B0604020202020204" pitchFamily="34" charset="0"/>
              </a:defRPr>
            </a:lvl2pPr>
            <a:lvl3pPr marL="719138" indent="-180975" algn="l" defTabSz="914377"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Arial" panose="020B0604020202020204" pitchFamily="34" charset="0"/>
              </a:defRPr>
            </a:lvl3pPr>
            <a:lvl4pPr marL="896938" indent="-177800"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4pPr>
            <a:lvl5pPr marL="1165225" indent="-179388"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000"/>
              <a:t>This is a general description of (insurance) services such as risk engineering or risk management services by Zurich Resilience Solutions, which is part of the Commercial Insurance business of Zurich Insurance Group, and does not represent or alter any insurance policy or service agreement. Such (insurance) services are provided to qualified customers by affiliated companies of Zurich Insurance Company Ltd, including but not limited to: Zurich American Insurance Company, 1299 Zurich Way, Schaumburg, IL 60196, USA; The Zurich Services Corporation, 1299 Zurich Way, Schaumburg, IL 60196, USA; Zurich Insurance plc, Zurich House, Ballsbridge Park, Dublin 4, Ireland; Zurich Commercial Services (Europe) GmbH, Platz der Einheit, 2, 60327 Germany; Zurich Management Services Limited, The Zurich Centre, 3000b Parkway, </a:t>
            </a:r>
            <a:r>
              <a:rPr lang="en-US" sz="1000" err="1"/>
              <a:t>Whiteley</a:t>
            </a:r>
            <a:r>
              <a:rPr lang="en-US" sz="1000"/>
              <a:t>, </a:t>
            </a:r>
            <a:r>
              <a:rPr lang="en-US" sz="1000" err="1"/>
              <a:t>Fareham</a:t>
            </a:r>
            <a:r>
              <a:rPr lang="en-US" sz="1000"/>
              <a:t>, Hampshire, PO15 7JZ, UK; Zurich Insurance Company Ltd, </a:t>
            </a:r>
            <a:r>
              <a:rPr lang="en-US" sz="1000" err="1"/>
              <a:t>Mythenquai</a:t>
            </a:r>
            <a:r>
              <a:rPr lang="en-US" sz="1000"/>
              <a:t> 2, 8002 Zurich, Switzerland; Zurich Australian Insurance Limited, ABN 13 000 296 640, Australia.</a:t>
            </a:r>
          </a:p>
          <a:p>
            <a:pPr marL="0" indent="0">
              <a:buFont typeface="Arial" panose="020B0604020202020204" pitchFamily="34" charset="0"/>
              <a:buNone/>
            </a:pPr>
            <a:r>
              <a:rPr lang="en-US" sz="1000"/>
              <a:t>The opinions expressed herein are those of Zurich Resilience Solutions as of the date of the release and </a:t>
            </a:r>
            <a:br>
              <a:rPr lang="en-US" sz="1000"/>
            </a:br>
            <a:r>
              <a:rPr lang="en-US" sz="1000"/>
              <a:t>are subject to change without notice. This document has been produced solely for informational purposes. All information contained in this document has been compiled and obtained from sources believed to be reliable and credible, but no representation or warranty, express or implied, is made by Zurich Insurance Company Ltd or any of its affiliated companies (Zurich Insurance Group) as to their accuracy or completeness. This document is not intended to be legal, underwriting, financial, investment, or any other type of professional advice. Zurich Insurance Group disclaims any and all liability whatsoever resulting from the use of or reliance upon this document. Nothing express or implied in this document is intended to create legal relations between the reader and any member of Zurich Insurance Group.</a:t>
            </a:r>
          </a:p>
          <a:p>
            <a:pPr marL="0" indent="0">
              <a:buFont typeface="Arial" panose="020B0604020202020204" pitchFamily="34" charset="0"/>
              <a:buNone/>
            </a:pPr>
            <a:r>
              <a:rPr lang="en-US" sz="1000"/>
              <a:t>Certain statements in this document are forward-looking statements, including, but not limited to, statements that are predictions of or indicate future events, trends, plans, developments or objectives. Undue reliance should not be placed on such statements because, by their nature, they are subject to known and unknown risks and uncertainties, and can be affected by numerous unforeseeable factors. The subject matter of this document is also not tied to any specific service offering or an insurance product, nor will it ensure coverage under any insurance policy.</a:t>
            </a:r>
          </a:p>
          <a:p>
            <a:pPr marL="0" indent="0">
              <a:buFont typeface="Arial" panose="020B0604020202020204" pitchFamily="34" charset="0"/>
              <a:buNone/>
            </a:pPr>
            <a:r>
              <a:rPr lang="en-US" sz="1000"/>
              <a:t>This document may not be distributed or reproduced, either in whole or in part, without prior written permission of Zurich Insurance Company Ltd, </a:t>
            </a:r>
            <a:r>
              <a:rPr lang="en-US" sz="1000" err="1"/>
              <a:t>Mythenquai</a:t>
            </a:r>
            <a:r>
              <a:rPr lang="en-US" sz="1000"/>
              <a:t> 2, 8002 Zurich, Switzerland. No member of Zurich Insurance Group accepts any liability for any loss arising from the use or distribution of this document. This document does not constitute an offer or an invitation for the sale or purchase of securities in any jurisdiction. </a:t>
            </a:r>
          </a:p>
          <a:p>
            <a:pPr marL="0" indent="0">
              <a:buFont typeface="Arial" panose="020B0604020202020204" pitchFamily="34" charset="0"/>
              <a:buNone/>
            </a:pPr>
            <a:r>
              <a:rPr lang="en-US" sz="1000">
                <a:latin typeface="+mj-lt"/>
              </a:rPr>
              <a:t>Zurich Resilience Solutions </a:t>
            </a:r>
          </a:p>
        </p:txBody>
      </p:sp>
    </p:spTree>
    <p:extLst>
      <p:ext uri="{BB962C8B-B14F-4D97-AF65-F5344CB8AC3E}">
        <p14:creationId xmlns:p14="http://schemas.microsoft.com/office/powerpoint/2010/main" val="381204044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Agenda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E5769-963A-1E4C-9183-8C898DF4FC4E}"/>
              </a:ext>
            </a:extLst>
          </p:cNvPr>
          <p:cNvSpPr>
            <a:spLocks noGrp="1"/>
          </p:cNvSpPr>
          <p:nvPr>
            <p:ph type="title" hasCustomPrompt="1"/>
          </p:nvPr>
        </p:nvSpPr>
        <p:spPr>
          <a:xfrm>
            <a:off x="347843" y="254181"/>
            <a:ext cx="9855199" cy="332399"/>
          </a:xfrm>
          <a:prstGeom prst="rect">
            <a:avLst/>
          </a:prstGeom>
        </p:spPr>
        <p:txBody>
          <a:bodyPr lIns="0" anchor="t"/>
          <a:lstStyle>
            <a:lvl1pPr>
              <a:defRPr b="0" i="0">
                <a:solidFill>
                  <a:srgbClr val="2167AE"/>
                </a:solidFill>
                <a:latin typeface="Zurich Sans Light" panose="02000000000000000000" pitchFamily="2" charset="0"/>
                <a:cs typeface="Arial" panose="020B0604020202020204" pitchFamily="34" charset="0"/>
              </a:defRPr>
            </a:lvl1pPr>
          </a:lstStyle>
          <a:p>
            <a:r>
              <a:rPr lang="en-GB" noProof="0"/>
              <a:t>Agenda or content page</a:t>
            </a:r>
          </a:p>
        </p:txBody>
      </p:sp>
      <p:sp>
        <p:nvSpPr>
          <p:cNvPr id="6" name="Text Placeholder 16">
            <a:extLst>
              <a:ext uri="{FF2B5EF4-FFF2-40B4-BE49-F238E27FC236}">
                <a16:creationId xmlns:a16="http://schemas.microsoft.com/office/drawing/2014/main" id="{2E48DA8B-B36B-F147-BA19-ADE851F826B3}"/>
              </a:ext>
            </a:extLst>
          </p:cNvPr>
          <p:cNvSpPr>
            <a:spLocks noGrp="1"/>
          </p:cNvSpPr>
          <p:nvPr>
            <p:ph type="body" sz="quarter" idx="15" hasCustomPrompt="1"/>
          </p:nvPr>
        </p:nvSpPr>
        <p:spPr>
          <a:xfrm>
            <a:off x="347845" y="1205222"/>
            <a:ext cx="5603695" cy="5032068"/>
          </a:xfrm>
          <a:prstGeom prst="rect">
            <a:avLst/>
          </a:prstGeom>
        </p:spPr>
        <p:txBody>
          <a:bodyPr lIns="0" rIns="0" anchor="t"/>
          <a:lstStyle>
            <a:lvl1pPr marL="355582" marR="0" indent="-355582" algn="l" defTabSz="914233" rtl="0" eaLnBrk="1" fontAlgn="base" latinLnBrk="0" hangingPunct="1">
              <a:lnSpc>
                <a:spcPct val="150000"/>
              </a:lnSpc>
              <a:spcBef>
                <a:spcPts val="0"/>
              </a:spcBef>
              <a:spcAft>
                <a:spcPts val="300"/>
              </a:spcAft>
              <a:buClr>
                <a:srgbClr val="1C67AF"/>
              </a:buClr>
              <a:buSzPct val="100000"/>
              <a:buFont typeface="+mj-lt"/>
              <a:buAutoNum type="arabicPeriod"/>
              <a:tabLst/>
              <a:defRPr sz="2400" b="0" i="0">
                <a:solidFill>
                  <a:srgbClr val="2167AE"/>
                </a:solidFill>
                <a:latin typeface="Zurich Sans Light" panose="02000000000000000000" pitchFamily="2" charset="0"/>
                <a:cs typeface="Arial" panose="020B0604020202020204" pitchFamily="34" charset="0"/>
              </a:defRPr>
            </a:lvl1pPr>
          </a:lstStyle>
          <a:p>
            <a:pPr lvl="0"/>
            <a:r>
              <a:rPr lang="en-GB" noProof="0"/>
              <a:t>Add title</a:t>
            </a:r>
          </a:p>
          <a:p>
            <a:pPr lvl="0"/>
            <a:r>
              <a:rPr lang="en-GB" noProof="0"/>
              <a:t>Add title</a:t>
            </a:r>
          </a:p>
          <a:p>
            <a:pPr lvl="0"/>
            <a:r>
              <a:rPr lang="en-GB" noProof="0"/>
              <a:t>Add title</a:t>
            </a:r>
          </a:p>
          <a:p>
            <a:pPr lvl="0"/>
            <a:r>
              <a:rPr lang="en-GB" noProof="0"/>
              <a:t>Add title</a:t>
            </a:r>
          </a:p>
          <a:p>
            <a:pPr lvl="0"/>
            <a:r>
              <a:rPr lang="en-GB" noProof="0"/>
              <a:t>Add title</a:t>
            </a:r>
          </a:p>
        </p:txBody>
      </p:sp>
      <p:sp>
        <p:nvSpPr>
          <p:cNvPr id="5" name="Footer Placeholder 4">
            <a:extLst>
              <a:ext uri="{FF2B5EF4-FFF2-40B4-BE49-F238E27FC236}">
                <a16:creationId xmlns:a16="http://schemas.microsoft.com/office/drawing/2014/main" id="{7576DE17-B41F-F94E-8417-AABA2A9152F7}"/>
              </a:ext>
            </a:extLst>
          </p:cNvPr>
          <p:cNvSpPr>
            <a:spLocks noGrp="1"/>
          </p:cNvSpPr>
          <p:nvPr>
            <p:ph type="ftr" sz="quarter" idx="16"/>
          </p:nvPr>
        </p:nvSpPr>
        <p:spPr/>
        <p:txBody>
          <a:bodyPr/>
          <a:lstStyle>
            <a:lvl1pPr algn="r">
              <a:defRPr b="0" i="0">
                <a:solidFill>
                  <a:srgbClr val="2167AE"/>
                </a:solidFill>
              </a:defRPr>
            </a:lvl1pPr>
          </a:lstStyle>
          <a:p>
            <a:endParaRPr lang="en-GB"/>
          </a:p>
        </p:txBody>
      </p:sp>
      <p:sp>
        <p:nvSpPr>
          <p:cNvPr id="7" name="Slide Number Placeholder 6">
            <a:extLst>
              <a:ext uri="{FF2B5EF4-FFF2-40B4-BE49-F238E27FC236}">
                <a16:creationId xmlns:a16="http://schemas.microsoft.com/office/drawing/2014/main" id="{DBFE40F3-EF7C-CF47-84EA-47BCB129D9F5}"/>
              </a:ext>
            </a:extLst>
          </p:cNvPr>
          <p:cNvSpPr>
            <a:spLocks noGrp="1"/>
          </p:cNvSpPr>
          <p:nvPr>
            <p:ph type="sldNum" sz="quarter" idx="17"/>
          </p:nvPr>
        </p:nvSpPr>
        <p:spPr/>
        <p:txBody>
          <a:bodyPr/>
          <a:lstStyle>
            <a:lvl1pPr>
              <a:defRPr b="0" i="0">
                <a:solidFill>
                  <a:srgbClr val="2167AE"/>
                </a:solidFill>
              </a:defRPr>
            </a:lvl1pPr>
          </a:lstStyle>
          <a:p>
            <a:fld id="{D691331D-A62F-41F8-BAEC-0A7727B7C525}" type="slidenum">
              <a:rPr lang="en-GB" smtClean="0"/>
              <a:pPr/>
              <a:t>‹nr.›</a:t>
            </a:fld>
            <a:endParaRPr lang="en-GB"/>
          </a:p>
        </p:txBody>
      </p:sp>
      <p:sp>
        <p:nvSpPr>
          <p:cNvPr id="9" name="Picture Placeholder 2">
            <a:extLst>
              <a:ext uri="{FF2B5EF4-FFF2-40B4-BE49-F238E27FC236}">
                <a16:creationId xmlns:a16="http://schemas.microsoft.com/office/drawing/2014/main" id="{61841F35-BD7E-AE4B-9B53-82E6C29C5827}"/>
              </a:ext>
            </a:extLst>
          </p:cNvPr>
          <p:cNvSpPr>
            <a:spLocks noGrp="1" noChangeAspect="1"/>
          </p:cNvSpPr>
          <p:nvPr>
            <p:ph type="pic" sz="quarter" idx="14" hasCustomPrompt="1"/>
          </p:nvPr>
        </p:nvSpPr>
        <p:spPr>
          <a:xfrm>
            <a:off x="8055920" y="1545069"/>
            <a:ext cx="4320000" cy="4320000"/>
          </a:xfrm>
          <a:prstGeom prst="ellipse">
            <a:avLst/>
          </a:prstGeom>
        </p:spPr>
        <p:txBody>
          <a:bodyPr/>
          <a:lstStyle>
            <a:lvl1pPr algn="ctr">
              <a:buNone/>
              <a:defRPr b="0" i="0">
                <a:solidFill>
                  <a:srgbClr val="1C67AF"/>
                </a:solidFill>
              </a:defRPr>
            </a:lvl1pPr>
          </a:lstStyle>
          <a:p>
            <a:r>
              <a:rPr lang="en-US" noProof="0"/>
              <a:t>Add a picture here</a:t>
            </a:r>
          </a:p>
        </p:txBody>
      </p:sp>
      <p:grpSp>
        <p:nvGrpSpPr>
          <p:cNvPr id="3" name="Group 2">
            <a:extLst>
              <a:ext uri="{FF2B5EF4-FFF2-40B4-BE49-F238E27FC236}">
                <a16:creationId xmlns:a16="http://schemas.microsoft.com/office/drawing/2014/main" id="{6CC09B3A-E93C-E149-A374-61B9A8D28D58}"/>
              </a:ext>
            </a:extLst>
          </p:cNvPr>
          <p:cNvGrpSpPr/>
          <p:nvPr userDrawn="1"/>
        </p:nvGrpSpPr>
        <p:grpSpPr>
          <a:xfrm>
            <a:off x="7421094" y="5019215"/>
            <a:ext cx="2183649" cy="1844535"/>
            <a:chOff x="7524611" y="5013464"/>
            <a:chExt cx="2183649" cy="1844534"/>
          </a:xfrm>
        </p:grpSpPr>
        <p:sp>
          <p:nvSpPr>
            <p:cNvPr id="10" name="Oval 9">
              <a:extLst>
                <a:ext uri="{FF2B5EF4-FFF2-40B4-BE49-F238E27FC236}">
                  <a16:creationId xmlns:a16="http://schemas.microsoft.com/office/drawing/2014/main" id="{A32FC749-5492-9D44-8DC3-3DF24C30EF6E}"/>
                </a:ext>
              </a:extLst>
            </p:cNvPr>
            <p:cNvSpPr>
              <a:spLocks noChangeAspect="1"/>
            </p:cNvSpPr>
            <p:nvPr userDrawn="1"/>
          </p:nvSpPr>
          <p:spPr bwMode="auto">
            <a:xfrm rot="5400000">
              <a:off x="8321519" y="5013651"/>
              <a:ext cx="387076" cy="386702"/>
            </a:xfrm>
            <a:prstGeom prst="ellipse">
              <a:avLst/>
            </a:prstGeom>
            <a:solidFill>
              <a:srgbClr val="1C67AF"/>
            </a:solidFill>
            <a:ln w="9525" cap="flat" cmpd="sng" algn="ctr">
              <a:noFill/>
              <a:prstDash val="solid"/>
              <a:round/>
              <a:headEnd type="none" w="med" len="med"/>
              <a:tailEnd type="none" w="med" len="med"/>
            </a:ln>
            <a:effectLst/>
          </p:spPr>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defTabSz="1625478" fontAlgn="base">
                <a:spcBef>
                  <a:spcPct val="0"/>
                </a:spcBef>
                <a:spcAft>
                  <a:spcPct val="0"/>
                </a:spcAft>
              </a:pPr>
              <a:endParaRPr lang="en-ES" sz="3556">
                <a:latin typeface="Arial" panose="020B0604020202020204" pitchFamily="34" charset="0"/>
              </a:endParaRPr>
            </a:p>
          </p:txBody>
        </p:sp>
        <p:sp>
          <p:nvSpPr>
            <p:cNvPr id="11" name="Freeform 10">
              <a:extLst>
                <a:ext uri="{FF2B5EF4-FFF2-40B4-BE49-F238E27FC236}">
                  <a16:creationId xmlns:a16="http://schemas.microsoft.com/office/drawing/2014/main" id="{51E70F29-D5A7-A64B-AEC0-EE9D552D22BE}"/>
                </a:ext>
              </a:extLst>
            </p:cNvPr>
            <p:cNvSpPr/>
            <p:nvPr userDrawn="1"/>
          </p:nvSpPr>
          <p:spPr bwMode="auto">
            <a:xfrm rot="8315714" flipH="1">
              <a:off x="7524611" y="5487427"/>
              <a:ext cx="1754731" cy="903177"/>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23366E"/>
            </a:solidFill>
            <a:ln w="9525" cap="flat" cmpd="sng" algn="ctr">
              <a:noFill/>
              <a:prstDash val="solid"/>
              <a:round/>
              <a:headEnd type="none" w="med" len="med"/>
              <a:tailEnd type="none" w="med" len="med"/>
            </a:ln>
            <a:effectLst/>
          </p:spPr>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defTabSz="1625478" fontAlgn="base">
                <a:spcBef>
                  <a:spcPct val="0"/>
                </a:spcBef>
                <a:spcAft>
                  <a:spcPct val="0"/>
                </a:spcAft>
              </a:pPr>
              <a:endParaRPr lang="en-ES" sz="3556">
                <a:latin typeface="Arial" panose="020B0604020202020204" pitchFamily="34" charset="0"/>
              </a:endParaRPr>
            </a:p>
          </p:txBody>
        </p:sp>
        <p:sp>
          <p:nvSpPr>
            <p:cNvPr id="12" name="Oval 11">
              <a:extLst>
                <a:ext uri="{FF2B5EF4-FFF2-40B4-BE49-F238E27FC236}">
                  <a16:creationId xmlns:a16="http://schemas.microsoft.com/office/drawing/2014/main" id="{6C9108CF-136E-2642-9CA0-50DB93DDCBFD}"/>
                </a:ext>
              </a:extLst>
            </p:cNvPr>
            <p:cNvSpPr>
              <a:spLocks noChangeAspect="1"/>
            </p:cNvSpPr>
            <p:nvPr userDrawn="1"/>
          </p:nvSpPr>
          <p:spPr bwMode="auto">
            <a:xfrm rot="5400000">
              <a:off x="8792978" y="5942716"/>
              <a:ext cx="915724" cy="914840"/>
            </a:xfrm>
            <a:prstGeom prst="ellipse">
              <a:avLst/>
            </a:prstGeom>
            <a:solidFill>
              <a:srgbClr val="DBD3BC"/>
            </a:solidFill>
            <a:ln w="9525" cap="flat" cmpd="sng" algn="ctr">
              <a:noFill/>
              <a:prstDash val="solid"/>
              <a:round/>
              <a:headEnd type="none" w="med" len="med"/>
              <a:tailEnd type="none" w="med" len="med"/>
            </a:ln>
            <a:effectLst/>
          </p:spPr>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defTabSz="1625478" fontAlgn="base">
                <a:spcBef>
                  <a:spcPct val="0"/>
                </a:spcBef>
                <a:spcAft>
                  <a:spcPct val="0"/>
                </a:spcAft>
              </a:pPr>
              <a:endParaRPr lang="en-ES" sz="3556">
                <a:latin typeface="Arial" panose="020B0604020202020204" pitchFamily="34" charset="0"/>
              </a:endParaRPr>
            </a:p>
          </p:txBody>
        </p:sp>
      </p:grpSp>
    </p:spTree>
    <p:extLst>
      <p:ext uri="{BB962C8B-B14F-4D97-AF65-F5344CB8AC3E}">
        <p14:creationId xmlns:p14="http://schemas.microsoft.com/office/powerpoint/2010/main" val="143900997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_Dark">
    <p:bg>
      <p:bgPr>
        <a:solidFill>
          <a:schemeClr val="accent6">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34963" y="1103217"/>
            <a:ext cx="6652611" cy="2242079"/>
          </a:xfrm>
        </p:spPr>
        <p:txBody>
          <a:bodyPr anchor="b">
            <a:normAutofit/>
          </a:bodyPr>
          <a:lstStyle>
            <a:lvl1pPr algn="l">
              <a:defRPr sz="3600">
                <a:solidFill>
                  <a:schemeClr val="accent6"/>
                </a:solidFill>
                <a:latin typeface="+mj-lt"/>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34963" y="3437370"/>
            <a:ext cx="5692031" cy="1283999"/>
          </a:xfrm>
        </p:spPr>
        <p:txBody>
          <a:bodyPr>
            <a:normAutofit/>
          </a:bodyPr>
          <a:lstStyle>
            <a:lvl1pPr marL="0" indent="0" algn="l">
              <a:buNone/>
              <a:defRPr sz="2800">
                <a:solidFill>
                  <a:schemeClr val="accent6"/>
                </a:solidFill>
                <a:latin typeface="+mn-lt"/>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Oval 9" hidden="1">
            <a:extLst>
              <a:ext uri="{FF2B5EF4-FFF2-40B4-BE49-F238E27FC236}">
                <a16:creationId xmlns:a16="http://schemas.microsoft.com/office/drawing/2014/main" id="{DCD6D046-9E8A-417B-B758-A6E20A0FE31C}"/>
              </a:ext>
            </a:extLst>
          </p:cNvPr>
          <p:cNvSpPr/>
          <p:nvPr userDrawn="1"/>
        </p:nvSpPr>
        <p:spPr bwMode="auto">
          <a:xfrm>
            <a:off x="6787134" y="5399389"/>
            <a:ext cx="547941" cy="547483"/>
          </a:xfrm>
          <a:prstGeom prst="ellipse">
            <a:avLst/>
          </a:pr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33"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mn-lt"/>
              <a:cs typeface="Arial" panose="020B0604020202020204" pitchFamily="34" charset="0"/>
            </a:endParaRPr>
          </a:p>
        </p:txBody>
      </p:sp>
      <p:sp>
        <p:nvSpPr>
          <p:cNvPr id="11" name="Freeform 8" hidden="1">
            <a:extLst>
              <a:ext uri="{FF2B5EF4-FFF2-40B4-BE49-F238E27FC236}">
                <a16:creationId xmlns:a16="http://schemas.microsoft.com/office/drawing/2014/main" id="{977530C5-2DE6-44CA-8A8F-019E4D7C204F}"/>
              </a:ext>
            </a:extLst>
          </p:cNvPr>
          <p:cNvSpPr/>
          <p:nvPr userDrawn="1"/>
        </p:nvSpPr>
        <p:spPr bwMode="auto">
          <a:xfrm>
            <a:off x="5929177" y="5949896"/>
            <a:ext cx="1802643" cy="908104"/>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33"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mn-lt"/>
              <a:cs typeface="Arial" panose="020B0604020202020204" pitchFamily="34" charset="0"/>
            </a:endParaRPr>
          </a:p>
        </p:txBody>
      </p:sp>
      <p:sp>
        <p:nvSpPr>
          <p:cNvPr id="12" name="Freeform 10" hidden="1">
            <a:extLst>
              <a:ext uri="{FF2B5EF4-FFF2-40B4-BE49-F238E27FC236}">
                <a16:creationId xmlns:a16="http://schemas.microsoft.com/office/drawing/2014/main" id="{CBDF7E11-8F3D-4306-A7C9-3CBBFA98620F}"/>
              </a:ext>
            </a:extLst>
          </p:cNvPr>
          <p:cNvSpPr/>
          <p:nvPr userDrawn="1"/>
        </p:nvSpPr>
        <p:spPr bwMode="auto">
          <a:xfrm rot="7933215">
            <a:off x="6018217" y="4998609"/>
            <a:ext cx="1201179" cy="604951"/>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33"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mn-lt"/>
              <a:cs typeface="Arial" panose="020B0604020202020204" pitchFamily="34" charset="0"/>
            </a:endParaRPr>
          </a:p>
        </p:txBody>
      </p:sp>
      <p:sp>
        <p:nvSpPr>
          <p:cNvPr id="20" name="Date Name Organization">
            <a:extLst>
              <a:ext uri="{FF2B5EF4-FFF2-40B4-BE49-F238E27FC236}">
                <a16:creationId xmlns:a16="http://schemas.microsoft.com/office/drawing/2014/main" id="{B679C166-F3F4-4469-BDA4-0521529C846E}"/>
              </a:ext>
            </a:extLst>
          </p:cNvPr>
          <p:cNvSpPr>
            <a:spLocks noGrp="1"/>
          </p:cNvSpPr>
          <p:nvPr>
            <p:ph type="body" sz="quarter" idx="14" hasCustomPrompt="1"/>
          </p:nvPr>
        </p:nvSpPr>
        <p:spPr>
          <a:xfrm>
            <a:off x="334963" y="4913252"/>
            <a:ext cx="5182447" cy="1056000"/>
          </a:xfrm>
        </p:spPr>
        <p:txBody>
          <a:bodyPr anchor="b"/>
          <a:lstStyle>
            <a:lvl1pPr marL="0" indent="0">
              <a:spcAft>
                <a:spcPts val="133"/>
              </a:spcAft>
              <a:buNone/>
              <a:defRPr sz="1200">
                <a:solidFill>
                  <a:schemeClr val="accent6"/>
                </a:solidFill>
                <a:latin typeface="+mn-lt"/>
                <a:cs typeface="Arial" panose="020B0604020202020204" pitchFamily="34" charset="0"/>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Date]</a:t>
            </a:r>
            <a:br>
              <a:rPr lang="en-US"/>
            </a:br>
            <a:r>
              <a:rPr lang="en-US"/>
              <a:t>[Name of moderator]</a:t>
            </a:r>
            <a:br>
              <a:rPr lang="en-US"/>
            </a:br>
            <a:r>
              <a:rPr lang="en-US"/>
              <a:t>[Organizational Unit]</a:t>
            </a:r>
          </a:p>
        </p:txBody>
      </p:sp>
      <p:sp>
        <p:nvSpPr>
          <p:cNvPr id="23" name="TextBox 22">
            <a:extLst>
              <a:ext uri="{FF2B5EF4-FFF2-40B4-BE49-F238E27FC236}">
                <a16:creationId xmlns:a16="http://schemas.microsoft.com/office/drawing/2014/main" id="{F693D7AA-4B02-44F3-849A-D51D7F7A9CD0}"/>
              </a:ext>
            </a:extLst>
          </p:cNvPr>
          <p:cNvSpPr txBox="1"/>
          <p:nvPr userDrawn="1"/>
        </p:nvSpPr>
        <p:spPr>
          <a:xfrm>
            <a:off x="11158232" y="6531717"/>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solidFill>
                  <a:schemeClr val="accent6"/>
                </a:solidFill>
                <a:latin typeface="+mn-lt"/>
                <a:cs typeface="Arial" panose="020B0604020202020204" pitchFamily="34" charset="0"/>
              </a:rPr>
              <a:t>© Zurich</a:t>
            </a:r>
          </a:p>
        </p:txBody>
      </p:sp>
      <p:pic>
        <p:nvPicPr>
          <p:cNvPr id="15" name="Graphic 14">
            <a:extLst>
              <a:ext uri="{FF2B5EF4-FFF2-40B4-BE49-F238E27FC236}">
                <a16:creationId xmlns:a16="http://schemas.microsoft.com/office/drawing/2014/main" id="{04A0B271-EFAF-457E-BE67-D473B359A5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4661" y="306000"/>
            <a:ext cx="1500251" cy="498141"/>
          </a:xfrm>
          <a:prstGeom prst="rect">
            <a:avLst/>
          </a:prstGeom>
        </p:spPr>
      </p:pic>
      <p:sp>
        <p:nvSpPr>
          <p:cNvPr id="16" name="Picture Placeholder 23">
            <a:extLst>
              <a:ext uri="{FF2B5EF4-FFF2-40B4-BE49-F238E27FC236}">
                <a16:creationId xmlns:a16="http://schemas.microsoft.com/office/drawing/2014/main" id="{959F76B3-4BF9-47BD-8C9F-FE31FE12871A}"/>
              </a:ext>
            </a:extLst>
          </p:cNvPr>
          <p:cNvSpPr>
            <a:spLocks noGrp="1" noChangeAspect="1"/>
          </p:cNvSpPr>
          <p:nvPr>
            <p:ph type="pic" sz="quarter" idx="19"/>
          </p:nvPr>
        </p:nvSpPr>
        <p:spPr>
          <a:xfrm>
            <a:off x="6674593" y="-6758"/>
            <a:ext cx="5495425" cy="5496007"/>
          </a:xfrm>
          <a:custGeom>
            <a:avLst/>
            <a:gdLst>
              <a:gd name="connsiteX0" fmla="*/ 991609 w 1983218"/>
              <a:gd name="connsiteY0" fmla="*/ 0 h 1983428"/>
              <a:gd name="connsiteX1" fmla="*/ 1983218 w 1983218"/>
              <a:gd name="connsiteY1" fmla="*/ 991609 h 1983428"/>
              <a:gd name="connsiteX2" fmla="*/ 991399 w 1983218"/>
              <a:gd name="connsiteY2" fmla="*/ 1983428 h 1983428"/>
              <a:gd name="connsiteX3" fmla="*/ 237390 w 1983218"/>
              <a:gd name="connsiteY3" fmla="*/ 1635494 h 1983428"/>
              <a:gd name="connsiteX4" fmla="*/ 287345 w 1983218"/>
              <a:gd name="connsiteY4" fmla="*/ 1620941 h 1983428"/>
              <a:gd name="connsiteX5" fmla="*/ 339399 w 1983218"/>
              <a:gd name="connsiteY5" fmla="*/ 1616744 h 1983428"/>
              <a:gd name="connsiteX6" fmla="*/ 446934 w 1983218"/>
              <a:gd name="connsiteY6" fmla="*/ 1627798 h 1983428"/>
              <a:gd name="connsiteX7" fmla="*/ 538448 w 1983218"/>
              <a:gd name="connsiteY7" fmla="*/ 1637663 h 1983428"/>
              <a:gd name="connsiteX8" fmla="*/ 542996 w 1983218"/>
              <a:gd name="connsiteY8" fmla="*/ 1637593 h 1983428"/>
              <a:gd name="connsiteX9" fmla="*/ 620377 w 1983218"/>
              <a:gd name="connsiteY9" fmla="*/ 1612126 h 1983428"/>
              <a:gd name="connsiteX10" fmla="*/ 672640 w 1983218"/>
              <a:gd name="connsiteY10" fmla="*/ 1542861 h 1983428"/>
              <a:gd name="connsiteX11" fmla="*/ 686703 w 1983218"/>
              <a:gd name="connsiteY11" fmla="*/ 1502981 h 1983428"/>
              <a:gd name="connsiteX12" fmla="*/ 672570 w 1983218"/>
              <a:gd name="connsiteY12" fmla="*/ 1499413 h 1983428"/>
              <a:gd name="connsiteX13" fmla="*/ 667883 w 1983218"/>
              <a:gd name="connsiteY13" fmla="*/ 1508928 h 1983428"/>
              <a:gd name="connsiteX14" fmla="*/ 620517 w 1983218"/>
              <a:gd name="connsiteY14" fmla="*/ 1562941 h 1983428"/>
              <a:gd name="connsiteX15" fmla="*/ 586304 w 1983218"/>
              <a:gd name="connsiteY15" fmla="*/ 1579382 h 1983428"/>
              <a:gd name="connsiteX16" fmla="*/ 530752 w 1983218"/>
              <a:gd name="connsiteY16" fmla="*/ 1586029 h 1983428"/>
              <a:gd name="connsiteX17" fmla="*/ 488703 w 1983218"/>
              <a:gd name="connsiteY17" fmla="*/ 1584560 h 1983428"/>
              <a:gd name="connsiteX18" fmla="*/ 441757 w 1983218"/>
              <a:gd name="connsiteY18" fmla="*/ 1581621 h 1983428"/>
              <a:gd name="connsiteX19" fmla="*/ 392992 w 1983218"/>
              <a:gd name="connsiteY19" fmla="*/ 1579662 h 1983428"/>
              <a:gd name="connsiteX20" fmla="*/ 355001 w 1983218"/>
              <a:gd name="connsiteY20" fmla="*/ 1581551 h 1983428"/>
              <a:gd name="connsiteX21" fmla="*/ 619327 w 1983218"/>
              <a:gd name="connsiteY21" fmla="*/ 1228160 h 1983428"/>
              <a:gd name="connsiteX22" fmla="*/ 286715 w 1983218"/>
              <a:gd name="connsiteY22" fmla="*/ 1228160 h 1983428"/>
              <a:gd name="connsiteX23" fmla="*/ 260688 w 1983218"/>
              <a:gd name="connsiteY23" fmla="*/ 1328349 h 1983428"/>
              <a:gd name="connsiteX24" fmla="*/ 276221 w 1983218"/>
              <a:gd name="connsiteY24" fmla="*/ 1331847 h 1983428"/>
              <a:gd name="connsiteX25" fmla="*/ 280558 w 1983218"/>
              <a:gd name="connsiteY25" fmla="*/ 1323592 h 1983428"/>
              <a:gd name="connsiteX26" fmla="*/ 313092 w 1983218"/>
              <a:gd name="connsiteY26" fmla="*/ 1284901 h 1983428"/>
              <a:gd name="connsiteX27" fmla="*/ 345625 w 1983218"/>
              <a:gd name="connsiteY27" fmla="*/ 1271608 h 1983428"/>
              <a:gd name="connsiteX28" fmla="*/ 424825 w 1983218"/>
              <a:gd name="connsiteY28" fmla="*/ 1265451 h 1983428"/>
              <a:gd name="connsiteX29" fmla="*/ 453161 w 1983218"/>
              <a:gd name="connsiteY29" fmla="*/ 1265521 h 1983428"/>
              <a:gd name="connsiteX30" fmla="*/ 481777 w 1983218"/>
              <a:gd name="connsiteY30" fmla="*/ 1265451 h 1983428"/>
              <a:gd name="connsiteX31" fmla="*/ 218150 w 1983218"/>
              <a:gd name="connsiteY31" fmla="*/ 1611846 h 1983428"/>
              <a:gd name="connsiteX32" fmla="*/ 0 w 1983218"/>
              <a:gd name="connsiteY32" fmla="*/ 991609 h 1983428"/>
              <a:gd name="connsiteX33" fmla="*/ 991609 w 1983218"/>
              <a:gd name="connsiteY33" fmla="*/ 0 h 198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83218" h="1983428">
                <a:moveTo>
                  <a:pt x="991609" y="0"/>
                </a:moveTo>
                <a:cubicBezTo>
                  <a:pt x="1539293" y="0"/>
                  <a:pt x="1983218" y="443996"/>
                  <a:pt x="1983218" y="991609"/>
                </a:cubicBezTo>
                <a:cubicBezTo>
                  <a:pt x="1983218" y="1539293"/>
                  <a:pt x="1539293" y="1983218"/>
                  <a:pt x="991399" y="1983428"/>
                </a:cubicBezTo>
                <a:cubicBezTo>
                  <a:pt x="689502" y="1983428"/>
                  <a:pt x="419298" y="1848327"/>
                  <a:pt x="237390" y="1635494"/>
                </a:cubicBezTo>
                <a:cubicBezTo>
                  <a:pt x="256211" y="1627098"/>
                  <a:pt x="265516" y="1624370"/>
                  <a:pt x="287345" y="1620941"/>
                </a:cubicBezTo>
                <a:cubicBezTo>
                  <a:pt x="304696" y="1618073"/>
                  <a:pt x="321418" y="1616744"/>
                  <a:pt x="339399" y="1616744"/>
                </a:cubicBezTo>
                <a:cubicBezTo>
                  <a:pt x="366265" y="1616744"/>
                  <a:pt x="393481" y="1619542"/>
                  <a:pt x="446934" y="1627798"/>
                </a:cubicBezTo>
                <a:cubicBezTo>
                  <a:pt x="499548" y="1635844"/>
                  <a:pt x="516479" y="1637663"/>
                  <a:pt x="538448" y="1637663"/>
                </a:cubicBezTo>
                <a:lnTo>
                  <a:pt x="542996" y="1637593"/>
                </a:lnTo>
                <a:cubicBezTo>
                  <a:pt x="572661" y="1637103"/>
                  <a:pt x="597708" y="1628917"/>
                  <a:pt x="620377" y="1612126"/>
                </a:cubicBezTo>
                <a:cubicBezTo>
                  <a:pt x="642416" y="1595824"/>
                  <a:pt x="658437" y="1574555"/>
                  <a:pt x="672640" y="1542861"/>
                </a:cubicBezTo>
                <a:cubicBezTo>
                  <a:pt x="679707" y="1527189"/>
                  <a:pt x="682086" y="1520472"/>
                  <a:pt x="686703" y="1502981"/>
                </a:cubicBezTo>
                <a:lnTo>
                  <a:pt x="672570" y="1499413"/>
                </a:lnTo>
                <a:cubicBezTo>
                  <a:pt x="670681" y="1503681"/>
                  <a:pt x="668932" y="1506829"/>
                  <a:pt x="667883" y="1508928"/>
                </a:cubicBezTo>
                <a:cubicBezTo>
                  <a:pt x="657108" y="1529568"/>
                  <a:pt x="639057" y="1550067"/>
                  <a:pt x="620517" y="1562941"/>
                </a:cubicBezTo>
                <a:cubicBezTo>
                  <a:pt x="609882" y="1570077"/>
                  <a:pt x="598408" y="1575674"/>
                  <a:pt x="586304" y="1579382"/>
                </a:cubicBezTo>
                <a:cubicBezTo>
                  <a:pt x="570702" y="1584140"/>
                  <a:pt x="554960" y="1586029"/>
                  <a:pt x="530752" y="1586029"/>
                </a:cubicBezTo>
                <a:cubicBezTo>
                  <a:pt x="519907" y="1586029"/>
                  <a:pt x="505565" y="1585539"/>
                  <a:pt x="488703" y="1584560"/>
                </a:cubicBezTo>
                <a:lnTo>
                  <a:pt x="441757" y="1581621"/>
                </a:lnTo>
                <a:cubicBezTo>
                  <a:pt x="419998" y="1580362"/>
                  <a:pt x="403696" y="1579662"/>
                  <a:pt x="392992" y="1579662"/>
                </a:cubicBezTo>
                <a:cubicBezTo>
                  <a:pt x="379069" y="1579662"/>
                  <a:pt x="372142" y="1580012"/>
                  <a:pt x="355001" y="1581551"/>
                </a:cubicBezTo>
                <a:lnTo>
                  <a:pt x="619327" y="1228160"/>
                </a:lnTo>
                <a:lnTo>
                  <a:pt x="286715" y="1228160"/>
                </a:lnTo>
                <a:lnTo>
                  <a:pt x="260688" y="1328349"/>
                </a:lnTo>
                <a:lnTo>
                  <a:pt x="276221" y="1331847"/>
                </a:lnTo>
                <a:cubicBezTo>
                  <a:pt x="278110" y="1327999"/>
                  <a:pt x="279579" y="1325411"/>
                  <a:pt x="280558" y="1323592"/>
                </a:cubicBezTo>
                <a:cubicBezTo>
                  <a:pt x="289234" y="1308059"/>
                  <a:pt x="302527" y="1292317"/>
                  <a:pt x="313092" y="1284901"/>
                </a:cubicBezTo>
                <a:cubicBezTo>
                  <a:pt x="322117" y="1278534"/>
                  <a:pt x="333172" y="1274057"/>
                  <a:pt x="345625" y="1271608"/>
                </a:cubicBezTo>
                <a:cubicBezTo>
                  <a:pt x="366125" y="1267620"/>
                  <a:pt x="394531" y="1265451"/>
                  <a:pt x="424825" y="1265451"/>
                </a:cubicBezTo>
                <a:lnTo>
                  <a:pt x="453161" y="1265521"/>
                </a:lnTo>
                <a:lnTo>
                  <a:pt x="481777" y="1265451"/>
                </a:lnTo>
                <a:lnTo>
                  <a:pt x="218150" y="1611846"/>
                </a:lnTo>
                <a:cubicBezTo>
                  <a:pt x="81789" y="1441972"/>
                  <a:pt x="0" y="1226411"/>
                  <a:pt x="0" y="991609"/>
                </a:cubicBezTo>
                <a:cubicBezTo>
                  <a:pt x="0" y="443996"/>
                  <a:pt x="443996" y="0"/>
                  <a:pt x="991609" y="0"/>
                </a:cubicBezTo>
                <a:close/>
              </a:path>
            </a:pathLst>
          </a:custGeom>
        </p:spPr>
        <p:txBody>
          <a:bodyPr wrap="square">
            <a:noAutofit/>
          </a:bodyPr>
          <a:lstStyle>
            <a:lvl1pPr marL="0" indent="0" algn="ctr">
              <a:buNone/>
              <a:defRPr>
                <a:latin typeface="+mn-lt"/>
                <a:cs typeface="Arial" panose="020B0604020202020204" pitchFamily="34" charset="0"/>
              </a:defRPr>
            </a:lvl1pPr>
          </a:lstStyle>
          <a:p>
            <a:r>
              <a:rPr lang="en-US"/>
              <a:t>Click icon to add picture</a:t>
            </a:r>
          </a:p>
        </p:txBody>
      </p:sp>
      <p:sp>
        <p:nvSpPr>
          <p:cNvPr id="24" name="Freeform 8">
            <a:extLst>
              <a:ext uri="{FF2B5EF4-FFF2-40B4-BE49-F238E27FC236}">
                <a16:creationId xmlns:a16="http://schemas.microsoft.com/office/drawing/2014/main" id="{7082D5D3-9C07-402D-83A1-8EC90ABED543}"/>
              </a:ext>
            </a:extLst>
          </p:cNvPr>
          <p:cNvSpPr/>
          <p:nvPr userDrawn="1"/>
        </p:nvSpPr>
        <p:spPr bwMode="auto">
          <a:xfrm>
            <a:off x="8515904" y="6230171"/>
            <a:ext cx="1246283" cy="627831"/>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6"/>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33"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mn-lt"/>
              <a:cs typeface="Arial" panose="020B0604020202020204" pitchFamily="34" charset="0"/>
            </a:endParaRPr>
          </a:p>
        </p:txBody>
      </p:sp>
      <p:sp>
        <p:nvSpPr>
          <p:cNvPr id="25" name="Oval 24">
            <a:extLst>
              <a:ext uri="{FF2B5EF4-FFF2-40B4-BE49-F238E27FC236}">
                <a16:creationId xmlns:a16="http://schemas.microsoft.com/office/drawing/2014/main" id="{2CA5E853-12D8-4B7E-A764-72119EAC6774}"/>
              </a:ext>
            </a:extLst>
          </p:cNvPr>
          <p:cNvSpPr/>
          <p:nvPr userDrawn="1"/>
        </p:nvSpPr>
        <p:spPr>
          <a:xfrm>
            <a:off x="9028925" y="5489250"/>
            <a:ext cx="742367" cy="74236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000"/>
          </a:p>
        </p:txBody>
      </p:sp>
      <p:sp>
        <p:nvSpPr>
          <p:cNvPr id="26" name="Freeform 8">
            <a:extLst>
              <a:ext uri="{FF2B5EF4-FFF2-40B4-BE49-F238E27FC236}">
                <a16:creationId xmlns:a16="http://schemas.microsoft.com/office/drawing/2014/main" id="{5F5B068D-2F6D-4C5E-BB64-DF4F4F274030}"/>
              </a:ext>
            </a:extLst>
          </p:cNvPr>
          <p:cNvSpPr/>
          <p:nvPr userDrawn="1"/>
        </p:nvSpPr>
        <p:spPr bwMode="auto">
          <a:xfrm rot="7200000">
            <a:off x="7432298" y="5567487"/>
            <a:ext cx="1570519" cy="79116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indent="0" algn="l" defTabSz="914233"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solidFill>
                <a:schemeClr val="accent6"/>
              </a:solidFill>
              <a:effectLst/>
              <a:latin typeface="+mn-lt"/>
              <a:cs typeface="Arial" panose="020B0604020202020204" pitchFamily="34" charset="0"/>
            </a:endParaRPr>
          </a:p>
        </p:txBody>
      </p:sp>
    </p:spTree>
    <p:extLst>
      <p:ext uri="{BB962C8B-B14F-4D97-AF65-F5344CB8AC3E}">
        <p14:creationId xmlns:p14="http://schemas.microsoft.com/office/powerpoint/2010/main" val="6380507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_Light">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34963" y="1118718"/>
            <a:ext cx="6646636" cy="2242079"/>
          </a:xfrm>
        </p:spPr>
        <p:txBody>
          <a:bodyPr anchor="b">
            <a:normAutofit/>
          </a:bodyPr>
          <a:lstStyle>
            <a:lvl1pPr algn="l">
              <a:defRPr sz="3600">
                <a:solidFill>
                  <a:schemeClr val="accent1"/>
                </a:solidFill>
                <a:latin typeface="+mj-lt"/>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34965" y="3452873"/>
            <a:ext cx="5686055" cy="1283999"/>
          </a:xfrm>
        </p:spPr>
        <p:txBody>
          <a:bodyPr>
            <a:normAutofit/>
          </a:bodyPr>
          <a:lstStyle>
            <a:lvl1pPr marL="0" indent="0" algn="l">
              <a:buNone/>
              <a:defRPr sz="2000">
                <a:solidFill>
                  <a:schemeClr val="accent1"/>
                </a:solidFill>
                <a:latin typeface="+mn-lt"/>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2" name="Picture Placeholder 2">
            <a:extLst>
              <a:ext uri="{FF2B5EF4-FFF2-40B4-BE49-F238E27FC236}">
                <a16:creationId xmlns:a16="http://schemas.microsoft.com/office/drawing/2014/main" id="{8C38856E-DF0D-49BD-A0AF-37F515F1D5FF}"/>
              </a:ext>
            </a:extLst>
          </p:cNvPr>
          <p:cNvSpPr>
            <a:spLocks noGrp="1"/>
          </p:cNvSpPr>
          <p:nvPr>
            <p:ph type="pic" sz="quarter" idx="13" hasCustomPrompt="1"/>
          </p:nvPr>
        </p:nvSpPr>
        <p:spPr>
          <a:xfrm>
            <a:off x="7154052" y="1818873"/>
            <a:ext cx="5040000" cy="5040000"/>
          </a:xfrm>
          <a:prstGeom prst="ellipse">
            <a:avLst/>
          </a:prstGeom>
        </p:spPr>
        <p:txBody>
          <a:bodyPr/>
          <a:lstStyle>
            <a:lvl1pPr algn="ctr">
              <a:buNone/>
              <a:defRPr b="0" i="0">
                <a:solidFill>
                  <a:schemeClr val="accent1"/>
                </a:solidFill>
                <a:latin typeface="+mn-lt"/>
                <a:cs typeface="Arial" panose="020B0604020202020204" pitchFamily="34" charset="0"/>
              </a:defRPr>
            </a:lvl1pPr>
          </a:lstStyle>
          <a:p>
            <a:r>
              <a:rPr lang="en-US" noProof="0"/>
              <a:t>Add a picture here</a:t>
            </a:r>
          </a:p>
        </p:txBody>
      </p:sp>
      <p:sp>
        <p:nvSpPr>
          <p:cNvPr id="20" name="Date Name Organization">
            <a:extLst>
              <a:ext uri="{FF2B5EF4-FFF2-40B4-BE49-F238E27FC236}">
                <a16:creationId xmlns:a16="http://schemas.microsoft.com/office/drawing/2014/main" id="{B679C166-F3F4-4469-BDA4-0521529C846E}"/>
              </a:ext>
            </a:extLst>
          </p:cNvPr>
          <p:cNvSpPr>
            <a:spLocks noGrp="1"/>
          </p:cNvSpPr>
          <p:nvPr>
            <p:ph type="body" sz="quarter" idx="14" hasCustomPrompt="1"/>
          </p:nvPr>
        </p:nvSpPr>
        <p:spPr>
          <a:xfrm>
            <a:off x="334963" y="4923645"/>
            <a:ext cx="5167847" cy="1056000"/>
          </a:xfrm>
        </p:spPr>
        <p:txBody>
          <a:bodyPr anchor="b"/>
          <a:lstStyle>
            <a:lvl1pPr marL="0" indent="0">
              <a:spcAft>
                <a:spcPts val="133"/>
              </a:spcAft>
              <a:buNone/>
              <a:defRPr sz="1200">
                <a:solidFill>
                  <a:schemeClr val="accent1"/>
                </a:solidFill>
                <a:latin typeface="+mn-lt"/>
                <a:cs typeface="Arial" panose="020B0604020202020204" pitchFamily="34" charset="0"/>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Date]</a:t>
            </a:r>
            <a:br>
              <a:rPr lang="en-US"/>
            </a:br>
            <a:r>
              <a:rPr lang="en-US"/>
              <a:t>[Name of moderator]</a:t>
            </a:r>
            <a:br>
              <a:rPr lang="en-US"/>
            </a:br>
            <a:r>
              <a:rPr lang="en-US"/>
              <a:t>[Organizational Unit]</a:t>
            </a:r>
          </a:p>
        </p:txBody>
      </p:sp>
      <p:sp>
        <p:nvSpPr>
          <p:cNvPr id="23" name="TextBox 22">
            <a:extLst>
              <a:ext uri="{FF2B5EF4-FFF2-40B4-BE49-F238E27FC236}">
                <a16:creationId xmlns:a16="http://schemas.microsoft.com/office/drawing/2014/main" id="{95DF63F8-7348-45DD-B78C-876296E376FC}"/>
              </a:ext>
            </a:extLst>
          </p:cNvPr>
          <p:cNvSpPr txBox="1"/>
          <p:nvPr userDrawn="1"/>
        </p:nvSpPr>
        <p:spPr>
          <a:xfrm>
            <a:off x="11158232" y="6531717"/>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pic>
        <p:nvPicPr>
          <p:cNvPr id="18" name="Graphic 17">
            <a:extLst>
              <a:ext uri="{FF2B5EF4-FFF2-40B4-BE49-F238E27FC236}">
                <a16:creationId xmlns:a16="http://schemas.microsoft.com/office/drawing/2014/main" id="{E1BE7975-669B-4395-A4BA-BAF0A898DF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4661" y="306000"/>
            <a:ext cx="1500251" cy="498141"/>
          </a:xfrm>
          <a:prstGeom prst="rect">
            <a:avLst/>
          </a:prstGeom>
        </p:spPr>
      </p:pic>
    </p:spTree>
    <p:extLst>
      <p:ext uri="{BB962C8B-B14F-4D97-AF65-F5344CB8AC3E}">
        <p14:creationId xmlns:p14="http://schemas.microsoft.com/office/powerpoint/2010/main" val="23152051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34801" y="1205995"/>
            <a:ext cx="11503103" cy="5031295"/>
          </a:xfrm>
        </p:spPr>
        <p:txBody>
          <a:bodyPr/>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9FBF581-E754-574B-A309-6F2FB382E481}"/>
              </a:ext>
            </a:extLst>
          </p:cNvPr>
          <p:cNvSpPr>
            <a:spLocks noGrp="1"/>
          </p:cNvSpPr>
          <p:nvPr>
            <p:ph type="title"/>
          </p:nvPr>
        </p:nvSpPr>
        <p:spPr>
          <a:xfrm>
            <a:off x="334801" y="260270"/>
            <a:ext cx="9485137" cy="332399"/>
          </a:xfrm>
        </p:spPr>
        <p:txBody>
          <a:bodyPr wrap="square">
            <a:spAutoFit/>
          </a:bodyPr>
          <a:lstStyle>
            <a:lvl1pPr>
              <a:defRPr>
                <a:latin typeface="+mj-lt"/>
                <a:cs typeface="Arial" panose="020B0604020202020204" pitchFamily="34" charset="0"/>
              </a:defRPr>
            </a:lvl1pPr>
          </a:lstStyle>
          <a:p>
            <a:r>
              <a:rPr lang="en-US"/>
              <a:t>Click to edit Master title style</a:t>
            </a:r>
          </a:p>
        </p:txBody>
      </p:sp>
      <p:sp>
        <p:nvSpPr>
          <p:cNvPr id="22" name="Subtitle 2">
            <a:extLst>
              <a:ext uri="{FF2B5EF4-FFF2-40B4-BE49-F238E27FC236}">
                <a16:creationId xmlns:a16="http://schemas.microsoft.com/office/drawing/2014/main" id="{60580A64-4AC1-D547-A7C8-FF2A5434D2C5}"/>
              </a:ext>
            </a:extLst>
          </p:cNvPr>
          <p:cNvSpPr>
            <a:spLocks noGrp="1"/>
          </p:cNvSpPr>
          <p:nvPr>
            <p:ph type="subTitle" idx="13"/>
          </p:nvPr>
        </p:nvSpPr>
        <p:spPr>
          <a:xfrm>
            <a:off x="334801" y="610598"/>
            <a:ext cx="9485137"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46" indent="0" algn="ctr">
              <a:buNone/>
              <a:defRPr>
                <a:solidFill>
                  <a:schemeClr val="tx1">
                    <a:tint val="75000"/>
                  </a:schemeClr>
                </a:solidFill>
              </a:defRPr>
            </a:lvl2pPr>
            <a:lvl3pPr marL="685692" indent="0" algn="ctr">
              <a:buNone/>
              <a:defRPr>
                <a:solidFill>
                  <a:schemeClr val="tx1">
                    <a:tint val="75000"/>
                  </a:schemeClr>
                </a:solidFill>
              </a:defRPr>
            </a:lvl3pPr>
            <a:lvl4pPr marL="1028537" indent="0" algn="ctr">
              <a:buNone/>
              <a:defRPr>
                <a:solidFill>
                  <a:schemeClr val="tx1">
                    <a:tint val="75000"/>
                  </a:schemeClr>
                </a:solidFill>
              </a:defRPr>
            </a:lvl4pPr>
            <a:lvl5pPr marL="1371383" indent="0" algn="ctr">
              <a:buNone/>
              <a:defRPr>
                <a:solidFill>
                  <a:schemeClr val="tx1">
                    <a:tint val="75000"/>
                  </a:schemeClr>
                </a:solidFill>
              </a:defRPr>
            </a:lvl5pPr>
            <a:lvl6pPr marL="1714228" indent="0" algn="ctr">
              <a:buNone/>
              <a:defRPr>
                <a:solidFill>
                  <a:schemeClr val="tx1">
                    <a:tint val="75000"/>
                  </a:schemeClr>
                </a:solidFill>
              </a:defRPr>
            </a:lvl6pPr>
            <a:lvl7pPr marL="2057075" indent="0" algn="ctr">
              <a:buNone/>
              <a:defRPr>
                <a:solidFill>
                  <a:schemeClr val="tx1">
                    <a:tint val="75000"/>
                  </a:schemeClr>
                </a:solidFill>
              </a:defRPr>
            </a:lvl7pPr>
            <a:lvl8pPr marL="2399920" indent="0" algn="ctr">
              <a:buNone/>
              <a:defRPr>
                <a:solidFill>
                  <a:schemeClr val="tx1">
                    <a:tint val="75000"/>
                  </a:schemeClr>
                </a:solidFill>
              </a:defRPr>
            </a:lvl8pPr>
            <a:lvl9pPr marL="2742766" indent="0" algn="ctr">
              <a:buNone/>
              <a:defRPr>
                <a:solidFill>
                  <a:schemeClr val="tx1">
                    <a:tint val="75000"/>
                  </a:schemeClr>
                </a:solidFill>
              </a:defRPr>
            </a:lvl9pPr>
          </a:lstStyle>
          <a:p>
            <a:r>
              <a:rPr lang="en-US"/>
              <a:t>Click to edit Master subtitle style</a:t>
            </a:r>
            <a:endParaRPr lang="en-GB" noProof="0"/>
          </a:p>
        </p:txBody>
      </p:sp>
      <p:sp>
        <p:nvSpPr>
          <p:cNvPr id="18" name="Slide Number Placeholder 5">
            <a:extLst>
              <a:ext uri="{FF2B5EF4-FFF2-40B4-BE49-F238E27FC236}">
                <a16:creationId xmlns:a16="http://schemas.microsoft.com/office/drawing/2014/main" id="{9DEE29F2-F280-4686-A9A8-3959443731C7}"/>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3" name="Footer Placeholder 3">
            <a:extLst>
              <a:ext uri="{FF2B5EF4-FFF2-40B4-BE49-F238E27FC236}">
                <a16:creationId xmlns:a16="http://schemas.microsoft.com/office/drawing/2014/main" id="{F71481AB-279E-41C8-ACA9-C2DA8D6056B0}"/>
              </a:ext>
            </a:extLst>
          </p:cNvPr>
          <p:cNvSpPr>
            <a:spLocks noGrp="1"/>
          </p:cNvSpPr>
          <p:nvPr>
            <p:ph type="ftr" sz="quarter" idx="3"/>
          </p:nvPr>
        </p:nvSpPr>
        <p:spPr>
          <a:xfrm>
            <a:off x="2261053" y="6531715"/>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24577529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with Numbers">
    <p:spTree>
      <p:nvGrpSpPr>
        <p:cNvPr id="1" name=""/>
        <p:cNvGrpSpPr/>
        <p:nvPr/>
      </p:nvGrpSpPr>
      <p:grpSpPr>
        <a:xfrm>
          <a:off x="0" y="0"/>
          <a:ext cx="0" cy="0"/>
          <a:chOff x="0" y="0"/>
          <a:chExt cx="0" cy="0"/>
        </a:xfrm>
      </p:grpSpPr>
      <p:sp>
        <p:nvSpPr>
          <p:cNvPr id="2" name="Title 1"/>
          <p:cNvSpPr>
            <a:spLocks noGrp="1"/>
          </p:cNvSpPr>
          <p:nvPr>
            <p:ph type="title"/>
          </p:nvPr>
        </p:nvSpPr>
        <p:spPr>
          <a:xfrm>
            <a:off x="334801" y="260270"/>
            <a:ext cx="9485137" cy="332399"/>
          </a:xfrm>
        </p:spPr>
        <p:txBody>
          <a:bodyPr wrap="square">
            <a:spAutoFit/>
          </a:bodyPr>
          <a:lstStyle>
            <a:lvl1pPr>
              <a:defRPr>
                <a:latin typeface="+mj-lt"/>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34964" y="1208577"/>
            <a:ext cx="11522075" cy="5040145"/>
          </a:xfrm>
        </p:spPr>
        <p:txBody>
          <a:bodyPr/>
          <a:lstStyle>
            <a:lvl1pPr marL="269868" indent="-269868">
              <a:buFont typeface="+mj-lt"/>
              <a:buAutoNum type="arabicPeriod"/>
              <a:defRPr sz="1800">
                <a:latin typeface="+mn-lt"/>
                <a:cs typeface="Arial" panose="020B0604020202020204" pitchFamily="34" charset="0"/>
              </a:defRPr>
            </a:lvl1pPr>
            <a:lvl2pPr marL="539737" indent="-269868">
              <a:buFont typeface="+mj-lt"/>
              <a:buAutoNum type="arabicPeriod"/>
              <a:defRPr sz="1600">
                <a:latin typeface="+mn-lt"/>
                <a:cs typeface="Arial" panose="020B0604020202020204" pitchFamily="34" charset="0"/>
              </a:defRPr>
            </a:lvl2pPr>
            <a:lvl3pPr marL="717533" indent="-177796">
              <a:buFont typeface="+mj-lt"/>
              <a:buAutoNum type="arabicPeriod"/>
              <a:tabLst/>
              <a:defRPr sz="1400">
                <a:latin typeface="+mn-lt"/>
                <a:cs typeface="Arial" panose="020B0604020202020204" pitchFamily="34" charset="0"/>
              </a:defRPr>
            </a:lvl3pPr>
            <a:lvl4pPr marL="898503" indent="-180970">
              <a:buFont typeface="+mj-lt"/>
              <a:buAutoNum type="arabicPeriod"/>
              <a:defRPr sz="1200">
                <a:latin typeface="+mn-lt"/>
                <a:cs typeface="Arial" panose="020B0604020202020204" pitchFamily="34" charset="0"/>
              </a:defRPr>
            </a:lvl4pPr>
            <a:lvl5pPr marL="1074712" indent="-176209">
              <a:buFont typeface="+mj-lt"/>
              <a:buAutoNum type="arabicPeriod"/>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2">
            <a:extLst>
              <a:ext uri="{FF2B5EF4-FFF2-40B4-BE49-F238E27FC236}">
                <a16:creationId xmlns:a16="http://schemas.microsoft.com/office/drawing/2014/main" id="{29817F0A-3E21-4700-B3FF-0F0F0F4AA75C}"/>
              </a:ext>
            </a:extLst>
          </p:cNvPr>
          <p:cNvSpPr>
            <a:spLocks noGrp="1"/>
          </p:cNvSpPr>
          <p:nvPr>
            <p:ph type="subTitle" idx="13"/>
          </p:nvPr>
        </p:nvSpPr>
        <p:spPr>
          <a:xfrm>
            <a:off x="334800" y="610598"/>
            <a:ext cx="9485139"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46" indent="0" algn="ctr">
              <a:buNone/>
              <a:defRPr>
                <a:solidFill>
                  <a:schemeClr val="tx1">
                    <a:tint val="75000"/>
                  </a:schemeClr>
                </a:solidFill>
              </a:defRPr>
            </a:lvl2pPr>
            <a:lvl3pPr marL="685692" indent="0" algn="ctr">
              <a:buNone/>
              <a:defRPr>
                <a:solidFill>
                  <a:schemeClr val="tx1">
                    <a:tint val="75000"/>
                  </a:schemeClr>
                </a:solidFill>
              </a:defRPr>
            </a:lvl3pPr>
            <a:lvl4pPr marL="1028537" indent="0" algn="ctr">
              <a:buNone/>
              <a:defRPr>
                <a:solidFill>
                  <a:schemeClr val="tx1">
                    <a:tint val="75000"/>
                  </a:schemeClr>
                </a:solidFill>
              </a:defRPr>
            </a:lvl4pPr>
            <a:lvl5pPr marL="1371383" indent="0" algn="ctr">
              <a:buNone/>
              <a:defRPr>
                <a:solidFill>
                  <a:schemeClr val="tx1">
                    <a:tint val="75000"/>
                  </a:schemeClr>
                </a:solidFill>
              </a:defRPr>
            </a:lvl5pPr>
            <a:lvl6pPr marL="1714228" indent="0" algn="ctr">
              <a:buNone/>
              <a:defRPr>
                <a:solidFill>
                  <a:schemeClr val="tx1">
                    <a:tint val="75000"/>
                  </a:schemeClr>
                </a:solidFill>
              </a:defRPr>
            </a:lvl6pPr>
            <a:lvl7pPr marL="2057075" indent="0" algn="ctr">
              <a:buNone/>
              <a:defRPr>
                <a:solidFill>
                  <a:schemeClr val="tx1">
                    <a:tint val="75000"/>
                  </a:schemeClr>
                </a:solidFill>
              </a:defRPr>
            </a:lvl7pPr>
            <a:lvl8pPr marL="2399920" indent="0" algn="ctr">
              <a:buNone/>
              <a:defRPr>
                <a:solidFill>
                  <a:schemeClr val="tx1">
                    <a:tint val="75000"/>
                  </a:schemeClr>
                </a:solidFill>
              </a:defRPr>
            </a:lvl8pPr>
            <a:lvl9pPr marL="2742766" indent="0" algn="ctr">
              <a:buNone/>
              <a:defRPr>
                <a:solidFill>
                  <a:schemeClr val="tx1">
                    <a:tint val="75000"/>
                  </a:schemeClr>
                </a:solidFill>
              </a:defRPr>
            </a:lvl9pPr>
          </a:lstStyle>
          <a:p>
            <a:r>
              <a:rPr lang="en-US"/>
              <a:t>Click to edit Master subtitle style</a:t>
            </a:r>
            <a:endParaRPr lang="en-GB" noProof="0"/>
          </a:p>
        </p:txBody>
      </p:sp>
      <p:sp>
        <p:nvSpPr>
          <p:cNvPr id="18" name="Slide Number Placeholder 5">
            <a:extLst>
              <a:ext uri="{FF2B5EF4-FFF2-40B4-BE49-F238E27FC236}">
                <a16:creationId xmlns:a16="http://schemas.microsoft.com/office/drawing/2014/main" id="{8031B39C-DF70-43CD-94D0-81EF6CC024A6}"/>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3" name="Footer Placeholder 3">
            <a:extLst>
              <a:ext uri="{FF2B5EF4-FFF2-40B4-BE49-F238E27FC236}">
                <a16:creationId xmlns:a16="http://schemas.microsoft.com/office/drawing/2014/main" id="{4ED371B5-D44C-4D74-B5F8-F89D42D71670}"/>
              </a:ext>
            </a:extLst>
          </p:cNvPr>
          <p:cNvSpPr>
            <a:spLocks noGrp="1"/>
          </p:cNvSpPr>
          <p:nvPr>
            <p:ph type="ftr" sz="quarter" idx="3"/>
          </p:nvPr>
        </p:nvSpPr>
        <p:spPr>
          <a:xfrm>
            <a:off x="2261053" y="6531715"/>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7872433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2 text boxes">
    <p:spTree>
      <p:nvGrpSpPr>
        <p:cNvPr id="1" name=""/>
        <p:cNvGrpSpPr/>
        <p:nvPr/>
      </p:nvGrpSpPr>
      <p:grpSpPr>
        <a:xfrm>
          <a:off x="0" y="0"/>
          <a:ext cx="0" cy="0"/>
          <a:chOff x="0" y="0"/>
          <a:chExt cx="0" cy="0"/>
        </a:xfrm>
      </p:grpSpPr>
      <p:sp>
        <p:nvSpPr>
          <p:cNvPr id="3" name="Content Placeholder 2"/>
          <p:cNvSpPr>
            <a:spLocks noGrp="1"/>
          </p:cNvSpPr>
          <p:nvPr>
            <p:ph idx="1"/>
          </p:nvPr>
        </p:nvSpPr>
        <p:spPr>
          <a:xfrm>
            <a:off x="334800" y="1206180"/>
            <a:ext cx="5580000"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DD38D433-C715-4635-977C-8E54E7555A08}"/>
              </a:ext>
            </a:extLst>
          </p:cNvPr>
          <p:cNvSpPr>
            <a:spLocks noGrp="1"/>
          </p:cNvSpPr>
          <p:nvPr>
            <p:ph idx="13"/>
          </p:nvPr>
        </p:nvSpPr>
        <p:spPr>
          <a:xfrm>
            <a:off x="6280731" y="1206178"/>
            <a:ext cx="5578776"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itle 1">
            <a:extLst>
              <a:ext uri="{FF2B5EF4-FFF2-40B4-BE49-F238E27FC236}">
                <a16:creationId xmlns:a16="http://schemas.microsoft.com/office/drawing/2014/main" id="{69E92947-3625-9041-9213-E2B75D84A8F0}"/>
              </a:ext>
            </a:extLst>
          </p:cNvPr>
          <p:cNvSpPr>
            <a:spLocks noGrp="1"/>
          </p:cNvSpPr>
          <p:nvPr>
            <p:ph type="title"/>
          </p:nvPr>
        </p:nvSpPr>
        <p:spPr>
          <a:xfrm>
            <a:off x="334800" y="260270"/>
            <a:ext cx="9495720" cy="332399"/>
          </a:xfrm>
        </p:spPr>
        <p:txBody>
          <a:bodyPr wrap="square">
            <a:spAutoFit/>
          </a:bodyPr>
          <a:lstStyle>
            <a:lvl1pPr>
              <a:defRPr>
                <a:latin typeface="+mj-lt"/>
                <a:cs typeface="Arial" panose="020B0604020202020204" pitchFamily="34" charset="0"/>
              </a:defRPr>
            </a:lvl1pPr>
          </a:lstStyle>
          <a:p>
            <a:r>
              <a:rPr lang="en-US"/>
              <a:t>Click to edit Master title style</a:t>
            </a:r>
          </a:p>
        </p:txBody>
      </p:sp>
      <p:sp>
        <p:nvSpPr>
          <p:cNvPr id="21" name="Subtitle 2">
            <a:extLst>
              <a:ext uri="{FF2B5EF4-FFF2-40B4-BE49-F238E27FC236}">
                <a16:creationId xmlns:a16="http://schemas.microsoft.com/office/drawing/2014/main" id="{710AC261-10B5-584A-91F3-14A61852EFBE}"/>
              </a:ext>
            </a:extLst>
          </p:cNvPr>
          <p:cNvSpPr>
            <a:spLocks noGrp="1"/>
          </p:cNvSpPr>
          <p:nvPr>
            <p:ph type="subTitle" idx="14"/>
          </p:nvPr>
        </p:nvSpPr>
        <p:spPr>
          <a:xfrm>
            <a:off x="334800" y="610598"/>
            <a:ext cx="9495720"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46" indent="0" algn="ctr">
              <a:buNone/>
              <a:defRPr>
                <a:solidFill>
                  <a:schemeClr val="tx1">
                    <a:tint val="75000"/>
                  </a:schemeClr>
                </a:solidFill>
              </a:defRPr>
            </a:lvl2pPr>
            <a:lvl3pPr marL="685692" indent="0" algn="ctr">
              <a:buNone/>
              <a:defRPr>
                <a:solidFill>
                  <a:schemeClr val="tx1">
                    <a:tint val="75000"/>
                  </a:schemeClr>
                </a:solidFill>
              </a:defRPr>
            </a:lvl3pPr>
            <a:lvl4pPr marL="1028537" indent="0" algn="ctr">
              <a:buNone/>
              <a:defRPr>
                <a:solidFill>
                  <a:schemeClr val="tx1">
                    <a:tint val="75000"/>
                  </a:schemeClr>
                </a:solidFill>
              </a:defRPr>
            </a:lvl4pPr>
            <a:lvl5pPr marL="1371383" indent="0" algn="ctr">
              <a:buNone/>
              <a:defRPr>
                <a:solidFill>
                  <a:schemeClr val="tx1">
                    <a:tint val="75000"/>
                  </a:schemeClr>
                </a:solidFill>
              </a:defRPr>
            </a:lvl5pPr>
            <a:lvl6pPr marL="1714228" indent="0" algn="ctr">
              <a:buNone/>
              <a:defRPr>
                <a:solidFill>
                  <a:schemeClr val="tx1">
                    <a:tint val="75000"/>
                  </a:schemeClr>
                </a:solidFill>
              </a:defRPr>
            </a:lvl6pPr>
            <a:lvl7pPr marL="2057075" indent="0" algn="ctr">
              <a:buNone/>
              <a:defRPr>
                <a:solidFill>
                  <a:schemeClr val="tx1">
                    <a:tint val="75000"/>
                  </a:schemeClr>
                </a:solidFill>
              </a:defRPr>
            </a:lvl7pPr>
            <a:lvl8pPr marL="2399920" indent="0" algn="ctr">
              <a:buNone/>
              <a:defRPr>
                <a:solidFill>
                  <a:schemeClr val="tx1">
                    <a:tint val="75000"/>
                  </a:schemeClr>
                </a:solidFill>
              </a:defRPr>
            </a:lvl8pPr>
            <a:lvl9pPr marL="2742766" indent="0" algn="ctr">
              <a:buNone/>
              <a:defRPr>
                <a:solidFill>
                  <a:schemeClr val="tx1">
                    <a:tint val="75000"/>
                  </a:schemeClr>
                </a:solidFill>
              </a:defRPr>
            </a:lvl9pPr>
          </a:lstStyle>
          <a:p>
            <a:r>
              <a:rPr lang="en-US"/>
              <a:t>Click to edit Master subtitle style</a:t>
            </a:r>
            <a:endParaRPr lang="en-GB" noProof="0"/>
          </a:p>
        </p:txBody>
      </p:sp>
      <p:sp>
        <p:nvSpPr>
          <p:cNvPr id="32" name="Slide Number Placeholder 5">
            <a:extLst>
              <a:ext uri="{FF2B5EF4-FFF2-40B4-BE49-F238E27FC236}">
                <a16:creationId xmlns:a16="http://schemas.microsoft.com/office/drawing/2014/main" id="{7778DC4A-6DD8-4810-A49B-89B671171FAE}"/>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B66B4EB9-2868-4BA8-BD4D-16B8E7A16DF5}"/>
              </a:ext>
            </a:extLst>
          </p:cNvPr>
          <p:cNvSpPr>
            <a:spLocks noGrp="1"/>
          </p:cNvSpPr>
          <p:nvPr>
            <p:ph type="ftr" sz="quarter" idx="3"/>
          </p:nvPr>
        </p:nvSpPr>
        <p:spPr>
          <a:xfrm>
            <a:off x="2261053" y="6531715"/>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9586390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7469">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text box and circle for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334965" y="1206180"/>
            <a:ext cx="5573967"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2">
            <a:extLst>
              <a:ext uri="{FF2B5EF4-FFF2-40B4-BE49-F238E27FC236}">
                <a16:creationId xmlns:a16="http://schemas.microsoft.com/office/drawing/2014/main" id="{E1605E3C-D76A-4678-9277-BF9E20857561}"/>
              </a:ext>
            </a:extLst>
          </p:cNvPr>
          <p:cNvSpPr>
            <a:spLocks noGrp="1"/>
          </p:cNvSpPr>
          <p:nvPr>
            <p:ph type="pic" sz="quarter" idx="13" hasCustomPrompt="1"/>
          </p:nvPr>
        </p:nvSpPr>
        <p:spPr>
          <a:xfrm>
            <a:off x="6813444" y="1204279"/>
            <a:ext cx="5040000" cy="5040000"/>
          </a:xfrm>
          <a:prstGeom prst="ellipse">
            <a:avLst/>
          </a:prstGeom>
        </p:spPr>
        <p:txBody>
          <a:bodyPr/>
          <a:lstStyle>
            <a:lvl1pPr algn="ctr">
              <a:buNone/>
              <a:defRPr b="0" i="0">
                <a:solidFill>
                  <a:srgbClr val="1C67AF"/>
                </a:solidFill>
                <a:latin typeface="+mn-lt"/>
                <a:cs typeface="Arial" panose="020B0604020202020204" pitchFamily="34" charset="0"/>
              </a:defRPr>
            </a:lvl1pPr>
          </a:lstStyle>
          <a:p>
            <a:r>
              <a:rPr lang="en-US" noProof="0"/>
              <a:t>Add a picture here</a:t>
            </a:r>
          </a:p>
        </p:txBody>
      </p:sp>
      <p:sp>
        <p:nvSpPr>
          <p:cNvPr id="20" name="Title 1">
            <a:extLst>
              <a:ext uri="{FF2B5EF4-FFF2-40B4-BE49-F238E27FC236}">
                <a16:creationId xmlns:a16="http://schemas.microsoft.com/office/drawing/2014/main" id="{C29EECA6-DA60-0545-94DA-DA2F8B81238E}"/>
              </a:ext>
            </a:extLst>
          </p:cNvPr>
          <p:cNvSpPr>
            <a:spLocks noGrp="1"/>
          </p:cNvSpPr>
          <p:nvPr>
            <p:ph type="title"/>
          </p:nvPr>
        </p:nvSpPr>
        <p:spPr>
          <a:xfrm>
            <a:off x="334801" y="260270"/>
            <a:ext cx="9485137" cy="332399"/>
          </a:xfrm>
        </p:spPr>
        <p:txBody>
          <a:bodyPr wrap="square">
            <a:spAutoFit/>
          </a:bodyPr>
          <a:lstStyle>
            <a:lvl1pPr>
              <a:defRPr>
                <a:latin typeface="+mj-lt"/>
                <a:cs typeface="Arial" panose="020B0604020202020204" pitchFamily="34" charset="0"/>
              </a:defRPr>
            </a:lvl1pPr>
          </a:lstStyle>
          <a:p>
            <a:r>
              <a:rPr lang="en-US"/>
              <a:t>Click to edit Master title style</a:t>
            </a:r>
          </a:p>
        </p:txBody>
      </p:sp>
      <p:sp>
        <p:nvSpPr>
          <p:cNvPr id="21" name="Subtitle 2">
            <a:extLst>
              <a:ext uri="{FF2B5EF4-FFF2-40B4-BE49-F238E27FC236}">
                <a16:creationId xmlns:a16="http://schemas.microsoft.com/office/drawing/2014/main" id="{78EE7002-C39A-5A48-B25E-20539A4FFD23}"/>
              </a:ext>
            </a:extLst>
          </p:cNvPr>
          <p:cNvSpPr>
            <a:spLocks noGrp="1"/>
          </p:cNvSpPr>
          <p:nvPr>
            <p:ph type="subTitle" idx="14"/>
          </p:nvPr>
        </p:nvSpPr>
        <p:spPr>
          <a:xfrm>
            <a:off x="334963" y="610598"/>
            <a:ext cx="9504111"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46" indent="0" algn="ctr">
              <a:buNone/>
              <a:defRPr>
                <a:solidFill>
                  <a:schemeClr val="tx1">
                    <a:tint val="75000"/>
                  </a:schemeClr>
                </a:solidFill>
              </a:defRPr>
            </a:lvl2pPr>
            <a:lvl3pPr marL="685692" indent="0" algn="ctr">
              <a:buNone/>
              <a:defRPr>
                <a:solidFill>
                  <a:schemeClr val="tx1">
                    <a:tint val="75000"/>
                  </a:schemeClr>
                </a:solidFill>
              </a:defRPr>
            </a:lvl3pPr>
            <a:lvl4pPr marL="1028537" indent="0" algn="ctr">
              <a:buNone/>
              <a:defRPr>
                <a:solidFill>
                  <a:schemeClr val="tx1">
                    <a:tint val="75000"/>
                  </a:schemeClr>
                </a:solidFill>
              </a:defRPr>
            </a:lvl4pPr>
            <a:lvl5pPr marL="1371383" indent="0" algn="ctr">
              <a:buNone/>
              <a:defRPr>
                <a:solidFill>
                  <a:schemeClr val="tx1">
                    <a:tint val="75000"/>
                  </a:schemeClr>
                </a:solidFill>
              </a:defRPr>
            </a:lvl5pPr>
            <a:lvl6pPr marL="1714228" indent="0" algn="ctr">
              <a:buNone/>
              <a:defRPr>
                <a:solidFill>
                  <a:schemeClr val="tx1">
                    <a:tint val="75000"/>
                  </a:schemeClr>
                </a:solidFill>
              </a:defRPr>
            </a:lvl6pPr>
            <a:lvl7pPr marL="2057075" indent="0" algn="ctr">
              <a:buNone/>
              <a:defRPr>
                <a:solidFill>
                  <a:schemeClr val="tx1">
                    <a:tint val="75000"/>
                  </a:schemeClr>
                </a:solidFill>
              </a:defRPr>
            </a:lvl7pPr>
            <a:lvl8pPr marL="2399920" indent="0" algn="ctr">
              <a:buNone/>
              <a:defRPr>
                <a:solidFill>
                  <a:schemeClr val="tx1">
                    <a:tint val="75000"/>
                  </a:schemeClr>
                </a:solidFill>
              </a:defRPr>
            </a:lvl8pPr>
            <a:lvl9pPr marL="2742766" indent="0" algn="ctr">
              <a:buNone/>
              <a:defRPr>
                <a:solidFill>
                  <a:schemeClr val="tx1">
                    <a:tint val="75000"/>
                  </a:schemeClr>
                </a:solidFill>
              </a:defRPr>
            </a:lvl9pPr>
          </a:lstStyle>
          <a:p>
            <a:r>
              <a:rPr lang="en-US"/>
              <a:t>Click to edit Master subtitle style</a:t>
            </a:r>
            <a:endParaRPr lang="en-GB" noProof="0"/>
          </a:p>
        </p:txBody>
      </p:sp>
      <p:sp>
        <p:nvSpPr>
          <p:cNvPr id="32" name="Slide Number Placeholder 5">
            <a:extLst>
              <a:ext uri="{FF2B5EF4-FFF2-40B4-BE49-F238E27FC236}">
                <a16:creationId xmlns:a16="http://schemas.microsoft.com/office/drawing/2014/main" id="{3A975D44-BBDE-415E-AD10-4B5D27EC1F20}"/>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D7853777-3467-41CD-B494-D2A35BD43D10}"/>
              </a:ext>
            </a:extLst>
          </p:cNvPr>
          <p:cNvSpPr>
            <a:spLocks noGrp="1"/>
          </p:cNvSpPr>
          <p:nvPr>
            <p:ph type="ftr" sz="quarter" idx="3"/>
          </p:nvPr>
        </p:nvSpPr>
        <p:spPr>
          <a:xfrm>
            <a:off x="2261053" y="6531715"/>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34786825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text box, Safe Space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334965" y="1206180"/>
            <a:ext cx="5573967"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itle 1">
            <a:extLst>
              <a:ext uri="{FF2B5EF4-FFF2-40B4-BE49-F238E27FC236}">
                <a16:creationId xmlns:a16="http://schemas.microsoft.com/office/drawing/2014/main" id="{C29EECA6-DA60-0545-94DA-DA2F8B81238E}"/>
              </a:ext>
            </a:extLst>
          </p:cNvPr>
          <p:cNvSpPr>
            <a:spLocks noGrp="1"/>
          </p:cNvSpPr>
          <p:nvPr>
            <p:ph type="title"/>
          </p:nvPr>
        </p:nvSpPr>
        <p:spPr>
          <a:xfrm>
            <a:off x="334965" y="260270"/>
            <a:ext cx="9504111" cy="332399"/>
          </a:xfrm>
        </p:spPr>
        <p:txBody>
          <a:bodyPr wrap="square">
            <a:spAutoFit/>
          </a:bodyPr>
          <a:lstStyle>
            <a:lvl1pPr>
              <a:defRPr>
                <a:latin typeface="+mj-lt"/>
                <a:cs typeface="Arial" panose="020B0604020202020204" pitchFamily="34" charset="0"/>
              </a:defRPr>
            </a:lvl1pPr>
          </a:lstStyle>
          <a:p>
            <a:r>
              <a:rPr lang="en-US"/>
              <a:t>Click to edit Master title style</a:t>
            </a:r>
          </a:p>
        </p:txBody>
      </p:sp>
      <p:sp>
        <p:nvSpPr>
          <p:cNvPr id="21" name="Subtitle 2">
            <a:extLst>
              <a:ext uri="{FF2B5EF4-FFF2-40B4-BE49-F238E27FC236}">
                <a16:creationId xmlns:a16="http://schemas.microsoft.com/office/drawing/2014/main" id="{78EE7002-C39A-5A48-B25E-20539A4FFD23}"/>
              </a:ext>
            </a:extLst>
          </p:cNvPr>
          <p:cNvSpPr>
            <a:spLocks noGrp="1"/>
          </p:cNvSpPr>
          <p:nvPr>
            <p:ph type="subTitle" idx="14"/>
          </p:nvPr>
        </p:nvSpPr>
        <p:spPr>
          <a:xfrm>
            <a:off x="334963" y="610598"/>
            <a:ext cx="9504111"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46" indent="0" algn="ctr">
              <a:buNone/>
              <a:defRPr>
                <a:solidFill>
                  <a:schemeClr val="tx1">
                    <a:tint val="75000"/>
                  </a:schemeClr>
                </a:solidFill>
              </a:defRPr>
            </a:lvl2pPr>
            <a:lvl3pPr marL="685692" indent="0" algn="ctr">
              <a:buNone/>
              <a:defRPr>
                <a:solidFill>
                  <a:schemeClr val="tx1">
                    <a:tint val="75000"/>
                  </a:schemeClr>
                </a:solidFill>
              </a:defRPr>
            </a:lvl3pPr>
            <a:lvl4pPr marL="1028537" indent="0" algn="ctr">
              <a:buNone/>
              <a:defRPr>
                <a:solidFill>
                  <a:schemeClr val="tx1">
                    <a:tint val="75000"/>
                  </a:schemeClr>
                </a:solidFill>
              </a:defRPr>
            </a:lvl4pPr>
            <a:lvl5pPr marL="1371383" indent="0" algn="ctr">
              <a:buNone/>
              <a:defRPr>
                <a:solidFill>
                  <a:schemeClr val="tx1">
                    <a:tint val="75000"/>
                  </a:schemeClr>
                </a:solidFill>
              </a:defRPr>
            </a:lvl5pPr>
            <a:lvl6pPr marL="1714228" indent="0" algn="ctr">
              <a:buNone/>
              <a:defRPr>
                <a:solidFill>
                  <a:schemeClr val="tx1">
                    <a:tint val="75000"/>
                  </a:schemeClr>
                </a:solidFill>
              </a:defRPr>
            </a:lvl6pPr>
            <a:lvl7pPr marL="2057075" indent="0" algn="ctr">
              <a:buNone/>
              <a:defRPr>
                <a:solidFill>
                  <a:schemeClr val="tx1">
                    <a:tint val="75000"/>
                  </a:schemeClr>
                </a:solidFill>
              </a:defRPr>
            </a:lvl7pPr>
            <a:lvl8pPr marL="2399920" indent="0" algn="ctr">
              <a:buNone/>
              <a:defRPr>
                <a:solidFill>
                  <a:schemeClr val="tx1">
                    <a:tint val="75000"/>
                  </a:schemeClr>
                </a:solidFill>
              </a:defRPr>
            </a:lvl8pPr>
            <a:lvl9pPr marL="2742766" indent="0" algn="ctr">
              <a:buNone/>
              <a:defRPr>
                <a:solidFill>
                  <a:schemeClr val="tx1">
                    <a:tint val="75000"/>
                  </a:schemeClr>
                </a:solidFill>
              </a:defRPr>
            </a:lvl9pPr>
          </a:lstStyle>
          <a:p>
            <a:r>
              <a:rPr lang="en-US"/>
              <a:t>Click to edit Master subtitle style</a:t>
            </a:r>
            <a:endParaRPr lang="en-GB" noProof="0"/>
          </a:p>
        </p:txBody>
      </p:sp>
      <p:sp>
        <p:nvSpPr>
          <p:cNvPr id="37" name="Picture Placeholder 23">
            <a:extLst>
              <a:ext uri="{FF2B5EF4-FFF2-40B4-BE49-F238E27FC236}">
                <a16:creationId xmlns:a16="http://schemas.microsoft.com/office/drawing/2014/main" id="{632F94C8-BFF9-44C4-AD1A-92E5E5E20C6E}"/>
              </a:ext>
            </a:extLst>
          </p:cNvPr>
          <p:cNvSpPr>
            <a:spLocks noGrp="1" noChangeAspect="1"/>
          </p:cNvSpPr>
          <p:nvPr>
            <p:ph type="pic" sz="quarter" idx="19"/>
          </p:nvPr>
        </p:nvSpPr>
        <p:spPr>
          <a:xfrm>
            <a:off x="6813533" y="1204279"/>
            <a:ext cx="5039467" cy="5040000"/>
          </a:xfrm>
          <a:custGeom>
            <a:avLst/>
            <a:gdLst>
              <a:gd name="connsiteX0" fmla="*/ 991609 w 1983218"/>
              <a:gd name="connsiteY0" fmla="*/ 0 h 1983428"/>
              <a:gd name="connsiteX1" fmla="*/ 1983218 w 1983218"/>
              <a:gd name="connsiteY1" fmla="*/ 991609 h 1983428"/>
              <a:gd name="connsiteX2" fmla="*/ 991399 w 1983218"/>
              <a:gd name="connsiteY2" fmla="*/ 1983428 h 1983428"/>
              <a:gd name="connsiteX3" fmla="*/ 237390 w 1983218"/>
              <a:gd name="connsiteY3" fmla="*/ 1635494 h 1983428"/>
              <a:gd name="connsiteX4" fmla="*/ 287345 w 1983218"/>
              <a:gd name="connsiteY4" fmla="*/ 1620941 h 1983428"/>
              <a:gd name="connsiteX5" fmla="*/ 339399 w 1983218"/>
              <a:gd name="connsiteY5" fmla="*/ 1616744 h 1983428"/>
              <a:gd name="connsiteX6" fmla="*/ 446934 w 1983218"/>
              <a:gd name="connsiteY6" fmla="*/ 1627798 h 1983428"/>
              <a:gd name="connsiteX7" fmla="*/ 538448 w 1983218"/>
              <a:gd name="connsiteY7" fmla="*/ 1637663 h 1983428"/>
              <a:gd name="connsiteX8" fmla="*/ 542996 w 1983218"/>
              <a:gd name="connsiteY8" fmla="*/ 1637593 h 1983428"/>
              <a:gd name="connsiteX9" fmla="*/ 620377 w 1983218"/>
              <a:gd name="connsiteY9" fmla="*/ 1612126 h 1983428"/>
              <a:gd name="connsiteX10" fmla="*/ 672640 w 1983218"/>
              <a:gd name="connsiteY10" fmla="*/ 1542861 h 1983428"/>
              <a:gd name="connsiteX11" fmla="*/ 686703 w 1983218"/>
              <a:gd name="connsiteY11" fmla="*/ 1502981 h 1983428"/>
              <a:gd name="connsiteX12" fmla="*/ 672570 w 1983218"/>
              <a:gd name="connsiteY12" fmla="*/ 1499413 h 1983428"/>
              <a:gd name="connsiteX13" fmla="*/ 667883 w 1983218"/>
              <a:gd name="connsiteY13" fmla="*/ 1508928 h 1983428"/>
              <a:gd name="connsiteX14" fmla="*/ 620517 w 1983218"/>
              <a:gd name="connsiteY14" fmla="*/ 1562941 h 1983428"/>
              <a:gd name="connsiteX15" fmla="*/ 586304 w 1983218"/>
              <a:gd name="connsiteY15" fmla="*/ 1579382 h 1983428"/>
              <a:gd name="connsiteX16" fmla="*/ 530752 w 1983218"/>
              <a:gd name="connsiteY16" fmla="*/ 1586029 h 1983428"/>
              <a:gd name="connsiteX17" fmla="*/ 488703 w 1983218"/>
              <a:gd name="connsiteY17" fmla="*/ 1584560 h 1983428"/>
              <a:gd name="connsiteX18" fmla="*/ 441757 w 1983218"/>
              <a:gd name="connsiteY18" fmla="*/ 1581621 h 1983428"/>
              <a:gd name="connsiteX19" fmla="*/ 392992 w 1983218"/>
              <a:gd name="connsiteY19" fmla="*/ 1579662 h 1983428"/>
              <a:gd name="connsiteX20" fmla="*/ 355001 w 1983218"/>
              <a:gd name="connsiteY20" fmla="*/ 1581551 h 1983428"/>
              <a:gd name="connsiteX21" fmla="*/ 619327 w 1983218"/>
              <a:gd name="connsiteY21" fmla="*/ 1228160 h 1983428"/>
              <a:gd name="connsiteX22" fmla="*/ 286715 w 1983218"/>
              <a:gd name="connsiteY22" fmla="*/ 1228160 h 1983428"/>
              <a:gd name="connsiteX23" fmla="*/ 260688 w 1983218"/>
              <a:gd name="connsiteY23" fmla="*/ 1328349 h 1983428"/>
              <a:gd name="connsiteX24" fmla="*/ 276221 w 1983218"/>
              <a:gd name="connsiteY24" fmla="*/ 1331847 h 1983428"/>
              <a:gd name="connsiteX25" fmla="*/ 280558 w 1983218"/>
              <a:gd name="connsiteY25" fmla="*/ 1323592 h 1983428"/>
              <a:gd name="connsiteX26" fmla="*/ 313092 w 1983218"/>
              <a:gd name="connsiteY26" fmla="*/ 1284901 h 1983428"/>
              <a:gd name="connsiteX27" fmla="*/ 345625 w 1983218"/>
              <a:gd name="connsiteY27" fmla="*/ 1271608 h 1983428"/>
              <a:gd name="connsiteX28" fmla="*/ 424825 w 1983218"/>
              <a:gd name="connsiteY28" fmla="*/ 1265451 h 1983428"/>
              <a:gd name="connsiteX29" fmla="*/ 453161 w 1983218"/>
              <a:gd name="connsiteY29" fmla="*/ 1265521 h 1983428"/>
              <a:gd name="connsiteX30" fmla="*/ 481777 w 1983218"/>
              <a:gd name="connsiteY30" fmla="*/ 1265451 h 1983428"/>
              <a:gd name="connsiteX31" fmla="*/ 218150 w 1983218"/>
              <a:gd name="connsiteY31" fmla="*/ 1611846 h 1983428"/>
              <a:gd name="connsiteX32" fmla="*/ 0 w 1983218"/>
              <a:gd name="connsiteY32" fmla="*/ 991609 h 1983428"/>
              <a:gd name="connsiteX33" fmla="*/ 991609 w 1983218"/>
              <a:gd name="connsiteY33" fmla="*/ 0 h 198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83218" h="1983428">
                <a:moveTo>
                  <a:pt x="991609" y="0"/>
                </a:moveTo>
                <a:cubicBezTo>
                  <a:pt x="1539293" y="0"/>
                  <a:pt x="1983218" y="443996"/>
                  <a:pt x="1983218" y="991609"/>
                </a:cubicBezTo>
                <a:cubicBezTo>
                  <a:pt x="1983218" y="1539293"/>
                  <a:pt x="1539293" y="1983218"/>
                  <a:pt x="991399" y="1983428"/>
                </a:cubicBezTo>
                <a:cubicBezTo>
                  <a:pt x="689502" y="1983428"/>
                  <a:pt x="419298" y="1848327"/>
                  <a:pt x="237390" y="1635494"/>
                </a:cubicBezTo>
                <a:cubicBezTo>
                  <a:pt x="256211" y="1627098"/>
                  <a:pt x="265516" y="1624370"/>
                  <a:pt x="287345" y="1620941"/>
                </a:cubicBezTo>
                <a:cubicBezTo>
                  <a:pt x="304696" y="1618073"/>
                  <a:pt x="321418" y="1616744"/>
                  <a:pt x="339399" y="1616744"/>
                </a:cubicBezTo>
                <a:cubicBezTo>
                  <a:pt x="366265" y="1616744"/>
                  <a:pt x="393481" y="1619542"/>
                  <a:pt x="446934" y="1627798"/>
                </a:cubicBezTo>
                <a:cubicBezTo>
                  <a:pt x="499548" y="1635844"/>
                  <a:pt x="516479" y="1637663"/>
                  <a:pt x="538448" y="1637663"/>
                </a:cubicBezTo>
                <a:lnTo>
                  <a:pt x="542996" y="1637593"/>
                </a:lnTo>
                <a:cubicBezTo>
                  <a:pt x="572661" y="1637103"/>
                  <a:pt x="597708" y="1628917"/>
                  <a:pt x="620377" y="1612126"/>
                </a:cubicBezTo>
                <a:cubicBezTo>
                  <a:pt x="642416" y="1595824"/>
                  <a:pt x="658437" y="1574555"/>
                  <a:pt x="672640" y="1542861"/>
                </a:cubicBezTo>
                <a:cubicBezTo>
                  <a:pt x="679707" y="1527189"/>
                  <a:pt x="682086" y="1520472"/>
                  <a:pt x="686703" y="1502981"/>
                </a:cubicBezTo>
                <a:lnTo>
                  <a:pt x="672570" y="1499413"/>
                </a:lnTo>
                <a:cubicBezTo>
                  <a:pt x="670681" y="1503681"/>
                  <a:pt x="668932" y="1506829"/>
                  <a:pt x="667883" y="1508928"/>
                </a:cubicBezTo>
                <a:cubicBezTo>
                  <a:pt x="657108" y="1529568"/>
                  <a:pt x="639057" y="1550067"/>
                  <a:pt x="620517" y="1562941"/>
                </a:cubicBezTo>
                <a:cubicBezTo>
                  <a:pt x="609882" y="1570077"/>
                  <a:pt x="598408" y="1575674"/>
                  <a:pt x="586304" y="1579382"/>
                </a:cubicBezTo>
                <a:cubicBezTo>
                  <a:pt x="570702" y="1584140"/>
                  <a:pt x="554960" y="1586029"/>
                  <a:pt x="530752" y="1586029"/>
                </a:cubicBezTo>
                <a:cubicBezTo>
                  <a:pt x="519907" y="1586029"/>
                  <a:pt x="505565" y="1585539"/>
                  <a:pt x="488703" y="1584560"/>
                </a:cubicBezTo>
                <a:lnTo>
                  <a:pt x="441757" y="1581621"/>
                </a:lnTo>
                <a:cubicBezTo>
                  <a:pt x="419998" y="1580362"/>
                  <a:pt x="403696" y="1579662"/>
                  <a:pt x="392992" y="1579662"/>
                </a:cubicBezTo>
                <a:cubicBezTo>
                  <a:pt x="379069" y="1579662"/>
                  <a:pt x="372142" y="1580012"/>
                  <a:pt x="355001" y="1581551"/>
                </a:cubicBezTo>
                <a:lnTo>
                  <a:pt x="619327" y="1228160"/>
                </a:lnTo>
                <a:lnTo>
                  <a:pt x="286715" y="1228160"/>
                </a:lnTo>
                <a:lnTo>
                  <a:pt x="260688" y="1328349"/>
                </a:lnTo>
                <a:lnTo>
                  <a:pt x="276221" y="1331847"/>
                </a:lnTo>
                <a:cubicBezTo>
                  <a:pt x="278110" y="1327999"/>
                  <a:pt x="279579" y="1325411"/>
                  <a:pt x="280558" y="1323592"/>
                </a:cubicBezTo>
                <a:cubicBezTo>
                  <a:pt x="289234" y="1308059"/>
                  <a:pt x="302527" y="1292317"/>
                  <a:pt x="313092" y="1284901"/>
                </a:cubicBezTo>
                <a:cubicBezTo>
                  <a:pt x="322117" y="1278534"/>
                  <a:pt x="333172" y="1274057"/>
                  <a:pt x="345625" y="1271608"/>
                </a:cubicBezTo>
                <a:cubicBezTo>
                  <a:pt x="366125" y="1267620"/>
                  <a:pt x="394531" y="1265451"/>
                  <a:pt x="424825" y="1265451"/>
                </a:cubicBezTo>
                <a:lnTo>
                  <a:pt x="453161" y="1265521"/>
                </a:lnTo>
                <a:lnTo>
                  <a:pt x="481777" y="1265451"/>
                </a:lnTo>
                <a:lnTo>
                  <a:pt x="218150" y="1611846"/>
                </a:lnTo>
                <a:cubicBezTo>
                  <a:pt x="81789" y="1441972"/>
                  <a:pt x="0" y="1226411"/>
                  <a:pt x="0" y="991609"/>
                </a:cubicBezTo>
                <a:cubicBezTo>
                  <a:pt x="0" y="443996"/>
                  <a:pt x="443996" y="0"/>
                  <a:pt x="991609" y="0"/>
                </a:cubicBezTo>
                <a:close/>
              </a:path>
            </a:pathLst>
          </a:custGeom>
        </p:spPr>
        <p:txBody>
          <a:bodyPr wrap="square">
            <a:noAutofit/>
          </a:bodyPr>
          <a:lstStyle>
            <a:lvl1pPr marL="0" indent="0" algn="ctr">
              <a:buNone/>
              <a:defRPr>
                <a:latin typeface="+mn-lt"/>
                <a:cs typeface="Arial" panose="020B0604020202020204" pitchFamily="34" charset="0"/>
              </a:defRPr>
            </a:lvl1pPr>
          </a:lstStyle>
          <a:p>
            <a:r>
              <a:rPr lang="en-US"/>
              <a:t>Click icon to add picture</a:t>
            </a:r>
          </a:p>
        </p:txBody>
      </p:sp>
      <p:sp>
        <p:nvSpPr>
          <p:cNvPr id="33" name="Slide Number Placeholder 5">
            <a:extLst>
              <a:ext uri="{FF2B5EF4-FFF2-40B4-BE49-F238E27FC236}">
                <a16:creationId xmlns:a16="http://schemas.microsoft.com/office/drawing/2014/main" id="{2940119E-5F10-4EB4-B937-FD54D145016C}"/>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5" name="Footer Placeholder 3">
            <a:extLst>
              <a:ext uri="{FF2B5EF4-FFF2-40B4-BE49-F238E27FC236}">
                <a16:creationId xmlns:a16="http://schemas.microsoft.com/office/drawing/2014/main" id="{40454D8E-1F3F-4D16-AA7F-FBF0AED1BC21}"/>
              </a:ext>
            </a:extLst>
          </p:cNvPr>
          <p:cNvSpPr>
            <a:spLocks noGrp="1"/>
          </p:cNvSpPr>
          <p:nvPr>
            <p:ph type="ftr" sz="quarter" idx="3"/>
          </p:nvPr>
        </p:nvSpPr>
        <p:spPr>
          <a:xfrm>
            <a:off x="2261053" y="6531715"/>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8575597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text box, Safe Space image_2">
    <p:spTree>
      <p:nvGrpSpPr>
        <p:cNvPr id="1" name=""/>
        <p:cNvGrpSpPr/>
        <p:nvPr/>
      </p:nvGrpSpPr>
      <p:grpSpPr>
        <a:xfrm>
          <a:off x="0" y="0"/>
          <a:ext cx="0" cy="0"/>
          <a:chOff x="0" y="0"/>
          <a:chExt cx="0" cy="0"/>
        </a:xfrm>
      </p:grpSpPr>
      <p:sp>
        <p:nvSpPr>
          <p:cNvPr id="3" name="Content Placeholder 2"/>
          <p:cNvSpPr>
            <a:spLocks noGrp="1"/>
          </p:cNvSpPr>
          <p:nvPr>
            <p:ph idx="1"/>
          </p:nvPr>
        </p:nvSpPr>
        <p:spPr>
          <a:xfrm>
            <a:off x="334965" y="1206180"/>
            <a:ext cx="5573967"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itle 1">
            <a:extLst>
              <a:ext uri="{FF2B5EF4-FFF2-40B4-BE49-F238E27FC236}">
                <a16:creationId xmlns:a16="http://schemas.microsoft.com/office/drawing/2014/main" id="{C29EECA6-DA60-0545-94DA-DA2F8B81238E}"/>
              </a:ext>
            </a:extLst>
          </p:cNvPr>
          <p:cNvSpPr>
            <a:spLocks noGrp="1"/>
          </p:cNvSpPr>
          <p:nvPr>
            <p:ph type="title"/>
          </p:nvPr>
        </p:nvSpPr>
        <p:spPr>
          <a:xfrm>
            <a:off x="334965" y="260270"/>
            <a:ext cx="9504111" cy="332399"/>
          </a:xfrm>
        </p:spPr>
        <p:txBody>
          <a:bodyPr wrap="square">
            <a:spAutoFit/>
          </a:bodyPr>
          <a:lstStyle>
            <a:lvl1pPr>
              <a:defRPr>
                <a:latin typeface="+mj-lt"/>
                <a:cs typeface="Arial" panose="020B0604020202020204" pitchFamily="34" charset="0"/>
              </a:defRPr>
            </a:lvl1pPr>
          </a:lstStyle>
          <a:p>
            <a:r>
              <a:rPr lang="en-US"/>
              <a:t>Click to edit Master title style</a:t>
            </a:r>
          </a:p>
        </p:txBody>
      </p:sp>
      <p:sp>
        <p:nvSpPr>
          <p:cNvPr id="21" name="Subtitle 2">
            <a:extLst>
              <a:ext uri="{FF2B5EF4-FFF2-40B4-BE49-F238E27FC236}">
                <a16:creationId xmlns:a16="http://schemas.microsoft.com/office/drawing/2014/main" id="{78EE7002-C39A-5A48-B25E-20539A4FFD23}"/>
              </a:ext>
            </a:extLst>
          </p:cNvPr>
          <p:cNvSpPr>
            <a:spLocks noGrp="1"/>
          </p:cNvSpPr>
          <p:nvPr>
            <p:ph type="subTitle" idx="14"/>
          </p:nvPr>
        </p:nvSpPr>
        <p:spPr>
          <a:xfrm>
            <a:off x="334963" y="610598"/>
            <a:ext cx="9504111"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46" indent="0" algn="ctr">
              <a:buNone/>
              <a:defRPr>
                <a:solidFill>
                  <a:schemeClr val="tx1">
                    <a:tint val="75000"/>
                  </a:schemeClr>
                </a:solidFill>
              </a:defRPr>
            </a:lvl2pPr>
            <a:lvl3pPr marL="685692" indent="0" algn="ctr">
              <a:buNone/>
              <a:defRPr>
                <a:solidFill>
                  <a:schemeClr val="tx1">
                    <a:tint val="75000"/>
                  </a:schemeClr>
                </a:solidFill>
              </a:defRPr>
            </a:lvl3pPr>
            <a:lvl4pPr marL="1028537" indent="0" algn="ctr">
              <a:buNone/>
              <a:defRPr>
                <a:solidFill>
                  <a:schemeClr val="tx1">
                    <a:tint val="75000"/>
                  </a:schemeClr>
                </a:solidFill>
              </a:defRPr>
            </a:lvl4pPr>
            <a:lvl5pPr marL="1371383" indent="0" algn="ctr">
              <a:buNone/>
              <a:defRPr>
                <a:solidFill>
                  <a:schemeClr val="tx1">
                    <a:tint val="75000"/>
                  </a:schemeClr>
                </a:solidFill>
              </a:defRPr>
            </a:lvl5pPr>
            <a:lvl6pPr marL="1714228" indent="0" algn="ctr">
              <a:buNone/>
              <a:defRPr>
                <a:solidFill>
                  <a:schemeClr val="tx1">
                    <a:tint val="75000"/>
                  </a:schemeClr>
                </a:solidFill>
              </a:defRPr>
            </a:lvl6pPr>
            <a:lvl7pPr marL="2057075" indent="0" algn="ctr">
              <a:buNone/>
              <a:defRPr>
                <a:solidFill>
                  <a:schemeClr val="tx1">
                    <a:tint val="75000"/>
                  </a:schemeClr>
                </a:solidFill>
              </a:defRPr>
            </a:lvl7pPr>
            <a:lvl8pPr marL="2399920" indent="0" algn="ctr">
              <a:buNone/>
              <a:defRPr>
                <a:solidFill>
                  <a:schemeClr val="tx1">
                    <a:tint val="75000"/>
                  </a:schemeClr>
                </a:solidFill>
              </a:defRPr>
            </a:lvl8pPr>
            <a:lvl9pPr marL="2742766" indent="0" algn="ctr">
              <a:buNone/>
              <a:defRPr>
                <a:solidFill>
                  <a:schemeClr val="tx1">
                    <a:tint val="75000"/>
                  </a:schemeClr>
                </a:solidFill>
              </a:defRPr>
            </a:lvl9pPr>
          </a:lstStyle>
          <a:p>
            <a:r>
              <a:rPr lang="en-US"/>
              <a:t>Click to edit Master subtitle style</a:t>
            </a:r>
            <a:endParaRPr lang="en-GB" noProof="0"/>
          </a:p>
        </p:txBody>
      </p:sp>
      <p:sp>
        <p:nvSpPr>
          <p:cNvPr id="36" name="Picture Placeholder 22">
            <a:extLst>
              <a:ext uri="{FF2B5EF4-FFF2-40B4-BE49-F238E27FC236}">
                <a16:creationId xmlns:a16="http://schemas.microsoft.com/office/drawing/2014/main" id="{8A849791-6852-4C64-AE72-FB234CCCE27F}"/>
              </a:ext>
            </a:extLst>
          </p:cNvPr>
          <p:cNvSpPr>
            <a:spLocks noGrp="1" noChangeAspect="1"/>
          </p:cNvSpPr>
          <p:nvPr>
            <p:ph type="pic" sz="quarter" idx="18"/>
          </p:nvPr>
        </p:nvSpPr>
        <p:spPr>
          <a:xfrm>
            <a:off x="6813533" y="1204279"/>
            <a:ext cx="5040000" cy="5040000"/>
          </a:xfrm>
          <a:custGeom>
            <a:avLst/>
            <a:gdLst>
              <a:gd name="connsiteX0" fmla="*/ 991609 w 1983218"/>
              <a:gd name="connsiteY0" fmla="*/ 0 h 1983218"/>
              <a:gd name="connsiteX1" fmla="*/ 1983218 w 1983218"/>
              <a:gd name="connsiteY1" fmla="*/ 991609 h 1983218"/>
              <a:gd name="connsiteX2" fmla="*/ 991679 w 1983218"/>
              <a:gd name="connsiteY2" fmla="*/ 1983218 h 1983218"/>
              <a:gd name="connsiteX3" fmla="*/ 236970 w 1983218"/>
              <a:gd name="connsiteY3" fmla="*/ 1634445 h 1983218"/>
              <a:gd name="connsiteX4" fmla="*/ 303087 w 1983218"/>
              <a:gd name="connsiteY4" fmla="*/ 1615274 h 1983218"/>
              <a:gd name="connsiteX5" fmla="*/ 372492 w 1983218"/>
              <a:gd name="connsiteY5" fmla="*/ 1609677 h 1983218"/>
              <a:gd name="connsiteX6" fmla="*/ 515919 w 1983218"/>
              <a:gd name="connsiteY6" fmla="*/ 1624440 h 1983218"/>
              <a:gd name="connsiteX7" fmla="*/ 637938 w 1983218"/>
              <a:gd name="connsiteY7" fmla="*/ 1637593 h 1983218"/>
              <a:gd name="connsiteX8" fmla="*/ 643955 w 1983218"/>
              <a:gd name="connsiteY8" fmla="*/ 1637523 h 1983218"/>
              <a:gd name="connsiteX9" fmla="*/ 747083 w 1983218"/>
              <a:gd name="connsiteY9" fmla="*/ 1603520 h 1983218"/>
              <a:gd name="connsiteX10" fmla="*/ 816768 w 1983218"/>
              <a:gd name="connsiteY10" fmla="*/ 1511167 h 1983218"/>
              <a:gd name="connsiteX11" fmla="*/ 835448 w 1983218"/>
              <a:gd name="connsiteY11" fmla="*/ 1457994 h 1983218"/>
              <a:gd name="connsiteX12" fmla="*/ 816558 w 1983218"/>
              <a:gd name="connsiteY12" fmla="*/ 1453166 h 1983218"/>
              <a:gd name="connsiteX13" fmla="*/ 810261 w 1983218"/>
              <a:gd name="connsiteY13" fmla="*/ 1465830 h 1983218"/>
              <a:gd name="connsiteX14" fmla="*/ 747083 w 1983218"/>
              <a:gd name="connsiteY14" fmla="*/ 1537893 h 1983218"/>
              <a:gd name="connsiteX15" fmla="*/ 701466 w 1983218"/>
              <a:gd name="connsiteY15" fmla="*/ 1559862 h 1983218"/>
              <a:gd name="connsiteX16" fmla="*/ 627303 w 1983218"/>
              <a:gd name="connsiteY16" fmla="*/ 1568748 h 1983218"/>
              <a:gd name="connsiteX17" fmla="*/ 571192 w 1983218"/>
              <a:gd name="connsiteY17" fmla="*/ 1566789 h 1983218"/>
              <a:gd name="connsiteX18" fmla="*/ 508573 w 1983218"/>
              <a:gd name="connsiteY18" fmla="*/ 1562941 h 1983218"/>
              <a:gd name="connsiteX19" fmla="*/ 443576 w 1983218"/>
              <a:gd name="connsiteY19" fmla="*/ 1560352 h 1983218"/>
              <a:gd name="connsiteX20" fmla="*/ 392922 w 1983218"/>
              <a:gd name="connsiteY20" fmla="*/ 1562871 h 1983218"/>
              <a:gd name="connsiteX21" fmla="*/ 745334 w 1983218"/>
              <a:gd name="connsiteY21" fmla="*/ 1091659 h 1983218"/>
              <a:gd name="connsiteX22" fmla="*/ 301828 w 1983218"/>
              <a:gd name="connsiteY22" fmla="*/ 1091659 h 1983218"/>
              <a:gd name="connsiteX23" fmla="*/ 267125 w 1983218"/>
              <a:gd name="connsiteY23" fmla="*/ 1225291 h 1983218"/>
              <a:gd name="connsiteX24" fmla="*/ 287835 w 1983218"/>
              <a:gd name="connsiteY24" fmla="*/ 1229979 h 1983218"/>
              <a:gd name="connsiteX25" fmla="*/ 293572 w 1983218"/>
              <a:gd name="connsiteY25" fmla="*/ 1218924 h 1983218"/>
              <a:gd name="connsiteX26" fmla="*/ 336950 w 1983218"/>
              <a:gd name="connsiteY26" fmla="*/ 1167361 h 1983218"/>
              <a:gd name="connsiteX27" fmla="*/ 380328 w 1983218"/>
              <a:gd name="connsiteY27" fmla="*/ 1149659 h 1983218"/>
              <a:gd name="connsiteX28" fmla="*/ 485975 w 1983218"/>
              <a:gd name="connsiteY28" fmla="*/ 1141474 h 1983218"/>
              <a:gd name="connsiteX29" fmla="*/ 523755 w 1983218"/>
              <a:gd name="connsiteY29" fmla="*/ 1141544 h 1983218"/>
              <a:gd name="connsiteX30" fmla="*/ 561886 w 1983218"/>
              <a:gd name="connsiteY30" fmla="*/ 1141474 h 1983218"/>
              <a:gd name="connsiteX31" fmla="*/ 210943 w 1983218"/>
              <a:gd name="connsiteY31" fmla="*/ 1602681 h 1983218"/>
              <a:gd name="connsiteX32" fmla="*/ 0 w 1983218"/>
              <a:gd name="connsiteY32" fmla="*/ 991609 h 1983218"/>
              <a:gd name="connsiteX33" fmla="*/ 991609 w 1983218"/>
              <a:gd name="connsiteY33" fmla="*/ 0 h 198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83218" h="1983218">
                <a:moveTo>
                  <a:pt x="991609" y="0"/>
                </a:moveTo>
                <a:cubicBezTo>
                  <a:pt x="1539293" y="0"/>
                  <a:pt x="1983218" y="443996"/>
                  <a:pt x="1983218" y="991609"/>
                </a:cubicBezTo>
                <a:cubicBezTo>
                  <a:pt x="1983218" y="1539293"/>
                  <a:pt x="1539293" y="1983218"/>
                  <a:pt x="991679" y="1983218"/>
                </a:cubicBezTo>
                <a:cubicBezTo>
                  <a:pt x="689362" y="1983218"/>
                  <a:pt x="418878" y="1847767"/>
                  <a:pt x="236970" y="1634445"/>
                </a:cubicBezTo>
                <a:cubicBezTo>
                  <a:pt x="261668" y="1623390"/>
                  <a:pt x="274122" y="1619822"/>
                  <a:pt x="303087" y="1615274"/>
                </a:cubicBezTo>
                <a:cubicBezTo>
                  <a:pt x="326245" y="1611496"/>
                  <a:pt x="348494" y="1609677"/>
                  <a:pt x="372492" y="1609677"/>
                </a:cubicBezTo>
                <a:cubicBezTo>
                  <a:pt x="408314" y="1609677"/>
                  <a:pt x="444625" y="1613455"/>
                  <a:pt x="515919" y="1624440"/>
                </a:cubicBezTo>
                <a:cubicBezTo>
                  <a:pt x="586024" y="1635144"/>
                  <a:pt x="608693" y="1637593"/>
                  <a:pt x="637938" y="1637593"/>
                </a:cubicBezTo>
                <a:lnTo>
                  <a:pt x="643955" y="1637523"/>
                </a:lnTo>
                <a:cubicBezTo>
                  <a:pt x="683485" y="1636823"/>
                  <a:pt x="716858" y="1625909"/>
                  <a:pt x="747083" y="1603520"/>
                </a:cubicBezTo>
                <a:cubicBezTo>
                  <a:pt x="776468" y="1581831"/>
                  <a:pt x="797807" y="1553425"/>
                  <a:pt x="816768" y="1511167"/>
                </a:cubicBezTo>
                <a:cubicBezTo>
                  <a:pt x="826073" y="1490317"/>
                  <a:pt x="829291" y="1481362"/>
                  <a:pt x="835448" y="1457994"/>
                </a:cubicBezTo>
                <a:lnTo>
                  <a:pt x="816558" y="1453166"/>
                </a:lnTo>
                <a:cubicBezTo>
                  <a:pt x="813969" y="1458763"/>
                  <a:pt x="811660" y="1463031"/>
                  <a:pt x="810261" y="1465830"/>
                </a:cubicBezTo>
                <a:cubicBezTo>
                  <a:pt x="795918" y="1493326"/>
                  <a:pt x="771850" y="1520752"/>
                  <a:pt x="747083" y="1537893"/>
                </a:cubicBezTo>
                <a:cubicBezTo>
                  <a:pt x="732950" y="1547478"/>
                  <a:pt x="717628" y="1554895"/>
                  <a:pt x="701466" y="1559862"/>
                </a:cubicBezTo>
                <a:cubicBezTo>
                  <a:pt x="680546" y="1566229"/>
                  <a:pt x="659557" y="1568748"/>
                  <a:pt x="627303" y="1568748"/>
                </a:cubicBezTo>
                <a:cubicBezTo>
                  <a:pt x="612821" y="1568748"/>
                  <a:pt x="593720" y="1568048"/>
                  <a:pt x="571192" y="1566789"/>
                </a:cubicBezTo>
                <a:lnTo>
                  <a:pt x="508573" y="1562941"/>
                </a:lnTo>
                <a:cubicBezTo>
                  <a:pt x="479608" y="1561262"/>
                  <a:pt x="457849" y="1560352"/>
                  <a:pt x="443576" y="1560352"/>
                </a:cubicBezTo>
                <a:cubicBezTo>
                  <a:pt x="425035" y="1560352"/>
                  <a:pt x="415800" y="1560842"/>
                  <a:pt x="392922" y="1562871"/>
                </a:cubicBezTo>
                <a:lnTo>
                  <a:pt x="745334" y="1091659"/>
                </a:lnTo>
                <a:lnTo>
                  <a:pt x="301828" y="1091659"/>
                </a:lnTo>
                <a:lnTo>
                  <a:pt x="267125" y="1225291"/>
                </a:lnTo>
                <a:lnTo>
                  <a:pt x="287835" y="1229979"/>
                </a:lnTo>
                <a:cubicBezTo>
                  <a:pt x="290283" y="1224871"/>
                  <a:pt x="292242" y="1221303"/>
                  <a:pt x="293572" y="1218924"/>
                </a:cubicBezTo>
                <a:cubicBezTo>
                  <a:pt x="305116" y="1198285"/>
                  <a:pt x="322817" y="1177225"/>
                  <a:pt x="336950" y="1167361"/>
                </a:cubicBezTo>
                <a:cubicBezTo>
                  <a:pt x="348984" y="1158895"/>
                  <a:pt x="363746" y="1152948"/>
                  <a:pt x="380328" y="1149659"/>
                </a:cubicBezTo>
                <a:cubicBezTo>
                  <a:pt x="407684" y="1144342"/>
                  <a:pt x="445605" y="1141474"/>
                  <a:pt x="485975" y="1141474"/>
                </a:cubicBezTo>
                <a:lnTo>
                  <a:pt x="523755" y="1141544"/>
                </a:lnTo>
                <a:lnTo>
                  <a:pt x="561886" y="1141474"/>
                </a:lnTo>
                <a:lnTo>
                  <a:pt x="210943" y="1602681"/>
                </a:lnTo>
                <a:cubicBezTo>
                  <a:pt x="78920" y="1434276"/>
                  <a:pt x="0" y="1222213"/>
                  <a:pt x="0" y="991609"/>
                </a:cubicBezTo>
                <a:cubicBezTo>
                  <a:pt x="0" y="443996"/>
                  <a:pt x="443996" y="0"/>
                  <a:pt x="991609" y="0"/>
                </a:cubicBezTo>
                <a:close/>
              </a:path>
            </a:pathLst>
          </a:custGeom>
        </p:spPr>
        <p:txBody>
          <a:bodyPr wrap="square">
            <a:noAutofit/>
          </a:bodyPr>
          <a:lstStyle>
            <a:lvl1pPr marL="0" indent="0" algn="ctr">
              <a:buNone/>
              <a:defRPr>
                <a:latin typeface="+mn-lt"/>
                <a:cs typeface="Arial" panose="020B0604020202020204" pitchFamily="34" charset="0"/>
              </a:defRPr>
            </a:lvl1pPr>
          </a:lstStyle>
          <a:p>
            <a:r>
              <a:rPr lang="en-US"/>
              <a:t>Click icon to add picture</a:t>
            </a:r>
          </a:p>
        </p:txBody>
      </p:sp>
      <p:sp>
        <p:nvSpPr>
          <p:cNvPr id="32" name="Slide Number Placeholder 5">
            <a:extLst>
              <a:ext uri="{FF2B5EF4-FFF2-40B4-BE49-F238E27FC236}">
                <a16:creationId xmlns:a16="http://schemas.microsoft.com/office/drawing/2014/main" id="{93FBEF06-3376-4805-93CA-9F93395D9603}"/>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4" name="Footer Placeholder 3">
            <a:extLst>
              <a:ext uri="{FF2B5EF4-FFF2-40B4-BE49-F238E27FC236}">
                <a16:creationId xmlns:a16="http://schemas.microsoft.com/office/drawing/2014/main" id="{84B6CFBF-971A-45D4-9A48-C535D13B975C}"/>
              </a:ext>
            </a:extLst>
          </p:cNvPr>
          <p:cNvSpPr>
            <a:spLocks noGrp="1"/>
          </p:cNvSpPr>
          <p:nvPr>
            <p:ph type="ftr" sz="quarter" idx="3"/>
          </p:nvPr>
        </p:nvSpPr>
        <p:spPr>
          <a:xfrm>
            <a:off x="2261053" y="6531715"/>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28394083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text box and 3 images ">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A5CE20A-BBB9-CE25-9CD8-56AB6A889C85}"/>
              </a:ext>
            </a:extLst>
          </p:cNvPr>
          <p:cNvGraphicFramePr>
            <a:graphicFrameLocks noChangeAspect="1"/>
          </p:cNvGraphicFramePr>
          <p:nvPr userDrawn="1">
            <p:custDataLst>
              <p:tags r:id="rId1"/>
            </p:custDataLst>
            <p:extLst>
              <p:ext uri="{D42A27DB-BD31-4B8C-83A1-F6EECF244321}">
                <p14:modId xmlns:p14="http://schemas.microsoft.com/office/powerpoint/2010/main" val="741708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2A5CE20A-BBB9-CE25-9CD8-56AB6A889C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3">
            <a:extLst>
              <a:ext uri="{FF2B5EF4-FFF2-40B4-BE49-F238E27FC236}">
                <a16:creationId xmlns:a16="http://schemas.microsoft.com/office/drawing/2014/main" id="{240E76D1-56AB-41F8-8334-371CEAB4738C}"/>
              </a:ext>
            </a:extLst>
          </p:cNvPr>
          <p:cNvSpPr>
            <a:spLocks noGrp="1"/>
          </p:cNvSpPr>
          <p:nvPr>
            <p:ph type="pic" sz="quarter" idx="28" hasCustomPrompt="1"/>
          </p:nvPr>
        </p:nvSpPr>
        <p:spPr>
          <a:xfrm>
            <a:off x="1079656" y="1436992"/>
            <a:ext cx="1920000" cy="1920000"/>
          </a:xfrm>
          <a:prstGeom prst="ellipse">
            <a:avLst/>
          </a:prstGeom>
        </p:spPr>
        <p:txBody>
          <a:bodyPr/>
          <a:lstStyle>
            <a:lvl1pPr marL="0" indent="0" algn="ctr" rtl="0">
              <a:buNone/>
              <a:defRPr sz="1333">
                <a:solidFill>
                  <a:srgbClr val="2167AE"/>
                </a:solidFill>
                <a:latin typeface="+mn-lt"/>
                <a:cs typeface="Arial" panose="020B0604020202020204" pitchFamily="34" charset="0"/>
              </a:defRPr>
            </a:lvl1pPr>
          </a:lstStyle>
          <a:p>
            <a:r>
              <a:rPr lang="de-DE"/>
              <a:t>Add picture here</a:t>
            </a:r>
          </a:p>
        </p:txBody>
      </p:sp>
      <p:sp>
        <p:nvSpPr>
          <p:cNvPr id="17" name="Picture Placeholder 3">
            <a:extLst>
              <a:ext uri="{FF2B5EF4-FFF2-40B4-BE49-F238E27FC236}">
                <a16:creationId xmlns:a16="http://schemas.microsoft.com/office/drawing/2014/main" id="{BFDFBA93-64DC-4F26-953C-E4271D7A5F2C}"/>
              </a:ext>
            </a:extLst>
          </p:cNvPr>
          <p:cNvSpPr>
            <a:spLocks noGrp="1"/>
          </p:cNvSpPr>
          <p:nvPr>
            <p:ph type="pic" sz="quarter" idx="29" hasCustomPrompt="1"/>
          </p:nvPr>
        </p:nvSpPr>
        <p:spPr>
          <a:xfrm>
            <a:off x="4871864" y="1436992"/>
            <a:ext cx="1920000" cy="1920000"/>
          </a:xfrm>
          <a:prstGeom prst="ellipse">
            <a:avLst/>
          </a:prstGeom>
        </p:spPr>
        <p:txBody>
          <a:bodyPr/>
          <a:lstStyle>
            <a:lvl1pPr marL="0" indent="0" algn="ctr" rtl="0">
              <a:buNone/>
              <a:defRPr sz="1333">
                <a:solidFill>
                  <a:srgbClr val="2167AE"/>
                </a:solidFill>
                <a:latin typeface="+mn-lt"/>
                <a:cs typeface="Arial" panose="020B0604020202020204" pitchFamily="34" charset="0"/>
              </a:defRPr>
            </a:lvl1pPr>
          </a:lstStyle>
          <a:p>
            <a:r>
              <a:rPr lang="de-DE"/>
              <a:t>Add picture here</a:t>
            </a:r>
          </a:p>
        </p:txBody>
      </p:sp>
      <p:sp>
        <p:nvSpPr>
          <p:cNvPr id="18" name="Picture Placeholder 3">
            <a:extLst>
              <a:ext uri="{FF2B5EF4-FFF2-40B4-BE49-F238E27FC236}">
                <a16:creationId xmlns:a16="http://schemas.microsoft.com/office/drawing/2014/main" id="{33BE1813-D5B5-4415-BB63-F6AD5397276E}"/>
              </a:ext>
            </a:extLst>
          </p:cNvPr>
          <p:cNvSpPr>
            <a:spLocks noGrp="1"/>
          </p:cNvSpPr>
          <p:nvPr>
            <p:ph type="pic" sz="quarter" idx="30" hasCustomPrompt="1"/>
          </p:nvPr>
        </p:nvSpPr>
        <p:spPr>
          <a:xfrm>
            <a:off x="8688288" y="1436992"/>
            <a:ext cx="1920000" cy="1920000"/>
          </a:xfrm>
          <a:prstGeom prst="ellipse">
            <a:avLst/>
          </a:prstGeom>
        </p:spPr>
        <p:txBody>
          <a:bodyPr/>
          <a:lstStyle>
            <a:lvl1pPr marL="0" indent="0" algn="ctr" rtl="0">
              <a:buNone/>
              <a:defRPr sz="1333">
                <a:solidFill>
                  <a:srgbClr val="2167AE"/>
                </a:solidFill>
                <a:latin typeface="+mn-lt"/>
                <a:cs typeface="Arial" panose="020B0604020202020204" pitchFamily="34" charset="0"/>
              </a:defRPr>
            </a:lvl1pPr>
          </a:lstStyle>
          <a:p>
            <a:r>
              <a:rPr lang="de-DE"/>
              <a:t>Add picture here</a:t>
            </a:r>
          </a:p>
        </p:txBody>
      </p:sp>
      <p:sp>
        <p:nvSpPr>
          <p:cNvPr id="20" name="Title 1">
            <a:extLst>
              <a:ext uri="{FF2B5EF4-FFF2-40B4-BE49-F238E27FC236}">
                <a16:creationId xmlns:a16="http://schemas.microsoft.com/office/drawing/2014/main" id="{6E310D89-47FE-194B-8632-078ED6BD782F}"/>
              </a:ext>
            </a:extLst>
          </p:cNvPr>
          <p:cNvSpPr>
            <a:spLocks noGrp="1"/>
          </p:cNvSpPr>
          <p:nvPr>
            <p:ph type="title" hasCustomPrompt="1"/>
          </p:nvPr>
        </p:nvSpPr>
        <p:spPr>
          <a:xfrm>
            <a:off x="334963" y="260268"/>
            <a:ext cx="9504111" cy="332399"/>
          </a:xfrm>
        </p:spPr>
        <p:txBody>
          <a:bodyPr vert="horz" wrap="square">
            <a:spAutoFit/>
          </a:bodyPr>
          <a:lstStyle>
            <a:lvl1pPr rtl="0">
              <a:defRPr>
                <a:latin typeface="+mj-lt"/>
                <a:cs typeface="Arial" panose="020B0604020202020204" pitchFamily="34" charset="0"/>
              </a:defRPr>
            </a:lvl1pPr>
          </a:lstStyle>
          <a:p>
            <a:r>
              <a:rPr lang="de-DE"/>
              <a:t>Click to edit Master title style</a:t>
            </a:r>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hasCustomPrompt="1"/>
          </p:nvPr>
        </p:nvSpPr>
        <p:spPr>
          <a:xfrm>
            <a:off x="334962" y="610597"/>
            <a:ext cx="9504111" cy="332399"/>
          </a:xfrm>
          <a:prstGeom prst="rect">
            <a:avLst/>
          </a:prstGeom>
        </p:spPr>
        <p:txBody>
          <a:bodyPr anchor="t">
            <a:normAutofit/>
          </a:bodyPr>
          <a:lstStyle>
            <a:lvl1pPr marL="0" indent="0" algn="l" rtl="0">
              <a:buFont typeface="Arial" panose="020B0604020202020204" pitchFamily="34" charset="0"/>
              <a:buNone/>
              <a:defRPr sz="1800" b="0" i="0">
                <a:solidFill>
                  <a:srgbClr val="2167AE"/>
                </a:solidFill>
                <a:latin typeface="+mn-lt"/>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de-DE"/>
              <a:t>Click to edit Master subtitle style</a:t>
            </a:r>
            <a:endParaRPr lang="de-DE" noProof="0"/>
          </a:p>
        </p:txBody>
      </p:sp>
      <p:sp>
        <p:nvSpPr>
          <p:cNvPr id="33" name="Slide Number Placeholder 5">
            <a:extLst>
              <a:ext uri="{FF2B5EF4-FFF2-40B4-BE49-F238E27FC236}">
                <a16:creationId xmlns:a16="http://schemas.microsoft.com/office/drawing/2014/main" id="{714EC8C7-A133-478F-BF8B-66FEF67BC793}"/>
              </a:ext>
            </a:extLst>
          </p:cNvPr>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35" name="Footer Placeholder 3">
            <a:extLst>
              <a:ext uri="{FF2B5EF4-FFF2-40B4-BE49-F238E27FC236}">
                <a16:creationId xmlns:a16="http://schemas.microsoft.com/office/drawing/2014/main" id="{E5C41A63-DFB8-45B3-BA91-86A5B9928FC9}"/>
              </a:ext>
            </a:extLst>
          </p:cNvPr>
          <p:cNvSpPr>
            <a:spLocks noGrp="1"/>
          </p:cNvSpPr>
          <p:nvPr>
            <p:ph type="ftr" sz="quarter" idx="3"/>
          </p:nvPr>
        </p:nvSpPr>
        <p:spPr>
          <a:xfrm>
            <a:off x="2261053" y="6531715"/>
            <a:ext cx="8112000" cy="181960"/>
          </a:xfrm>
          <a:prstGeom prst="rect">
            <a:avLst/>
          </a:prstGeom>
        </p:spPr>
        <p:txBody>
          <a:bodyPr lIns="0" tIns="0" rIns="0" bIns="0"/>
          <a:lstStyle>
            <a:lvl1pPr algn="r" rtl="0">
              <a:defRPr sz="900">
                <a:solidFill>
                  <a:schemeClr val="accent1"/>
                </a:solidFill>
                <a:latin typeface="+mn-lt"/>
                <a:cs typeface="Arial" panose="020B0604020202020204" pitchFamily="34" charset="0"/>
              </a:defRPr>
            </a:lvl1pPr>
          </a:lstStyle>
          <a:p>
            <a:endParaRPr lang="de-DE"/>
          </a:p>
        </p:txBody>
      </p:sp>
    </p:spTree>
    <p:extLst>
      <p:ext uri="{BB962C8B-B14F-4D97-AF65-F5344CB8AC3E}">
        <p14:creationId xmlns:p14="http://schemas.microsoft.com/office/powerpoint/2010/main" val="1510402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text box and 3 images ">
    <p:spTree>
      <p:nvGrpSpPr>
        <p:cNvPr id="1" name=""/>
        <p:cNvGrpSpPr/>
        <p:nvPr/>
      </p:nvGrpSpPr>
      <p:grpSpPr>
        <a:xfrm>
          <a:off x="0" y="0"/>
          <a:ext cx="0" cy="0"/>
          <a:chOff x="0" y="0"/>
          <a:chExt cx="0" cy="0"/>
        </a:xfrm>
      </p:grpSpPr>
      <p:sp>
        <p:nvSpPr>
          <p:cNvPr id="16" name="Picture Placeholder 3">
            <a:extLst>
              <a:ext uri="{FF2B5EF4-FFF2-40B4-BE49-F238E27FC236}">
                <a16:creationId xmlns:a16="http://schemas.microsoft.com/office/drawing/2014/main" id="{240E76D1-56AB-41F8-8334-371CEAB4738C}"/>
              </a:ext>
            </a:extLst>
          </p:cNvPr>
          <p:cNvSpPr>
            <a:spLocks noGrp="1"/>
          </p:cNvSpPr>
          <p:nvPr>
            <p:ph type="pic" sz="quarter" idx="28" hasCustomPrompt="1"/>
          </p:nvPr>
        </p:nvSpPr>
        <p:spPr>
          <a:xfrm>
            <a:off x="1079656" y="1436992"/>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en-GB"/>
              <a:t>Add picture here</a:t>
            </a:r>
          </a:p>
        </p:txBody>
      </p:sp>
      <p:sp>
        <p:nvSpPr>
          <p:cNvPr id="17" name="Picture Placeholder 3">
            <a:extLst>
              <a:ext uri="{FF2B5EF4-FFF2-40B4-BE49-F238E27FC236}">
                <a16:creationId xmlns:a16="http://schemas.microsoft.com/office/drawing/2014/main" id="{BFDFBA93-64DC-4F26-953C-E4271D7A5F2C}"/>
              </a:ext>
            </a:extLst>
          </p:cNvPr>
          <p:cNvSpPr>
            <a:spLocks noGrp="1"/>
          </p:cNvSpPr>
          <p:nvPr>
            <p:ph type="pic" sz="quarter" idx="29" hasCustomPrompt="1"/>
          </p:nvPr>
        </p:nvSpPr>
        <p:spPr>
          <a:xfrm>
            <a:off x="4871864" y="1436992"/>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en-GB"/>
              <a:t>Add picture here</a:t>
            </a:r>
          </a:p>
        </p:txBody>
      </p:sp>
      <p:sp>
        <p:nvSpPr>
          <p:cNvPr id="18" name="Picture Placeholder 3">
            <a:extLst>
              <a:ext uri="{FF2B5EF4-FFF2-40B4-BE49-F238E27FC236}">
                <a16:creationId xmlns:a16="http://schemas.microsoft.com/office/drawing/2014/main" id="{33BE1813-D5B5-4415-BB63-F6AD5397276E}"/>
              </a:ext>
            </a:extLst>
          </p:cNvPr>
          <p:cNvSpPr>
            <a:spLocks noGrp="1"/>
          </p:cNvSpPr>
          <p:nvPr>
            <p:ph type="pic" sz="quarter" idx="30" hasCustomPrompt="1"/>
          </p:nvPr>
        </p:nvSpPr>
        <p:spPr>
          <a:xfrm>
            <a:off x="8688288" y="1436992"/>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en-GB"/>
              <a:t>Add picture here</a:t>
            </a:r>
          </a:p>
        </p:txBody>
      </p:sp>
      <p:sp>
        <p:nvSpPr>
          <p:cNvPr id="20" name="Title 1">
            <a:extLst>
              <a:ext uri="{FF2B5EF4-FFF2-40B4-BE49-F238E27FC236}">
                <a16:creationId xmlns:a16="http://schemas.microsoft.com/office/drawing/2014/main" id="{6E310D89-47FE-194B-8632-078ED6BD782F}"/>
              </a:ext>
            </a:extLst>
          </p:cNvPr>
          <p:cNvSpPr>
            <a:spLocks noGrp="1"/>
          </p:cNvSpPr>
          <p:nvPr>
            <p:ph type="title"/>
          </p:nvPr>
        </p:nvSpPr>
        <p:spPr>
          <a:xfrm>
            <a:off x="334965" y="260270"/>
            <a:ext cx="9504111" cy="332399"/>
          </a:xfrm>
        </p:spPr>
        <p:txBody>
          <a:bodyPr wrap="square">
            <a:spAutoFit/>
          </a:bodyPr>
          <a:lstStyle>
            <a:lvl1pPr>
              <a:defRPr>
                <a:latin typeface="+mj-lt"/>
                <a:cs typeface="Arial" panose="020B0604020202020204" pitchFamily="34" charset="0"/>
              </a:defRPr>
            </a:lvl1pPr>
          </a:lstStyle>
          <a:p>
            <a:r>
              <a:rPr lang="en-US"/>
              <a:t>Click to edit Master title style</a:t>
            </a:r>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p:nvPr>
        </p:nvSpPr>
        <p:spPr>
          <a:xfrm>
            <a:off x="334963" y="610598"/>
            <a:ext cx="9504111"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46" indent="0" algn="ctr">
              <a:buNone/>
              <a:defRPr>
                <a:solidFill>
                  <a:schemeClr val="tx1">
                    <a:tint val="75000"/>
                  </a:schemeClr>
                </a:solidFill>
              </a:defRPr>
            </a:lvl2pPr>
            <a:lvl3pPr marL="685692" indent="0" algn="ctr">
              <a:buNone/>
              <a:defRPr>
                <a:solidFill>
                  <a:schemeClr val="tx1">
                    <a:tint val="75000"/>
                  </a:schemeClr>
                </a:solidFill>
              </a:defRPr>
            </a:lvl3pPr>
            <a:lvl4pPr marL="1028537" indent="0" algn="ctr">
              <a:buNone/>
              <a:defRPr>
                <a:solidFill>
                  <a:schemeClr val="tx1">
                    <a:tint val="75000"/>
                  </a:schemeClr>
                </a:solidFill>
              </a:defRPr>
            </a:lvl4pPr>
            <a:lvl5pPr marL="1371383" indent="0" algn="ctr">
              <a:buNone/>
              <a:defRPr>
                <a:solidFill>
                  <a:schemeClr val="tx1">
                    <a:tint val="75000"/>
                  </a:schemeClr>
                </a:solidFill>
              </a:defRPr>
            </a:lvl5pPr>
            <a:lvl6pPr marL="1714228" indent="0" algn="ctr">
              <a:buNone/>
              <a:defRPr>
                <a:solidFill>
                  <a:schemeClr val="tx1">
                    <a:tint val="75000"/>
                  </a:schemeClr>
                </a:solidFill>
              </a:defRPr>
            </a:lvl6pPr>
            <a:lvl7pPr marL="2057075" indent="0" algn="ctr">
              <a:buNone/>
              <a:defRPr>
                <a:solidFill>
                  <a:schemeClr val="tx1">
                    <a:tint val="75000"/>
                  </a:schemeClr>
                </a:solidFill>
              </a:defRPr>
            </a:lvl7pPr>
            <a:lvl8pPr marL="2399920" indent="0" algn="ctr">
              <a:buNone/>
              <a:defRPr>
                <a:solidFill>
                  <a:schemeClr val="tx1">
                    <a:tint val="75000"/>
                  </a:schemeClr>
                </a:solidFill>
              </a:defRPr>
            </a:lvl8pPr>
            <a:lvl9pPr marL="2742766" indent="0" algn="ctr">
              <a:buNone/>
              <a:defRPr>
                <a:solidFill>
                  <a:schemeClr val="tx1">
                    <a:tint val="75000"/>
                  </a:schemeClr>
                </a:solidFill>
              </a:defRPr>
            </a:lvl9pPr>
          </a:lstStyle>
          <a:p>
            <a:r>
              <a:rPr lang="en-US"/>
              <a:t>Click to edit Master subtitle style</a:t>
            </a:r>
            <a:endParaRPr lang="en-GB" noProof="0"/>
          </a:p>
        </p:txBody>
      </p:sp>
      <p:sp>
        <p:nvSpPr>
          <p:cNvPr id="33" name="Slide Number Placeholder 5">
            <a:extLst>
              <a:ext uri="{FF2B5EF4-FFF2-40B4-BE49-F238E27FC236}">
                <a16:creationId xmlns:a16="http://schemas.microsoft.com/office/drawing/2014/main" id="{714EC8C7-A133-478F-BF8B-66FEF67BC793}"/>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5" name="Footer Placeholder 3">
            <a:extLst>
              <a:ext uri="{FF2B5EF4-FFF2-40B4-BE49-F238E27FC236}">
                <a16:creationId xmlns:a16="http://schemas.microsoft.com/office/drawing/2014/main" id="{E5C41A63-DFB8-45B3-BA91-86A5B9928FC9}"/>
              </a:ext>
            </a:extLst>
          </p:cNvPr>
          <p:cNvSpPr>
            <a:spLocks noGrp="1"/>
          </p:cNvSpPr>
          <p:nvPr>
            <p:ph type="ftr" sz="quarter" idx="3"/>
          </p:nvPr>
        </p:nvSpPr>
        <p:spPr>
          <a:xfrm>
            <a:off x="2261053" y="6531715"/>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6839690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text box and 3 images ">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6E310D89-47FE-194B-8632-078ED6BD782F}"/>
              </a:ext>
            </a:extLst>
          </p:cNvPr>
          <p:cNvSpPr>
            <a:spLocks noGrp="1"/>
          </p:cNvSpPr>
          <p:nvPr>
            <p:ph type="title"/>
          </p:nvPr>
        </p:nvSpPr>
        <p:spPr>
          <a:xfrm>
            <a:off x="334965" y="260270"/>
            <a:ext cx="9504111" cy="332399"/>
          </a:xfrm>
        </p:spPr>
        <p:txBody>
          <a:bodyPr wrap="square">
            <a:spAutoFit/>
          </a:bodyPr>
          <a:lstStyle>
            <a:lvl1pPr>
              <a:defRPr>
                <a:latin typeface="+mj-lt"/>
                <a:cs typeface="Arial" panose="020B0604020202020204" pitchFamily="34" charset="0"/>
              </a:defRPr>
            </a:lvl1pPr>
          </a:lstStyle>
          <a:p>
            <a:r>
              <a:rPr lang="en-US"/>
              <a:t>Click to edit Master title style</a:t>
            </a:r>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p:nvPr>
        </p:nvSpPr>
        <p:spPr>
          <a:xfrm>
            <a:off x="334963" y="610598"/>
            <a:ext cx="9504111"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46" indent="0" algn="ctr">
              <a:buNone/>
              <a:defRPr>
                <a:solidFill>
                  <a:schemeClr val="tx1">
                    <a:tint val="75000"/>
                  </a:schemeClr>
                </a:solidFill>
              </a:defRPr>
            </a:lvl2pPr>
            <a:lvl3pPr marL="685692" indent="0" algn="ctr">
              <a:buNone/>
              <a:defRPr>
                <a:solidFill>
                  <a:schemeClr val="tx1">
                    <a:tint val="75000"/>
                  </a:schemeClr>
                </a:solidFill>
              </a:defRPr>
            </a:lvl3pPr>
            <a:lvl4pPr marL="1028537" indent="0" algn="ctr">
              <a:buNone/>
              <a:defRPr>
                <a:solidFill>
                  <a:schemeClr val="tx1">
                    <a:tint val="75000"/>
                  </a:schemeClr>
                </a:solidFill>
              </a:defRPr>
            </a:lvl4pPr>
            <a:lvl5pPr marL="1371383" indent="0" algn="ctr">
              <a:buNone/>
              <a:defRPr>
                <a:solidFill>
                  <a:schemeClr val="tx1">
                    <a:tint val="75000"/>
                  </a:schemeClr>
                </a:solidFill>
              </a:defRPr>
            </a:lvl5pPr>
            <a:lvl6pPr marL="1714228" indent="0" algn="ctr">
              <a:buNone/>
              <a:defRPr>
                <a:solidFill>
                  <a:schemeClr val="tx1">
                    <a:tint val="75000"/>
                  </a:schemeClr>
                </a:solidFill>
              </a:defRPr>
            </a:lvl6pPr>
            <a:lvl7pPr marL="2057075" indent="0" algn="ctr">
              <a:buNone/>
              <a:defRPr>
                <a:solidFill>
                  <a:schemeClr val="tx1">
                    <a:tint val="75000"/>
                  </a:schemeClr>
                </a:solidFill>
              </a:defRPr>
            </a:lvl7pPr>
            <a:lvl8pPr marL="2399920" indent="0" algn="ctr">
              <a:buNone/>
              <a:defRPr>
                <a:solidFill>
                  <a:schemeClr val="tx1">
                    <a:tint val="75000"/>
                  </a:schemeClr>
                </a:solidFill>
              </a:defRPr>
            </a:lvl8pPr>
            <a:lvl9pPr marL="2742766" indent="0" algn="ctr">
              <a:buNone/>
              <a:defRPr>
                <a:solidFill>
                  <a:schemeClr val="tx1">
                    <a:tint val="75000"/>
                  </a:schemeClr>
                </a:solidFill>
              </a:defRPr>
            </a:lvl9pPr>
          </a:lstStyle>
          <a:p>
            <a:r>
              <a:rPr lang="en-US"/>
              <a:t>Click to edit Master subtitle style</a:t>
            </a:r>
            <a:endParaRPr lang="en-GB" noProof="0"/>
          </a:p>
        </p:txBody>
      </p:sp>
      <p:sp>
        <p:nvSpPr>
          <p:cNvPr id="33" name="Slide Number Placeholder 5">
            <a:extLst>
              <a:ext uri="{FF2B5EF4-FFF2-40B4-BE49-F238E27FC236}">
                <a16:creationId xmlns:a16="http://schemas.microsoft.com/office/drawing/2014/main" id="{714EC8C7-A133-478F-BF8B-66FEF67BC793}"/>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5" name="Footer Placeholder 3">
            <a:extLst>
              <a:ext uri="{FF2B5EF4-FFF2-40B4-BE49-F238E27FC236}">
                <a16:creationId xmlns:a16="http://schemas.microsoft.com/office/drawing/2014/main" id="{E5C41A63-DFB8-45B3-BA91-86A5B9928FC9}"/>
              </a:ext>
            </a:extLst>
          </p:cNvPr>
          <p:cNvSpPr>
            <a:spLocks noGrp="1"/>
          </p:cNvSpPr>
          <p:nvPr>
            <p:ph type="ftr" sz="quarter" idx="3"/>
          </p:nvPr>
        </p:nvSpPr>
        <p:spPr>
          <a:xfrm>
            <a:off x="2261053" y="6531715"/>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4" name="Content Placeholder 3">
            <a:extLst>
              <a:ext uri="{FF2B5EF4-FFF2-40B4-BE49-F238E27FC236}">
                <a16:creationId xmlns:a16="http://schemas.microsoft.com/office/drawing/2014/main" id="{D036BE57-A36B-461B-83F6-7B1E7C32BE80}"/>
              </a:ext>
            </a:extLst>
          </p:cNvPr>
          <p:cNvSpPr>
            <a:spLocks noGrp="1" noChangeAspect="1"/>
          </p:cNvSpPr>
          <p:nvPr>
            <p:ph sz="quarter" idx="31"/>
          </p:nvPr>
        </p:nvSpPr>
        <p:spPr>
          <a:xfrm>
            <a:off x="713563" y="2102189"/>
            <a:ext cx="3240000" cy="3240000"/>
          </a:xfrm>
          <a:prstGeom prst="ellipse">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Content Placeholder 3">
            <a:extLst>
              <a:ext uri="{FF2B5EF4-FFF2-40B4-BE49-F238E27FC236}">
                <a16:creationId xmlns:a16="http://schemas.microsoft.com/office/drawing/2014/main" id="{4E229CE5-7614-4112-B96F-E47D214B8688}"/>
              </a:ext>
            </a:extLst>
          </p:cNvPr>
          <p:cNvSpPr>
            <a:spLocks noGrp="1" noChangeAspect="1"/>
          </p:cNvSpPr>
          <p:nvPr>
            <p:ph sz="quarter" idx="32"/>
          </p:nvPr>
        </p:nvSpPr>
        <p:spPr>
          <a:xfrm>
            <a:off x="4486829" y="2102189"/>
            <a:ext cx="3240000" cy="3240000"/>
          </a:xfrm>
          <a:prstGeom prst="ellipse">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Content Placeholder 3">
            <a:extLst>
              <a:ext uri="{FF2B5EF4-FFF2-40B4-BE49-F238E27FC236}">
                <a16:creationId xmlns:a16="http://schemas.microsoft.com/office/drawing/2014/main" id="{51D97892-B5B6-42E9-92EA-74343AE34CBB}"/>
              </a:ext>
            </a:extLst>
          </p:cNvPr>
          <p:cNvSpPr>
            <a:spLocks noGrp="1" noChangeAspect="1"/>
          </p:cNvSpPr>
          <p:nvPr>
            <p:ph sz="quarter" idx="33"/>
          </p:nvPr>
        </p:nvSpPr>
        <p:spPr>
          <a:xfrm>
            <a:off x="8260096" y="2102189"/>
            <a:ext cx="3240000" cy="3240000"/>
          </a:xfrm>
          <a:prstGeom prst="ellipse">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403014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loured strip">
    <p:bg>
      <p:bgRef idx="1001">
        <a:schemeClr val="bg1"/>
      </p:bgRef>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BB388155-E7BC-4C61-A6E5-624C68BA3BCC}"/>
              </a:ext>
            </a:extLst>
          </p:cNvPr>
          <p:cNvSpPr/>
          <p:nvPr userDrawn="1"/>
        </p:nvSpPr>
        <p:spPr>
          <a:xfrm>
            <a:off x="0" y="0"/>
            <a:ext cx="12192000" cy="6858000"/>
          </a:xfrm>
          <a:custGeom>
            <a:avLst/>
            <a:gdLst>
              <a:gd name="connsiteX0" fmla="*/ 0 w 12192000"/>
              <a:gd name="connsiteY0" fmla="*/ 6237288 h 6858000"/>
              <a:gd name="connsiteX1" fmla="*/ 12192000 w 12192000"/>
              <a:gd name="connsiteY1" fmla="*/ 6237288 h 6858000"/>
              <a:gd name="connsiteX2" fmla="*/ 12192000 w 12192000"/>
              <a:gd name="connsiteY2" fmla="*/ 6858000 h 6858000"/>
              <a:gd name="connsiteX3" fmla="*/ 0 w 12192000"/>
              <a:gd name="connsiteY3" fmla="*/ 6858000 h 6858000"/>
              <a:gd name="connsiteX4" fmla="*/ 0 w 12192000"/>
              <a:gd name="connsiteY4" fmla="*/ 0 h 6858000"/>
              <a:gd name="connsiteX5" fmla="*/ 12192000 w 12192000"/>
              <a:gd name="connsiteY5" fmla="*/ 0 h 6858000"/>
              <a:gd name="connsiteX6" fmla="*/ 12192000 w 12192000"/>
              <a:gd name="connsiteY6" fmla="*/ 1196975 h 6858000"/>
              <a:gd name="connsiteX7" fmla="*/ 0 w 12192000"/>
              <a:gd name="connsiteY7" fmla="*/ 11969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6237288"/>
                </a:moveTo>
                <a:lnTo>
                  <a:pt x="12192000" y="6237288"/>
                </a:lnTo>
                <a:lnTo>
                  <a:pt x="12192000" y="6858000"/>
                </a:lnTo>
                <a:lnTo>
                  <a:pt x="0" y="6858000"/>
                </a:lnTo>
                <a:close/>
                <a:moveTo>
                  <a:pt x="0" y="0"/>
                </a:moveTo>
                <a:lnTo>
                  <a:pt x="12192000" y="0"/>
                </a:lnTo>
                <a:lnTo>
                  <a:pt x="12192000" y="1196975"/>
                </a:lnTo>
                <a:lnTo>
                  <a:pt x="0" y="119697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000"/>
          </a:p>
        </p:txBody>
      </p:sp>
      <p:sp>
        <p:nvSpPr>
          <p:cNvPr id="20" name="Title 1">
            <a:extLst>
              <a:ext uri="{FF2B5EF4-FFF2-40B4-BE49-F238E27FC236}">
                <a16:creationId xmlns:a16="http://schemas.microsoft.com/office/drawing/2014/main" id="{6E310D89-47FE-194B-8632-078ED6BD782F}"/>
              </a:ext>
            </a:extLst>
          </p:cNvPr>
          <p:cNvSpPr>
            <a:spLocks noGrp="1"/>
          </p:cNvSpPr>
          <p:nvPr>
            <p:ph type="title"/>
          </p:nvPr>
        </p:nvSpPr>
        <p:spPr>
          <a:xfrm>
            <a:off x="334965" y="260270"/>
            <a:ext cx="9504111" cy="332399"/>
          </a:xfrm>
        </p:spPr>
        <p:txBody>
          <a:bodyPr wrap="square">
            <a:spAutoFit/>
          </a:bodyPr>
          <a:lstStyle>
            <a:lvl1pPr>
              <a:defRPr>
                <a:latin typeface="+mj-lt"/>
                <a:cs typeface="Arial" panose="020B0604020202020204" pitchFamily="34" charset="0"/>
              </a:defRPr>
            </a:lvl1pPr>
          </a:lstStyle>
          <a:p>
            <a:r>
              <a:rPr lang="en-US"/>
              <a:t>Click to edit Master title style</a:t>
            </a:r>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p:nvPr>
        </p:nvSpPr>
        <p:spPr>
          <a:xfrm>
            <a:off x="334963" y="610598"/>
            <a:ext cx="9504111"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46" indent="0" algn="ctr">
              <a:buNone/>
              <a:defRPr>
                <a:solidFill>
                  <a:schemeClr val="tx1">
                    <a:tint val="75000"/>
                  </a:schemeClr>
                </a:solidFill>
              </a:defRPr>
            </a:lvl2pPr>
            <a:lvl3pPr marL="685692" indent="0" algn="ctr">
              <a:buNone/>
              <a:defRPr>
                <a:solidFill>
                  <a:schemeClr val="tx1">
                    <a:tint val="75000"/>
                  </a:schemeClr>
                </a:solidFill>
              </a:defRPr>
            </a:lvl3pPr>
            <a:lvl4pPr marL="1028537" indent="0" algn="ctr">
              <a:buNone/>
              <a:defRPr>
                <a:solidFill>
                  <a:schemeClr val="tx1">
                    <a:tint val="75000"/>
                  </a:schemeClr>
                </a:solidFill>
              </a:defRPr>
            </a:lvl4pPr>
            <a:lvl5pPr marL="1371383" indent="0" algn="ctr">
              <a:buNone/>
              <a:defRPr>
                <a:solidFill>
                  <a:schemeClr val="tx1">
                    <a:tint val="75000"/>
                  </a:schemeClr>
                </a:solidFill>
              </a:defRPr>
            </a:lvl5pPr>
            <a:lvl6pPr marL="1714228" indent="0" algn="ctr">
              <a:buNone/>
              <a:defRPr>
                <a:solidFill>
                  <a:schemeClr val="tx1">
                    <a:tint val="75000"/>
                  </a:schemeClr>
                </a:solidFill>
              </a:defRPr>
            </a:lvl6pPr>
            <a:lvl7pPr marL="2057075" indent="0" algn="ctr">
              <a:buNone/>
              <a:defRPr>
                <a:solidFill>
                  <a:schemeClr val="tx1">
                    <a:tint val="75000"/>
                  </a:schemeClr>
                </a:solidFill>
              </a:defRPr>
            </a:lvl7pPr>
            <a:lvl8pPr marL="2399920" indent="0" algn="ctr">
              <a:buNone/>
              <a:defRPr>
                <a:solidFill>
                  <a:schemeClr val="tx1">
                    <a:tint val="75000"/>
                  </a:schemeClr>
                </a:solidFill>
              </a:defRPr>
            </a:lvl8pPr>
            <a:lvl9pPr marL="2742766" indent="0" algn="ctr">
              <a:buNone/>
              <a:defRPr>
                <a:solidFill>
                  <a:schemeClr val="tx1">
                    <a:tint val="75000"/>
                  </a:schemeClr>
                </a:solidFill>
              </a:defRPr>
            </a:lvl9pPr>
          </a:lstStyle>
          <a:p>
            <a:r>
              <a:rPr lang="en-US"/>
              <a:t>Click to edit Master subtitle style</a:t>
            </a:r>
            <a:endParaRPr lang="en-GB" noProof="0"/>
          </a:p>
        </p:txBody>
      </p:sp>
      <p:sp>
        <p:nvSpPr>
          <p:cNvPr id="33" name="Slide Number Placeholder 5">
            <a:extLst>
              <a:ext uri="{FF2B5EF4-FFF2-40B4-BE49-F238E27FC236}">
                <a16:creationId xmlns:a16="http://schemas.microsoft.com/office/drawing/2014/main" id="{714EC8C7-A133-478F-BF8B-66FEF67BC793}"/>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5" name="Footer Placeholder 3">
            <a:extLst>
              <a:ext uri="{FF2B5EF4-FFF2-40B4-BE49-F238E27FC236}">
                <a16:creationId xmlns:a16="http://schemas.microsoft.com/office/drawing/2014/main" id="{E5C41A63-DFB8-45B3-BA91-86A5B9928FC9}"/>
              </a:ext>
            </a:extLst>
          </p:cNvPr>
          <p:cNvSpPr>
            <a:spLocks noGrp="1"/>
          </p:cNvSpPr>
          <p:nvPr>
            <p:ph type="ftr" sz="quarter" idx="3"/>
          </p:nvPr>
        </p:nvSpPr>
        <p:spPr>
          <a:xfrm>
            <a:off x="2261053" y="6531715"/>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28" name="TextBox 27">
            <a:extLst>
              <a:ext uri="{FF2B5EF4-FFF2-40B4-BE49-F238E27FC236}">
                <a16:creationId xmlns:a16="http://schemas.microsoft.com/office/drawing/2014/main" id="{78FFDE00-DCA2-450F-83CF-D94DBA4AC31B}"/>
              </a:ext>
            </a:extLst>
          </p:cNvPr>
          <p:cNvSpPr txBox="1"/>
          <p:nvPr userDrawn="1"/>
        </p:nvSpPr>
        <p:spPr>
          <a:xfrm>
            <a:off x="11158232" y="6531717"/>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pic>
        <p:nvPicPr>
          <p:cNvPr id="29" name="Graphic 28">
            <a:extLst>
              <a:ext uri="{FF2B5EF4-FFF2-40B4-BE49-F238E27FC236}">
                <a16:creationId xmlns:a16="http://schemas.microsoft.com/office/drawing/2014/main" id="{47B201F3-A055-4579-B356-2C1722BA5F0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689" y="306000"/>
            <a:ext cx="1500251" cy="498141"/>
          </a:xfrm>
          <a:prstGeom prst="rect">
            <a:avLst/>
          </a:prstGeom>
        </p:spPr>
      </p:pic>
    </p:spTree>
    <p:extLst>
      <p:ext uri="{BB962C8B-B14F-4D97-AF65-F5344CB8AC3E}">
        <p14:creationId xmlns:p14="http://schemas.microsoft.com/office/powerpoint/2010/main" val="3261622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Half page">
    <p:spTree>
      <p:nvGrpSpPr>
        <p:cNvPr id="1" name=""/>
        <p:cNvGrpSpPr/>
        <p:nvPr/>
      </p:nvGrpSpPr>
      <p:grpSpPr>
        <a:xfrm>
          <a:off x="0" y="0"/>
          <a:ext cx="0" cy="0"/>
          <a:chOff x="0" y="0"/>
          <a:chExt cx="0" cy="0"/>
        </a:xfrm>
      </p:grpSpPr>
      <p:sp>
        <p:nvSpPr>
          <p:cNvPr id="31" name="Content Placeholder 2">
            <a:extLst>
              <a:ext uri="{FF2B5EF4-FFF2-40B4-BE49-F238E27FC236}">
                <a16:creationId xmlns:a16="http://schemas.microsoft.com/office/drawing/2014/main" id="{7A3CE4CA-E01B-4314-8B29-11C79F5BD65F}"/>
              </a:ext>
            </a:extLst>
          </p:cNvPr>
          <p:cNvSpPr>
            <a:spLocks noGrp="1"/>
          </p:cNvSpPr>
          <p:nvPr>
            <p:ph idx="1"/>
          </p:nvPr>
        </p:nvSpPr>
        <p:spPr>
          <a:xfrm>
            <a:off x="0" y="0"/>
            <a:ext cx="6096000" cy="6858000"/>
          </a:xfrm>
        </p:spPr>
        <p:txBody>
          <a:bodyPr lIns="360000" tIns="1188000" rIns="360000" bIns="360000"/>
          <a:lstStyle>
            <a:lvl1pPr marL="0" indent="0">
              <a:buNone/>
              <a:defRPr sz="2000">
                <a:latin typeface="+mn-lt"/>
                <a:cs typeface="Arial" panose="020B0604020202020204" pitchFamily="34" charset="0"/>
              </a:defRPr>
            </a:lvl1pPr>
            <a:lvl2pPr marL="239706" indent="0">
              <a:buNone/>
              <a:defRPr sz="1600">
                <a:latin typeface="+mn-lt"/>
                <a:cs typeface="Arial" panose="020B0604020202020204" pitchFamily="34" charset="0"/>
              </a:defRPr>
            </a:lvl2pPr>
            <a:lvl3pPr marL="538149" indent="0">
              <a:buNone/>
              <a:defRPr sz="1400">
                <a:latin typeface="+mn-lt"/>
                <a:cs typeface="Arial" panose="020B0604020202020204" pitchFamily="34" charset="0"/>
              </a:defRPr>
            </a:lvl3pPr>
            <a:lvl4pPr marL="719121" indent="0">
              <a:buNone/>
              <a:defRPr sz="1200">
                <a:latin typeface="+mn-lt"/>
                <a:cs typeface="Arial" panose="020B0604020202020204" pitchFamily="34" charset="0"/>
              </a:defRPr>
            </a:lvl4pPr>
            <a:lvl5pPr marL="985813" indent="0">
              <a:buNone/>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itle 1">
            <a:extLst>
              <a:ext uri="{FF2B5EF4-FFF2-40B4-BE49-F238E27FC236}">
                <a16:creationId xmlns:a16="http://schemas.microsoft.com/office/drawing/2014/main" id="{6E310D89-47FE-194B-8632-078ED6BD782F}"/>
              </a:ext>
            </a:extLst>
          </p:cNvPr>
          <p:cNvSpPr>
            <a:spLocks noGrp="1"/>
          </p:cNvSpPr>
          <p:nvPr>
            <p:ph type="title"/>
          </p:nvPr>
        </p:nvSpPr>
        <p:spPr>
          <a:xfrm>
            <a:off x="334965" y="260270"/>
            <a:ext cx="9504111" cy="332399"/>
          </a:xfrm>
        </p:spPr>
        <p:txBody>
          <a:bodyPr wrap="square">
            <a:spAutoFit/>
          </a:bodyPr>
          <a:lstStyle>
            <a:lvl1pPr>
              <a:defRPr>
                <a:latin typeface="+mj-lt"/>
                <a:cs typeface="Arial" panose="020B0604020202020204" pitchFamily="34" charset="0"/>
              </a:defRPr>
            </a:lvl1pPr>
          </a:lstStyle>
          <a:p>
            <a:r>
              <a:rPr lang="en-US"/>
              <a:t>Click to edit Master title style</a:t>
            </a:r>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p:nvPr>
        </p:nvSpPr>
        <p:spPr>
          <a:xfrm>
            <a:off x="334963" y="610598"/>
            <a:ext cx="9504111"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46" indent="0" algn="ctr">
              <a:buNone/>
              <a:defRPr>
                <a:solidFill>
                  <a:schemeClr val="tx1">
                    <a:tint val="75000"/>
                  </a:schemeClr>
                </a:solidFill>
              </a:defRPr>
            </a:lvl2pPr>
            <a:lvl3pPr marL="685692" indent="0" algn="ctr">
              <a:buNone/>
              <a:defRPr>
                <a:solidFill>
                  <a:schemeClr val="tx1">
                    <a:tint val="75000"/>
                  </a:schemeClr>
                </a:solidFill>
              </a:defRPr>
            </a:lvl3pPr>
            <a:lvl4pPr marL="1028537" indent="0" algn="ctr">
              <a:buNone/>
              <a:defRPr>
                <a:solidFill>
                  <a:schemeClr val="tx1">
                    <a:tint val="75000"/>
                  </a:schemeClr>
                </a:solidFill>
              </a:defRPr>
            </a:lvl4pPr>
            <a:lvl5pPr marL="1371383" indent="0" algn="ctr">
              <a:buNone/>
              <a:defRPr>
                <a:solidFill>
                  <a:schemeClr val="tx1">
                    <a:tint val="75000"/>
                  </a:schemeClr>
                </a:solidFill>
              </a:defRPr>
            </a:lvl5pPr>
            <a:lvl6pPr marL="1714228" indent="0" algn="ctr">
              <a:buNone/>
              <a:defRPr>
                <a:solidFill>
                  <a:schemeClr val="tx1">
                    <a:tint val="75000"/>
                  </a:schemeClr>
                </a:solidFill>
              </a:defRPr>
            </a:lvl6pPr>
            <a:lvl7pPr marL="2057075" indent="0" algn="ctr">
              <a:buNone/>
              <a:defRPr>
                <a:solidFill>
                  <a:schemeClr val="tx1">
                    <a:tint val="75000"/>
                  </a:schemeClr>
                </a:solidFill>
              </a:defRPr>
            </a:lvl7pPr>
            <a:lvl8pPr marL="2399920" indent="0" algn="ctr">
              <a:buNone/>
              <a:defRPr>
                <a:solidFill>
                  <a:schemeClr val="tx1">
                    <a:tint val="75000"/>
                  </a:schemeClr>
                </a:solidFill>
              </a:defRPr>
            </a:lvl8pPr>
            <a:lvl9pPr marL="2742766" indent="0" algn="ctr">
              <a:buNone/>
              <a:defRPr>
                <a:solidFill>
                  <a:schemeClr val="tx1">
                    <a:tint val="75000"/>
                  </a:schemeClr>
                </a:solidFill>
              </a:defRPr>
            </a:lvl9pPr>
          </a:lstStyle>
          <a:p>
            <a:r>
              <a:rPr lang="en-US"/>
              <a:t>Click to edit Master subtitle style</a:t>
            </a:r>
            <a:endParaRPr lang="en-GB" noProof="0"/>
          </a:p>
        </p:txBody>
      </p:sp>
      <p:sp>
        <p:nvSpPr>
          <p:cNvPr id="33" name="Slide Number Placeholder 5">
            <a:extLst>
              <a:ext uri="{FF2B5EF4-FFF2-40B4-BE49-F238E27FC236}">
                <a16:creationId xmlns:a16="http://schemas.microsoft.com/office/drawing/2014/main" id="{714EC8C7-A133-478F-BF8B-66FEF67BC793}"/>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5" name="Footer Placeholder 3">
            <a:extLst>
              <a:ext uri="{FF2B5EF4-FFF2-40B4-BE49-F238E27FC236}">
                <a16:creationId xmlns:a16="http://schemas.microsoft.com/office/drawing/2014/main" id="{E5C41A63-DFB8-45B3-BA91-86A5B9928FC9}"/>
              </a:ext>
            </a:extLst>
          </p:cNvPr>
          <p:cNvSpPr>
            <a:spLocks noGrp="1"/>
          </p:cNvSpPr>
          <p:nvPr>
            <p:ph type="ftr" sz="quarter" idx="3"/>
          </p:nvPr>
        </p:nvSpPr>
        <p:spPr>
          <a:xfrm>
            <a:off x="2261053" y="6531715"/>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28" name="TextBox 27">
            <a:extLst>
              <a:ext uri="{FF2B5EF4-FFF2-40B4-BE49-F238E27FC236}">
                <a16:creationId xmlns:a16="http://schemas.microsoft.com/office/drawing/2014/main" id="{78FFDE00-DCA2-450F-83CF-D94DBA4AC31B}"/>
              </a:ext>
            </a:extLst>
          </p:cNvPr>
          <p:cNvSpPr txBox="1"/>
          <p:nvPr userDrawn="1"/>
        </p:nvSpPr>
        <p:spPr>
          <a:xfrm>
            <a:off x="11158232" y="6531717"/>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sp>
        <p:nvSpPr>
          <p:cNvPr id="29" name="Content Placeholder 3">
            <a:extLst>
              <a:ext uri="{FF2B5EF4-FFF2-40B4-BE49-F238E27FC236}">
                <a16:creationId xmlns:a16="http://schemas.microsoft.com/office/drawing/2014/main" id="{D28AB84D-7A5A-4053-A68A-5AD1DF2F767B}"/>
              </a:ext>
            </a:extLst>
          </p:cNvPr>
          <p:cNvSpPr>
            <a:spLocks noGrp="1" noChangeAspect="1"/>
          </p:cNvSpPr>
          <p:nvPr>
            <p:ph sz="quarter" idx="31"/>
          </p:nvPr>
        </p:nvSpPr>
        <p:spPr>
          <a:xfrm>
            <a:off x="3334979" y="2482191"/>
            <a:ext cx="2160000" cy="2160000"/>
          </a:xfrm>
          <a:prstGeom prst="ellipse">
            <a:avLst/>
          </a:prstGeom>
          <a:solidFill>
            <a:schemeClr val="accent5"/>
          </a:solidFill>
        </p:spPr>
        <p:txBody>
          <a:bodyPr tIns="0" anchor="ctr" anchorCtr="0"/>
          <a:lstStyle>
            <a:lvl1pPr marL="0" indent="0" algn="ctr">
              <a:buNone/>
              <a:defRPr sz="2400">
                <a:latin typeface="+mj-lt"/>
              </a:defRPr>
            </a:lvl1pPr>
            <a:lvl2pPr marL="239706" indent="0" algn="ctr">
              <a:buNone/>
              <a:defRPr/>
            </a:lvl2pPr>
            <a:lvl3pPr marL="538149" indent="0" algn="ctr">
              <a:buNone/>
              <a:defRPr/>
            </a:lvl3pPr>
            <a:lvl4pPr marL="719121" indent="0" algn="ctr">
              <a:buNone/>
              <a:defRPr/>
            </a:lvl4pPr>
            <a:lvl5pPr marL="985813" indent="0" algn="ctr">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706567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V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660FE9-7058-445A-A87D-587C9395E97C}"/>
              </a:ext>
            </a:extLst>
          </p:cNvPr>
          <p:cNvSpPr/>
          <p:nvPr userDrawn="1"/>
        </p:nvSpPr>
        <p:spPr>
          <a:xfrm>
            <a:off x="8234008" y="0"/>
            <a:ext cx="3960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000">
              <a:latin typeface="+mn-lt"/>
              <a:cs typeface="Arial" panose="020B0604020202020204" pitchFamily="34" charset="0"/>
            </a:endParaRPr>
          </a:p>
        </p:txBody>
      </p:sp>
      <p:sp>
        <p:nvSpPr>
          <p:cNvPr id="18" name="Picture Placeholder 3">
            <a:extLst>
              <a:ext uri="{FF2B5EF4-FFF2-40B4-BE49-F238E27FC236}">
                <a16:creationId xmlns:a16="http://schemas.microsoft.com/office/drawing/2014/main" id="{33BE1813-D5B5-4415-BB63-F6AD5397276E}"/>
              </a:ext>
            </a:extLst>
          </p:cNvPr>
          <p:cNvSpPr>
            <a:spLocks noGrp="1"/>
          </p:cNvSpPr>
          <p:nvPr>
            <p:ph type="pic" sz="quarter" idx="30" hasCustomPrompt="1"/>
          </p:nvPr>
        </p:nvSpPr>
        <p:spPr>
          <a:xfrm>
            <a:off x="9413053" y="1509000"/>
            <a:ext cx="1920000" cy="1920000"/>
          </a:xfrm>
          <a:prstGeom prst="ellipse">
            <a:avLst/>
          </a:prstGeom>
        </p:spPr>
        <p:txBody>
          <a:bodyPr/>
          <a:lstStyle>
            <a:lvl1pPr marL="0" indent="0" algn="ctr">
              <a:buNone/>
              <a:defRPr sz="1333">
                <a:solidFill>
                  <a:srgbClr val="2167AE"/>
                </a:solidFill>
                <a:latin typeface="+mn-lt"/>
                <a:cs typeface="Arial" panose="020B0604020202020204" pitchFamily="34" charset="0"/>
              </a:defRPr>
            </a:lvl1pPr>
          </a:lstStyle>
          <a:p>
            <a:r>
              <a:rPr lang="en-GB"/>
              <a:t>Add picture here</a:t>
            </a:r>
          </a:p>
        </p:txBody>
      </p:sp>
      <p:sp>
        <p:nvSpPr>
          <p:cNvPr id="20" name="Title 1">
            <a:extLst>
              <a:ext uri="{FF2B5EF4-FFF2-40B4-BE49-F238E27FC236}">
                <a16:creationId xmlns:a16="http://schemas.microsoft.com/office/drawing/2014/main" id="{6E310D89-47FE-194B-8632-078ED6BD782F}"/>
              </a:ext>
            </a:extLst>
          </p:cNvPr>
          <p:cNvSpPr>
            <a:spLocks noGrp="1"/>
          </p:cNvSpPr>
          <p:nvPr>
            <p:ph type="title"/>
          </p:nvPr>
        </p:nvSpPr>
        <p:spPr>
          <a:xfrm>
            <a:off x="334801" y="260270"/>
            <a:ext cx="7621515" cy="332399"/>
          </a:xfrm>
        </p:spPr>
        <p:txBody>
          <a:bodyPr wrap="square">
            <a:spAutoFit/>
          </a:bodyPr>
          <a:lstStyle>
            <a:lvl1pPr>
              <a:defRPr>
                <a:latin typeface="+mj-lt"/>
                <a:cs typeface="Arial" panose="020B0604020202020204" pitchFamily="34" charset="0"/>
              </a:defRPr>
            </a:lvl1pPr>
          </a:lstStyle>
          <a:p>
            <a:r>
              <a:rPr lang="en-US"/>
              <a:t>Click to edit Master title style</a:t>
            </a:r>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p:nvPr>
        </p:nvSpPr>
        <p:spPr>
          <a:xfrm>
            <a:off x="334801" y="610598"/>
            <a:ext cx="76215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46" indent="0" algn="ctr">
              <a:buNone/>
              <a:defRPr>
                <a:solidFill>
                  <a:schemeClr val="tx1">
                    <a:tint val="75000"/>
                  </a:schemeClr>
                </a:solidFill>
              </a:defRPr>
            </a:lvl2pPr>
            <a:lvl3pPr marL="685692" indent="0" algn="ctr">
              <a:buNone/>
              <a:defRPr>
                <a:solidFill>
                  <a:schemeClr val="tx1">
                    <a:tint val="75000"/>
                  </a:schemeClr>
                </a:solidFill>
              </a:defRPr>
            </a:lvl3pPr>
            <a:lvl4pPr marL="1028537" indent="0" algn="ctr">
              <a:buNone/>
              <a:defRPr>
                <a:solidFill>
                  <a:schemeClr val="tx1">
                    <a:tint val="75000"/>
                  </a:schemeClr>
                </a:solidFill>
              </a:defRPr>
            </a:lvl4pPr>
            <a:lvl5pPr marL="1371383" indent="0" algn="ctr">
              <a:buNone/>
              <a:defRPr>
                <a:solidFill>
                  <a:schemeClr val="tx1">
                    <a:tint val="75000"/>
                  </a:schemeClr>
                </a:solidFill>
              </a:defRPr>
            </a:lvl5pPr>
            <a:lvl6pPr marL="1714228" indent="0" algn="ctr">
              <a:buNone/>
              <a:defRPr>
                <a:solidFill>
                  <a:schemeClr val="tx1">
                    <a:tint val="75000"/>
                  </a:schemeClr>
                </a:solidFill>
              </a:defRPr>
            </a:lvl6pPr>
            <a:lvl7pPr marL="2057075" indent="0" algn="ctr">
              <a:buNone/>
              <a:defRPr>
                <a:solidFill>
                  <a:schemeClr val="tx1">
                    <a:tint val="75000"/>
                  </a:schemeClr>
                </a:solidFill>
              </a:defRPr>
            </a:lvl7pPr>
            <a:lvl8pPr marL="2399920" indent="0" algn="ctr">
              <a:buNone/>
              <a:defRPr>
                <a:solidFill>
                  <a:schemeClr val="tx1">
                    <a:tint val="75000"/>
                  </a:schemeClr>
                </a:solidFill>
              </a:defRPr>
            </a:lvl8pPr>
            <a:lvl9pPr marL="2742766" indent="0" algn="ctr">
              <a:buNone/>
              <a:defRPr>
                <a:solidFill>
                  <a:schemeClr val="tx1">
                    <a:tint val="75000"/>
                  </a:schemeClr>
                </a:solidFill>
              </a:defRPr>
            </a:lvl9pPr>
          </a:lstStyle>
          <a:p>
            <a:r>
              <a:rPr lang="en-US"/>
              <a:t>Click to edit Master subtitle style</a:t>
            </a:r>
            <a:endParaRPr lang="en-GB" noProof="0"/>
          </a:p>
        </p:txBody>
      </p:sp>
      <p:sp>
        <p:nvSpPr>
          <p:cNvPr id="33" name="Content Placeholder 2">
            <a:extLst>
              <a:ext uri="{FF2B5EF4-FFF2-40B4-BE49-F238E27FC236}">
                <a16:creationId xmlns:a16="http://schemas.microsoft.com/office/drawing/2014/main" id="{22F76E53-ED3E-4712-828A-462700FD54D1}"/>
              </a:ext>
            </a:extLst>
          </p:cNvPr>
          <p:cNvSpPr>
            <a:spLocks noGrp="1"/>
          </p:cNvSpPr>
          <p:nvPr>
            <p:ph idx="1"/>
          </p:nvPr>
        </p:nvSpPr>
        <p:spPr>
          <a:xfrm>
            <a:off x="334801" y="1206180"/>
            <a:ext cx="7621515"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Slide Number Placeholder 5">
            <a:extLst>
              <a:ext uri="{FF2B5EF4-FFF2-40B4-BE49-F238E27FC236}">
                <a16:creationId xmlns:a16="http://schemas.microsoft.com/office/drawing/2014/main" id="{3E83A98D-348B-40D1-B8DE-954D062DE5ED}"/>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5" name="TextBox 34">
            <a:extLst>
              <a:ext uri="{FF2B5EF4-FFF2-40B4-BE49-F238E27FC236}">
                <a16:creationId xmlns:a16="http://schemas.microsoft.com/office/drawing/2014/main" id="{20454A9A-E833-4775-8C2D-33EB42BCE6B5}"/>
              </a:ext>
            </a:extLst>
          </p:cNvPr>
          <p:cNvSpPr txBox="1"/>
          <p:nvPr userDrawn="1"/>
        </p:nvSpPr>
        <p:spPr>
          <a:xfrm>
            <a:off x="11158232" y="6531717"/>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31715"/>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37" name="Graphic 36">
            <a:extLst>
              <a:ext uri="{FF2B5EF4-FFF2-40B4-BE49-F238E27FC236}">
                <a16:creationId xmlns:a16="http://schemas.microsoft.com/office/drawing/2014/main" id="{C8B466E6-A668-4046-A75F-AB1CFB0F8F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689" y="306000"/>
            <a:ext cx="1500251" cy="498141"/>
          </a:xfrm>
          <a:prstGeom prst="rect">
            <a:avLst/>
          </a:prstGeom>
        </p:spPr>
      </p:pic>
    </p:spTree>
    <p:extLst>
      <p:ext uri="{BB962C8B-B14F-4D97-AF65-F5344CB8AC3E}">
        <p14:creationId xmlns:p14="http://schemas.microsoft.com/office/powerpoint/2010/main" val="3184917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estion left">
    <p:bg>
      <p:bgPr>
        <a:solidFill>
          <a:schemeClr val="accent6"/>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660FE9-7058-445A-A87D-587C9395E97C}"/>
              </a:ext>
            </a:extLst>
          </p:cNvPr>
          <p:cNvSpPr/>
          <p:nvPr userDrawn="1"/>
        </p:nvSpPr>
        <p:spPr>
          <a:xfrm flipH="1">
            <a:off x="3960000" y="0"/>
            <a:ext cx="823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000">
              <a:latin typeface="+mn-lt"/>
              <a:cs typeface="Arial" panose="020B0604020202020204" pitchFamily="34" charset="0"/>
            </a:endParaRPr>
          </a:p>
        </p:txBody>
      </p:sp>
      <p:sp>
        <p:nvSpPr>
          <p:cNvPr id="33" name="Content Placeholder 2">
            <a:extLst>
              <a:ext uri="{FF2B5EF4-FFF2-40B4-BE49-F238E27FC236}">
                <a16:creationId xmlns:a16="http://schemas.microsoft.com/office/drawing/2014/main" id="{22F76E53-ED3E-4712-828A-462700FD54D1}"/>
              </a:ext>
            </a:extLst>
          </p:cNvPr>
          <p:cNvSpPr>
            <a:spLocks noGrp="1"/>
          </p:cNvSpPr>
          <p:nvPr>
            <p:ph idx="1"/>
          </p:nvPr>
        </p:nvSpPr>
        <p:spPr>
          <a:xfrm>
            <a:off x="4235524" y="1206180"/>
            <a:ext cx="7621515"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itle 1">
            <a:extLst>
              <a:ext uri="{FF2B5EF4-FFF2-40B4-BE49-F238E27FC236}">
                <a16:creationId xmlns:a16="http://schemas.microsoft.com/office/drawing/2014/main" id="{6E310D89-47FE-194B-8632-078ED6BD782F}"/>
              </a:ext>
            </a:extLst>
          </p:cNvPr>
          <p:cNvSpPr>
            <a:spLocks noGrp="1"/>
          </p:cNvSpPr>
          <p:nvPr>
            <p:ph type="title"/>
          </p:nvPr>
        </p:nvSpPr>
        <p:spPr>
          <a:xfrm>
            <a:off x="334801" y="260270"/>
            <a:ext cx="7621515" cy="332399"/>
          </a:xfrm>
        </p:spPr>
        <p:txBody>
          <a:bodyPr wrap="square">
            <a:spAutoFit/>
          </a:bodyPr>
          <a:lstStyle>
            <a:lvl1pPr>
              <a:defRPr>
                <a:latin typeface="+mj-lt"/>
                <a:cs typeface="Arial" panose="020B0604020202020204" pitchFamily="34" charset="0"/>
              </a:defRPr>
            </a:lvl1pPr>
          </a:lstStyle>
          <a:p>
            <a:r>
              <a:rPr lang="en-US"/>
              <a:t>Click to edit Master title style</a:t>
            </a:r>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p:nvPr>
        </p:nvSpPr>
        <p:spPr>
          <a:xfrm>
            <a:off x="334801" y="610598"/>
            <a:ext cx="76215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46" indent="0" algn="ctr">
              <a:buNone/>
              <a:defRPr>
                <a:solidFill>
                  <a:schemeClr val="tx1">
                    <a:tint val="75000"/>
                  </a:schemeClr>
                </a:solidFill>
              </a:defRPr>
            </a:lvl2pPr>
            <a:lvl3pPr marL="685692" indent="0" algn="ctr">
              <a:buNone/>
              <a:defRPr>
                <a:solidFill>
                  <a:schemeClr val="tx1">
                    <a:tint val="75000"/>
                  </a:schemeClr>
                </a:solidFill>
              </a:defRPr>
            </a:lvl3pPr>
            <a:lvl4pPr marL="1028537" indent="0" algn="ctr">
              <a:buNone/>
              <a:defRPr>
                <a:solidFill>
                  <a:schemeClr val="tx1">
                    <a:tint val="75000"/>
                  </a:schemeClr>
                </a:solidFill>
              </a:defRPr>
            </a:lvl4pPr>
            <a:lvl5pPr marL="1371383" indent="0" algn="ctr">
              <a:buNone/>
              <a:defRPr>
                <a:solidFill>
                  <a:schemeClr val="tx1">
                    <a:tint val="75000"/>
                  </a:schemeClr>
                </a:solidFill>
              </a:defRPr>
            </a:lvl5pPr>
            <a:lvl6pPr marL="1714228" indent="0" algn="ctr">
              <a:buNone/>
              <a:defRPr>
                <a:solidFill>
                  <a:schemeClr val="tx1">
                    <a:tint val="75000"/>
                  </a:schemeClr>
                </a:solidFill>
              </a:defRPr>
            </a:lvl6pPr>
            <a:lvl7pPr marL="2057075" indent="0" algn="ctr">
              <a:buNone/>
              <a:defRPr>
                <a:solidFill>
                  <a:schemeClr val="tx1">
                    <a:tint val="75000"/>
                  </a:schemeClr>
                </a:solidFill>
              </a:defRPr>
            </a:lvl7pPr>
            <a:lvl8pPr marL="2399920" indent="0" algn="ctr">
              <a:buNone/>
              <a:defRPr>
                <a:solidFill>
                  <a:schemeClr val="tx1">
                    <a:tint val="75000"/>
                  </a:schemeClr>
                </a:solidFill>
              </a:defRPr>
            </a:lvl8pPr>
            <a:lvl9pPr marL="2742766" indent="0" algn="ctr">
              <a:buNone/>
              <a:defRPr>
                <a:solidFill>
                  <a:schemeClr val="tx1">
                    <a:tint val="75000"/>
                  </a:schemeClr>
                </a:solidFill>
              </a:defRPr>
            </a:lvl9pPr>
          </a:lstStyle>
          <a:p>
            <a:r>
              <a:rPr lang="en-US"/>
              <a:t>Click to edit Master subtitle style</a:t>
            </a:r>
            <a:endParaRPr lang="en-GB" noProof="0"/>
          </a:p>
        </p:txBody>
      </p:sp>
      <p:sp>
        <p:nvSpPr>
          <p:cNvPr id="34" name="Slide Number Placeholder 5">
            <a:extLst>
              <a:ext uri="{FF2B5EF4-FFF2-40B4-BE49-F238E27FC236}">
                <a16:creationId xmlns:a16="http://schemas.microsoft.com/office/drawing/2014/main" id="{3E83A98D-348B-40D1-B8DE-954D062DE5ED}"/>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31715"/>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48" name="TextBox 47">
            <a:extLst>
              <a:ext uri="{FF2B5EF4-FFF2-40B4-BE49-F238E27FC236}">
                <a16:creationId xmlns:a16="http://schemas.microsoft.com/office/drawing/2014/main" id="{C3A15D67-CC48-49A2-A452-9F407AE67A61}"/>
              </a:ext>
            </a:extLst>
          </p:cNvPr>
          <p:cNvSpPr txBox="1"/>
          <p:nvPr userDrawn="1"/>
        </p:nvSpPr>
        <p:spPr>
          <a:xfrm>
            <a:off x="11158232" y="6531717"/>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sp>
        <p:nvSpPr>
          <p:cNvPr id="49" name="Content Placeholder 3">
            <a:extLst>
              <a:ext uri="{FF2B5EF4-FFF2-40B4-BE49-F238E27FC236}">
                <a16:creationId xmlns:a16="http://schemas.microsoft.com/office/drawing/2014/main" id="{9F3E414F-C821-4DD9-91FC-CF7C8D1A8CF4}"/>
              </a:ext>
            </a:extLst>
          </p:cNvPr>
          <p:cNvSpPr>
            <a:spLocks noGrp="1" noChangeAspect="1"/>
          </p:cNvSpPr>
          <p:nvPr>
            <p:ph sz="quarter" idx="31"/>
          </p:nvPr>
        </p:nvSpPr>
        <p:spPr>
          <a:xfrm>
            <a:off x="536915" y="1206179"/>
            <a:ext cx="2880000" cy="2880000"/>
          </a:xfrm>
          <a:prstGeom prst="ellipse">
            <a:avLst/>
          </a:prstGeom>
          <a:solidFill>
            <a:schemeClr val="accent5"/>
          </a:solidFill>
        </p:spPr>
        <p:txBody>
          <a:bodyPr tIns="180000" anchor="t" anchorCtr="0"/>
          <a:lstStyle>
            <a:lvl1pPr marL="0" indent="0" algn="ctr">
              <a:buNone/>
              <a:defRPr sz="2000"/>
            </a:lvl1pPr>
            <a:lvl2pPr marL="239706" indent="0" algn="ctr">
              <a:buNone/>
              <a:defRPr/>
            </a:lvl2pPr>
            <a:lvl3pPr marL="538149" indent="0" algn="ctr">
              <a:buNone/>
              <a:defRPr/>
            </a:lvl3pPr>
            <a:lvl4pPr marL="719121" indent="0" algn="ctr">
              <a:buNone/>
              <a:defRPr/>
            </a:lvl4pPr>
            <a:lvl5pPr marL="985813" indent="0" algn="ctr">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2" name="Graphic 21">
            <a:extLst>
              <a:ext uri="{FF2B5EF4-FFF2-40B4-BE49-F238E27FC236}">
                <a16:creationId xmlns:a16="http://schemas.microsoft.com/office/drawing/2014/main" id="{DBAB1416-1A98-41FB-8B79-9355E463BD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689" y="306000"/>
            <a:ext cx="1500251" cy="498141"/>
          </a:xfrm>
          <a:prstGeom prst="rect">
            <a:avLst/>
          </a:prstGeom>
        </p:spPr>
      </p:pic>
    </p:spTree>
    <p:extLst>
      <p:ext uri="{BB962C8B-B14F-4D97-AF65-F5344CB8AC3E}">
        <p14:creationId xmlns:p14="http://schemas.microsoft.com/office/powerpoint/2010/main" val="18356528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Question right">
    <p:bg>
      <p:bgPr>
        <a:solidFill>
          <a:schemeClr val="accent6"/>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660FE9-7058-445A-A87D-587C9395E97C}"/>
              </a:ext>
            </a:extLst>
          </p:cNvPr>
          <p:cNvSpPr/>
          <p:nvPr userDrawn="1"/>
        </p:nvSpPr>
        <p:spPr>
          <a:xfrm flipH="1">
            <a:off x="-8816" y="0"/>
            <a:ext cx="823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000">
              <a:latin typeface="+mn-lt"/>
              <a:cs typeface="Arial" panose="020B0604020202020204" pitchFamily="34" charset="0"/>
            </a:endParaRPr>
          </a:p>
        </p:txBody>
      </p:sp>
      <p:sp>
        <p:nvSpPr>
          <p:cNvPr id="33" name="Content Placeholder 2">
            <a:extLst>
              <a:ext uri="{FF2B5EF4-FFF2-40B4-BE49-F238E27FC236}">
                <a16:creationId xmlns:a16="http://schemas.microsoft.com/office/drawing/2014/main" id="{22F76E53-ED3E-4712-828A-462700FD54D1}"/>
              </a:ext>
            </a:extLst>
          </p:cNvPr>
          <p:cNvSpPr>
            <a:spLocks noGrp="1"/>
          </p:cNvSpPr>
          <p:nvPr>
            <p:ph idx="1"/>
          </p:nvPr>
        </p:nvSpPr>
        <p:spPr>
          <a:xfrm>
            <a:off x="334801" y="1206180"/>
            <a:ext cx="7621515" cy="5040145"/>
          </a:xfrm>
        </p:spPr>
        <p:txBody>
          <a:bodyPr lIns="72000" tIns="72000" rIns="72000" bIns="72000"/>
          <a:lstStyle>
            <a:lvl1pPr>
              <a:defRPr sz="1800">
                <a:latin typeface="+mn-lt"/>
                <a:cs typeface="Arial" panose="020B0604020202020204" pitchFamily="34" charset="0"/>
              </a:defRPr>
            </a:lvl1pPr>
            <a:lvl2pPr>
              <a:defRPr sz="1600">
                <a:latin typeface="+mn-lt"/>
                <a:cs typeface="Arial" panose="020B0604020202020204" pitchFamily="34" charset="0"/>
              </a:defRPr>
            </a:lvl2pPr>
            <a:lvl3pPr>
              <a:defRPr sz="1400">
                <a:latin typeface="+mn-lt"/>
                <a:cs typeface="Arial" panose="020B0604020202020204" pitchFamily="34" charset="0"/>
              </a:defRPr>
            </a:lvl3pPr>
            <a:lvl4pPr>
              <a:defRPr sz="1200">
                <a:latin typeface="+mn-lt"/>
                <a:cs typeface="Arial" panose="020B0604020202020204" pitchFamily="34" charset="0"/>
              </a:defRPr>
            </a:lvl4pPr>
            <a:lvl5pPr>
              <a:defRPr sz="12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itle 1">
            <a:extLst>
              <a:ext uri="{FF2B5EF4-FFF2-40B4-BE49-F238E27FC236}">
                <a16:creationId xmlns:a16="http://schemas.microsoft.com/office/drawing/2014/main" id="{6E310D89-47FE-194B-8632-078ED6BD782F}"/>
              </a:ext>
            </a:extLst>
          </p:cNvPr>
          <p:cNvSpPr>
            <a:spLocks noGrp="1"/>
          </p:cNvSpPr>
          <p:nvPr>
            <p:ph type="title"/>
          </p:nvPr>
        </p:nvSpPr>
        <p:spPr>
          <a:xfrm>
            <a:off x="334801" y="260270"/>
            <a:ext cx="7621515" cy="332399"/>
          </a:xfrm>
        </p:spPr>
        <p:txBody>
          <a:bodyPr wrap="square">
            <a:spAutoFit/>
          </a:bodyPr>
          <a:lstStyle>
            <a:lvl1pPr>
              <a:defRPr>
                <a:latin typeface="+mj-lt"/>
                <a:cs typeface="Arial" panose="020B0604020202020204" pitchFamily="34" charset="0"/>
              </a:defRPr>
            </a:lvl1pPr>
          </a:lstStyle>
          <a:p>
            <a:r>
              <a:rPr lang="en-US"/>
              <a:t>Click to edit Master title style</a:t>
            </a:r>
          </a:p>
        </p:txBody>
      </p:sp>
      <p:sp>
        <p:nvSpPr>
          <p:cNvPr id="21" name="Subtitle 2">
            <a:extLst>
              <a:ext uri="{FF2B5EF4-FFF2-40B4-BE49-F238E27FC236}">
                <a16:creationId xmlns:a16="http://schemas.microsoft.com/office/drawing/2014/main" id="{C3A0D7BD-03D2-854B-B4D1-F90AD6E503C9}"/>
              </a:ext>
            </a:extLst>
          </p:cNvPr>
          <p:cNvSpPr>
            <a:spLocks noGrp="1"/>
          </p:cNvSpPr>
          <p:nvPr>
            <p:ph type="subTitle" idx="13"/>
          </p:nvPr>
        </p:nvSpPr>
        <p:spPr>
          <a:xfrm>
            <a:off x="334801" y="610598"/>
            <a:ext cx="7621515" cy="332399"/>
          </a:xfrm>
          <a:prstGeom prst="rect">
            <a:avLst/>
          </a:prstGeom>
        </p:spPr>
        <p:txBody>
          <a:bodyPr anchor="t">
            <a:normAutofit/>
          </a:bodyPr>
          <a:lstStyle>
            <a:lvl1pPr marL="0" indent="0" algn="l">
              <a:buFont typeface="Arial" panose="020B0604020202020204" pitchFamily="34" charset="0"/>
              <a:buNone/>
              <a:defRPr sz="1800" b="0" i="0">
                <a:solidFill>
                  <a:srgbClr val="2167AE"/>
                </a:solidFill>
                <a:latin typeface="+mn-lt"/>
                <a:cs typeface="Arial" panose="020B0604020202020204" pitchFamily="34" charset="0"/>
              </a:defRPr>
            </a:lvl1pPr>
            <a:lvl2pPr marL="342846" indent="0" algn="ctr">
              <a:buNone/>
              <a:defRPr>
                <a:solidFill>
                  <a:schemeClr val="tx1">
                    <a:tint val="75000"/>
                  </a:schemeClr>
                </a:solidFill>
              </a:defRPr>
            </a:lvl2pPr>
            <a:lvl3pPr marL="685692" indent="0" algn="ctr">
              <a:buNone/>
              <a:defRPr>
                <a:solidFill>
                  <a:schemeClr val="tx1">
                    <a:tint val="75000"/>
                  </a:schemeClr>
                </a:solidFill>
              </a:defRPr>
            </a:lvl3pPr>
            <a:lvl4pPr marL="1028537" indent="0" algn="ctr">
              <a:buNone/>
              <a:defRPr>
                <a:solidFill>
                  <a:schemeClr val="tx1">
                    <a:tint val="75000"/>
                  </a:schemeClr>
                </a:solidFill>
              </a:defRPr>
            </a:lvl4pPr>
            <a:lvl5pPr marL="1371383" indent="0" algn="ctr">
              <a:buNone/>
              <a:defRPr>
                <a:solidFill>
                  <a:schemeClr val="tx1">
                    <a:tint val="75000"/>
                  </a:schemeClr>
                </a:solidFill>
              </a:defRPr>
            </a:lvl5pPr>
            <a:lvl6pPr marL="1714228" indent="0" algn="ctr">
              <a:buNone/>
              <a:defRPr>
                <a:solidFill>
                  <a:schemeClr val="tx1">
                    <a:tint val="75000"/>
                  </a:schemeClr>
                </a:solidFill>
              </a:defRPr>
            </a:lvl6pPr>
            <a:lvl7pPr marL="2057075" indent="0" algn="ctr">
              <a:buNone/>
              <a:defRPr>
                <a:solidFill>
                  <a:schemeClr val="tx1">
                    <a:tint val="75000"/>
                  </a:schemeClr>
                </a:solidFill>
              </a:defRPr>
            </a:lvl7pPr>
            <a:lvl8pPr marL="2399920" indent="0" algn="ctr">
              <a:buNone/>
              <a:defRPr>
                <a:solidFill>
                  <a:schemeClr val="tx1">
                    <a:tint val="75000"/>
                  </a:schemeClr>
                </a:solidFill>
              </a:defRPr>
            </a:lvl8pPr>
            <a:lvl9pPr marL="2742766" indent="0" algn="ctr">
              <a:buNone/>
              <a:defRPr>
                <a:solidFill>
                  <a:schemeClr val="tx1">
                    <a:tint val="75000"/>
                  </a:schemeClr>
                </a:solidFill>
              </a:defRPr>
            </a:lvl9pPr>
          </a:lstStyle>
          <a:p>
            <a:r>
              <a:rPr lang="en-US"/>
              <a:t>Click to edit Master subtitle style</a:t>
            </a:r>
            <a:endParaRPr lang="en-GB" noProof="0"/>
          </a:p>
        </p:txBody>
      </p:sp>
      <p:sp>
        <p:nvSpPr>
          <p:cNvPr id="34" name="Slide Number Placeholder 5">
            <a:extLst>
              <a:ext uri="{FF2B5EF4-FFF2-40B4-BE49-F238E27FC236}">
                <a16:creationId xmlns:a16="http://schemas.microsoft.com/office/drawing/2014/main" id="{3E83A98D-348B-40D1-B8DE-954D062DE5ED}"/>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6" name="Footer Placeholder 3">
            <a:extLst>
              <a:ext uri="{FF2B5EF4-FFF2-40B4-BE49-F238E27FC236}">
                <a16:creationId xmlns:a16="http://schemas.microsoft.com/office/drawing/2014/main" id="{D4697806-E525-43F1-B233-E030C6B5FB9F}"/>
              </a:ext>
            </a:extLst>
          </p:cNvPr>
          <p:cNvSpPr>
            <a:spLocks noGrp="1"/>
          </p:cNvSpPr>
          <p:nvPr>
            <p:ph type="ftr" sz="quarter" idx="3"/>
          </p:nvPr>
        </p:nvSpPr>
        <p:spPr>
          <a:xfrm>
            <a:off x="2261053" y="6531715"/>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49" name="Content Placeholder 3">
            <a:extLst>
              <a:ext uri="{FF2B5EF4-FFF2-40B4-BE49-F238E27FC236}">
                <a16:creationId xmlns:a16="http://schemas.microsoft.com/office/drawing/2014/main" id="{9F3E414F-C821-4DD9-91FC-CF7C8D1A8CF4}"/>
              </a:ext>
            </a:extLst>
          </p:cNvPr>
          <p:cNvSpPr>
            <a:spLocks noGrp="1" noChangeAspect="1"/>
          </p:cNvSpPr>
          <p:nvPr>
            <p:ph sz="quarter" idx="31"/>
          </p:nvPr>
        </p:nvSpPr>
        <p:spPr>
          <a:xfrm>
            <a:off x="8767592" y="1206179"/>
            <a:ext cx="2880000" cy="2880000"/>
          </a:xfrm>
          <a:prstGeom prst="ellipse">
            <a:avLst/>
          </a:prstGeom>
          <a:solidFill>
            <a:schemeClr val="accent5"/>
          </a:solidFill>
        </p:spPr>
        <p:txBody>
          <a:bodyPr tIns="180000" anchor="t" anchorCtr="0"/>
          <a:lstStyle>
            <a:lvl1pPr marL="0" indent="0" algn="ctr">
              <a:buNone/>
              <a:defRPr sz="2000"/>
            </a:lvl1pPr>
            <a:lvl2pPr marL="239706" indent="0" algn="ctr">
              <a:buNone/>
              <a:defRPr/>
            </a:lvl2pPr>
            <a:lvl3pPr marL="538149" indent="0" algn="ctr">
              <a:buNone/>
              <a:defRPr/>
            </a:lvl3pPr>
            <a:lvl4pPr marL="719121" indent="0" algn="ctr">
              <a:buNone/>
              <a:defRPr/>
            </a:lvl4pPr>
            <a:lvl5pPr marL="985813" indent="0" algn="ctr">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503302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9979B0B5-DCB0-844D-8724-1DB31C8A8C0B}"/>
              </a:ext>
            </a:extLst>
          </p:cNvPr>
          <p:cNvSpPr>
            <a:spLocks noGrp="1"/>
          </p:cNvSpPr>
          <p:nvPr>
            <p:ph type="title"/>
          </p:nvPr>
        </p:nvSpPr>
        <p:spPr>
          <a:xfrm>
            <a:off x="334801" y="260270"/>
            <a:ext cx="9485137" cy="332399"/>
          </a:xfrm>
        </p:spPr>
        <p:txBody>
          <a:bodyPr wrap="square">
            <a:spAutoFit/>
          </a:bodyPr>
          <a:lstStyle>
            <a:lvl1pPr>
              <a:defRPr>
                <a:latin typeface="+mj-lt"/>
                <a:cs typeface="Arial" panose="020B0604020202020204" pitchFamily="34" charset="0"/>
              </a:defRPr>
            </a:lvl1pPr>
          </a:lstStyle>
          <a:p>
            <a:r>
              <a:rPr lang="en-US"/>
              <a:t>Click to edit Master title style</a:t>
            </a:r>
          </a:p>
        </p:txBody>
      </p:sp>
      <p:sp>
        <p:nvSpPr>
          <p:cNvPr id="28" name="Slide Number Placeholder 5">
            <a:extLst>
              <a:ext uri="{FF2B5EF4-FFF2-40B4-BE49-F238E27FC236}">
                <a16:creationId xmlns:a16="http://schemas.microsoft.com/office/drawing/2014/main" id="{54613BA4-3F37-477A-9F83-816FFC375697}"/>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30" name="Footer Placeholder 3">
            <a:extLst>
              <a:ext uri="{FF2B5EF4-FFF2-40B4-BE49-F238E27FC236}">
                <a16:creationId xmlns:a16="http://schemas.microsoft.com/office/drawing/2014/main" id="{3866945B-F4D3-4972-8A47-C02C9E2AC957}"/>
              </a:ext>
            </a:extLst>
          </p:cNvPr>
          <p:cNvSpPr>
            <a:spLocks noGrp="1"/>
          </p:cNvSpPr>
          <p:nvPr>
            <p:ph type="ftr" sz="quarter" idx="3"/>
          </p:nvPr>
        </p:nvSpPr>
        <p:spPr>
          <a:xfrm>
            <a:off x="2261053" y="6531715"/>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Tree>
    <p:extLst>
      <p:ext uri="{BB962C8B-B14F-4D97-AF65-F5344CB8AC3E}">
        <p14:creationId xmlns:p14="http://schemas.microsoft.com/office/powerpoint/2010/main" val="35869434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no Logo">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9979B0B5-DCB0-844D-8724-1DB31C8A8C0B}"/>
              </a:ext>
            </a:extLst>
          </p:cNvPr>
          <p:cNvSpPr>
            <a:spLocks noGrp="1"/>
          </p:cNvSpPr>
          <p:nvPr>
            <p:ph type="title"/>
          </p:nvPr>
        </p:nvSpPr>
        <p:spPr>
          <a:xfrm>
            <a:off x="334965" y="260270"/>
            <a:ext cx="9504111" cy="332399"/>
          </a:xfrm>
        </p:spPr>
        <p:txBody>
          <a:bodyPr wrap="square">
            <a:spAutoFit/>
          </a:bodyPr>
          <a:lstStyle>
            <a:lvl1pPr>
              <a:defRPr>
                <a:latin typeface="+mj-lt"/>
              </a:defRPr>
            </a:lvl1pPr>
          </a:lstStyle>
          <a:p>
            <a:r>
              <a:rPr lang="en-US"/>
              <a:t>Click to edit Master title style</a:t>
            </a:r>
          </a:p>
        </p:txBody>
      </p:sp>
      <p:sp>
        <p:nvSpPr>
          <p:cNvPr id="6" name="Slide Number Placeholder 5">
            <a:extLst>
              <a:ext uri="{FF2B5EF4-FFF2-40B4-BE49-F238E27FC236}">
                <a16:creationId xmlns:a16="http://schemas.microsoft.com/office/drawing/2014/main" id="{6E1B8922-F046-4949-89A1-82828F430E98}"/>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defRPr>
            </a:lvl1pPr>
          </a:lstStyle>
          <a:p>
            <a:fld id="{FA58F0B4-6BC7-4BFB-804F-EE9B892902C7}" type="slidenum">
              <a:rPr lang="en-US" smtClean="0"/>
              <a:pPr/>
              <a:t>‹nr.›</a:t>
            </a:fld>
            <a:endParaRPr lang="en-US"/>
          </a:p>
        </p:txBody>
      </p:sp>
      <p:sp>
        <p:nvSpPr>
          <p:cNvPr id="8" name="Footer Placeholder 3">
            <a:extLst>
              <a:ext uri="{FF2B5EF4-FFF2-40B4-BE49-F238E27FC236}">
                <a16:creationId xmlns:a16="http://schemas.microsoft.com/office/drawing/2014/main" id="{A51A83C0-E586-4207-B521-E42A4141A04B}"/>
              </a:ext>
            </a:extLst>
          </p:cNvPr>
          <p:cNvSpPr>
            <a:spLocks noGrp="1"/>
          </p:cNvSpPr>
          <p:nvPr>
            <p:ph type="ftr" sz="quarter" idx="3"/>
          </p:nvPr>
        </p:nvSpPr>
        <p:spPr>
          <a:xfrm>
            <a:off x="2261053" y="6531715"/>
            <a:ext cx="8112000" cy="181960"/>
          </a:xfrm>
          <a:prstGeom prst="rect">
            <a:avLst/>
          </a:prstGeom>
        </p:spPr>
        <p:txBody>
          <a:bodyPr lIns="0" tIns="0" rIns="0" bIns="0"/>
          <a:lstStyle>
            <a:lvl1pPr algn="r">
              <a:defRPr sz="900">
                <a:solidFill>
                  <a:schemeClr val="accent1"/>
                </a:solidFill>
                <a:latin typeface="+mn-lt"/>
              </a:defRPr>
            </a:lvl1pPr>
          </a:lstStyle>
          <a:p>
            <a:endParaRPr lang="en-US"/>
          </a:p>
        </p:txBody>
      </p:sp>
    </p:spTree>
    <p:extLst>
      <p:ext uri="{BB962C8B-B14F-4D97-AF65-F5344CB8AC3E}">
        <p14:creationId xmlns:p14="http://schemas.microsoft.com/office/powerpoint/2010/main" val="34967716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ection Image">
    <p:bg>
      <p:bgPr>
        <a:solidFill>
          <a:schemeClr val="bg1"/>
        </a:solidFill>
        <a:effectLst/>
      </p:bgPr>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E1605E3C-D76A-4678-9277-BF9E20857561}"/>
              </a:ext>
            </a:extLst>
          </p:cNvPr>
          <p:cNvSpPr>
            <a:spLocks noGrp="1" noChangeAspect="1"/>
          </p:cNvSpPr>
          <p:nvPr>
            <p:ph type="pic" sz="quarter" idx="13" hasCustomPrompt="1"/>
          </p:nvPr>
        </p:nvSpPr>
        <p:spPr>
          <a:xfrm>
            <a:off x="7248128" y="1442037"/>
            <a:ext cx="4320000" cy="4320000"/>
          </a:xfrm>
          <a:prstGeom prst="ellipse">
            <a:avLst/>
          </a:prstGeom>
        </p:spPr>
        <p:txBody>
          <a:bodyPr/>
          <a:lstStyle>
            <a:lvl1pPr algn="ctr">
              <a:buNone/>
              <a:defRPr b="0" i="0">
                <a:solidFill>
                  <a:srgbClr val="1C67AF"/>
                </a:solidFill>
                <a:latin typeface="+mn-lt"/>
                <a:cs typeface="Arial" panose="020B0604020202020204" pitchFamily="34" charset="0"/>
              </a:defRPr>
            </a:lvl1pPr>
          </a:lstStyle>
          <a:p>
            <a:r>
              <a:rPr lang="en-US" noProof="0"/>
              <a:t>Add a picture here</a:t>
            </a:r>
          </a:p>
        </p:txBody>
      </p:sp>
      <p:sp>
        <p:nvSpPr>
          <p:cNvPr id="22" name="Slide Number Placeholder 5">
            <a:extLst>
              <a:ext uri="{FF2B5EF4-FFF2-40B4-BE49-F238E27FC236}">
                <a16:creationId xmlns:a16="http://schemas.microsoft.com/office/drawing/2014/main" id="{A6366AC5-1BE2-4E7D-B883-89CAF96B327D}"/>
              </a:ext>
            </a:extLst>
          </p:cNvPr>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23" name="Title 1">
            <a:extLst>
              <a:ext uri="{FF2B5EF4-FFF2-40B4-BE49-F238E27FC236}">
                <a16:creationId xmlns:a16="http://schemas.microsoft.com/office/drawing/2014/main" id="{FC885360-8473-4699-801C-9B04E3D233C8}"/>
              </a:ext>
            </a:extLst>
          </p:cNvPr>
          <p:cNvSpPr>
            <a:spLocks noGrp="1"/>
          </p:cNvSpPr>
          <p:nvPr>
            <p:ph type="ctrTitle" hasCustomPrompt="1"/>
          </p:nvPr>
        </p:nvSpPr>
        <p:spPr>
          <a:xfrm>
            <a:off x="334800" y="2490261"/>
            <a:ext cx="6638011" cy="2242079"/>
          </a:xfrm>
        </p:spPr>
        <p:txBody>
          <a:bodyPr anchor="b">
            <a:noAutofit/>
          </a:bodyPr>
          <a:lstStyle>
            <a:lvl1pPr algn="l">
              <a:defRPr sz="3600">
                <a:solidFill>
                  <a:schemeClr val="accent1"/>
                </a:solidFill>
                <a:latin typeface="+mj-lt"/>
                <a:cs typeface="Arial" panose="020B0604020202020204" pitchFamily="34" charset="0"/>
              </a:defRPr>
            </a:lvl1pPr>
          </a:lstStyle>
          <a:p>
            <a:r>
              <a:rPr lang="en-US"/>
              <a:t>Click to edit section title</a:t>
            </a:r>
          </a:p>
        </p:txBody>
      </p:sp>
      <p:sp>
        <p:nvSpPr>
          <p:cNvPr id="24" name="Subtitle 2">
            <a:extLst>
              <a:ext uri="{FF2B5EF4-FFF2-40B4-BE49-F238E27FC236}">
                <a16:creationId xmlns:a16="http://schemas.microsoft.com/office/drawing/2014/main" id="{A57272B1-D4B7-4B27-9A7A-1EB4697DECEC}"/>
              </a:ext>
            </a:extLst>
          </p:cNvPr>
          <p:cNvSpPr>
            <a:spLocks noGrp="1"/>
          </p:cNvSpPr>
          <p:nvPr>
            <p:ph type="subTitle" idx="14" hasCustomPrompt="1"/>
          </p:nvPr>
        </p:nvSpPr>
        <p:spPr>
          <a:xfrm>
            <a:off x="334800" y="4911726"/>
            <a:ext cx="6638011" cy="1283999"/>
          </a:xfrm>
        </p:spPr>
        <p:txBody>
          <a:bodyPr>
            <a:normAutofit/>
          </a:bodyPr>
          <a:lstStyle>
            <a:lvl1pPr marL="0" indent="0" algn="l">
              <a:buNone/>
              <a:defRPr sz="2000">
                <a:solidFill>
                  <a:schemeClr val="accent1"/>
                </a:solidFill>
                <a:latin typeface="+mn-lt"/>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section subtitle </a:t>
            </a:r>
          </a:p>
        </p:txBody>
      </p:sp>
      <p:sp>
        <p:nvSpPr>
          <p:cNvPr id="20" name="TextBox 19">
            <a:extLst>
              <a:ext uri="{FF2B5EF4-FFF2-40B4-BE49-F238E27FC236}">
                <a16:creationId xmlns:a16="http://schemas.microsoft.com/office/drawing/2014/main" id="{0553F198-9EE0-429E-8146-D1A23358B311}"/>
              </a:ext>
            </a:extLst>
          </p:cNvPr>
          <p:cNvSpPr txBox="1"/>
          <p:nvPr userDrawn="1"/>
        </p:nvSpPr>
        <p:spPr>
          <a:xfrm>
            <a:off x="11158232" y="6531717"/>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pic>
        <p:nvPicPr>
          <p:cNvPr id="2" name="Graphic 3">
            <a:extLst>
              <a:ext uri="{FF2B5EF4-FFF2-40B4-BE49-F238E27FC236}">
                <a16:creationId xmlns:a16="http://schemas.microsoft.com/office/drawing/2014/main" id="{D8B6A3B2-2599-108E-40FF-31FDE45055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689" y="306000"/>
            <a:ext cx="1500251" cy="498141"/>
          </a:xfrm>
          <a:prstGeom prst="rect">
            <a:avLst/>
          </a:prstGeom>
        </p:spPr>
      </p:pic>
    </p:spTree>
    <p:extLst>
      <p:ext uri="{BB962C8B-B14F-4D97-AF65-F5344CB8AC3E}">
        <p14:creationId xmlns:p14="http://schemas.microsoft.com/office/powerpoint/2010/main" val="11336120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oleObject" Target="../embeddings/oleObject27.bin"/><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tags" Target="../tags/tag2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image" Target="../media/image17.svg"/><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image" Target="../media/image7.png"/><Relationship Id="rId10" Type="http://schemas.openxmlformats.org/officeDocument/2006/relationships/slideLayout" Target="../slideLayouts/slideLayout39.xml"/><Relationship Id="rId19" Type="http://schemas.openxmlformats.org/officeDocument/2006/relationships/theme" Target="../theme/theme2.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image" Target="../media/image19.emf"/><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oleObject" Target="../embeddings/oleObject28.bin"/><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tags" Target="../tags/tag30.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image" Target="../media/image2.png"/><Relationship Id="rId3" Type="http://schemas.openxmlformats.org/officeDocument/2006/relationships/slideLayout" Target="../slideLayouts/slideLayout84.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image" Target="../media/image1.emf"/><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oleObject" Target="../embeddings/oleObject37.bin"/><Relationship Id="rId40" Type="http://schemas.openxmlformats.org/officeDocument/2006/relationships/image" Target="../media/image3.svg"/><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tags" Target="../tags/tag5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theme" Target="../theme/theme5.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image" Target="../media/image13.emf"/><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oleObject" Target="../embeddings/oleObject38.bin"/><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tags" Target="../tags/tag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B9DEE13-22B2-4884-9273-2CFEC9C731DF}"/>
              </a:ext>
            </a:extLst>
          </p:cNvPr>
          <p:cNvGraphicFramePr>
            <a:graphicFrameLocks noChangeAspect="1"/>
          </p:cNvGraphicFramePr>
          <p:nvPr userDrawn="1">
            <p:custDataLst>
              <p:tags r:id="rId31"/>
            </p:custDataLst>
            <p:extLst>
              <p:ext uri="{D42A27DB-BD31-4B8C-83A1-F6EECF244321}">
                <p14:modId xmlns:p14="http://schemas.microsoft.com/office/powerpoint/2010/main" val="3480013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2" imgW="592" imgH="591" progId="TCLayout.ActiveDocument.1">
                  <p:embed/>
                </p:oleObj>
              </mc:Choice>
              <mc:Fallback>
                <p:oleObj name="think-cell Folie" r:id="rId32" imgW="592" imgH="591" progId="TCLayout.ActiveDocument.1">
                  <p:embed/>
                  <p:pic>
                    <p:nvPicPr>
                      <p:cNvPr id="7" name="Objekt 6" hidden="1">
                        <a:extLst>
                          <a:ext uri="{FF2B5EF4-FFF2-40B4-BE49-F238E27FC236}">
                            <a16:creationId xmlns:a16="http://schemas.microsoft.com/office/drawing/2014/main" id="{5B9DEE13-22B2-4884-9273-2CFEC9C731DF}"/>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34964" y="249926"/>
            <a:ext cx="9502278" cy="664797"/>
          </a:xfrm>
          <a:prstGeom prst="rect">
            <a:avLst/>
          </a:prstGeom>
        </p:spPr>
        <p:txBody>
          <a:bodyPr vert="horz" wrap="square" lIns="0" tIns="0" rIns="0" bIns="0" rtlCol="0" anchor="t" anchorCtr="0">
            <a:spAutoFit/>
          </a:bodyPr>
          <a:lstStyle/>
          <a:p>
            <a:r>
              <a:rPr lang="de-DE"/>
              <a:t>173007991 (12/21) TCL</a:t>
            </a:r>
            <a:br>
              <a:rPr lang="de-DE"/>
            </a:br>
            <a:r>
              <a:rPr lang="de-DE"/>
              <a:t>previously 173006414</a:t>
            </a:r>
          </a:p>
        </p:txBody>
      </p:sp>
      <p:sp>
        <p:nvSpPr>
          <p:cNvPr id="3" name="Text Placeholder 2"/>
          <p:cNvSpPr>
            <a:spLocks noGrp="1"/>
          </p:cNvSpPr>
          <p:nvPr>
            <p:ph type="body" idx="1"/>
          </p:nvPr>
        </p:nvSpPr>
        <p:spPr>
          <a:xfrm>
            <a:off x="334963" y="1196975"/>
            <a:ext cx="11522603" cy="5040145"/>
          </a:xfrm>
          <a:prstGeom prst="rect">
            <a:avLst/>
          </a:prstGeom>
        </p:spPr>
        <p:txBody>
          <a:bodyPr vert="horz" lIns="0" tIns="0" rIns="0" bIns="0" rtlCol="0" anchor="t" anchorCtr="0">
            <a:noAutofit/>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6" name="Slide Number Placeholder 5"/>
          <p:cNvSpPr>
            <a:spLocks noGrp="1"/>
          </p:cNvSpPr>
          <p:nvPr>
            <p:ph type="sldNum" sz="quarter" idx="4"/>
          </p:nvPr>
        </p:nvSpPr>
        <p:spPr>
          <a:xfrm>
            <a:off x="10704512" y="6531715"/>
            <a:ext cx="551115" cy="181960"/>
          </a:xfrm>
          <a:prstGeom prst="rect">
            <a:avLst/>
          </a:prstGeom>
        </p:spPr>
        <p:txBody>
          <a:bodyPr vert="horz" lIns="0" tIns="0" rIns="0" bIns="0" rtlCol="0" anchor="t" anchorCtr="0"/>
          <a:lstStyle>
            <a:lvl1pPr algn="r" rtl="0">
              <a:defRPr sz="900">
                <a:solidFill>
                  <a:schemeClr val="accent1"/>
                </a:solidFill>
                <a:latin typeface="+mn-lt"/>
                <a:cs typeface="Arial" panose="020B0604020202020204" pitchFamily="34" charset="0"/>
              </a:defRPr>
            </a:lvl1pPr>
          </a:lstStyle>
          <a:p>
            <a:fld id="{FA58F0B4-6BC7-4BFB-804F-EE9B892902C7}" type="slidenum">
              <a:rPr lang="de-DE" smtClean="0"/>
              <a:pPr/>
              <a:t>‹nr.›</a:t>
            </a:fld>
            <a:endParaRPr lang="de-DE"/>
          </a:p>
        </p:txBody>
      </p:sp>
      <p:sp>
        <p:nvSpPr>
          <p:cNvPr id="8" name="TextBox 7">
            <a:extLst>
              <a:ext uri="{FF2B5EF4-FFF2-40B4-BE49-F238E27FC236}">
                <a16:creationId xmlns:a16="http://schemas.microsoft.com/office/drawing/2014/main" id="{D14E9977-C3E2-4A29-A565-FFA15C7CA5E3}"/>
              </a:ext>
            </a:extLst>
          </p:cNvPr>
          <p:cNvSpPr txBox="1"/>
          <p:nvPr userDrawn="1"/>
        </p:nvSpPr>
        <p:spPr>
          <a:xfrm>
            <a:off x="11158230" y="6531715"/>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rtl="0"/>
            <a:r>
              <a:rPr lang="de-DE" sz="900">
                <a:latin typeface="+mn-lt"/>
                <a:cs typeface="Arial" panose="020B0604020202020204" pitchFamily="34" charset="0"/>
              </a:rPr>
              <a:t>© Zurich</a:t>
            </a:r>
          </a:p>
        </p:txBody>
      </p:sp>
      <p:sp>
        <p:nvSpPr>
          <p:cNvPr id="9" name="Footer Placeholder 3">
            <a:extLst>
              <a:ext uri="{FF2B5EF4-FFF2-40B4-BE49-F238E27FC236}">
                <a16:creationId xmlns:a16="http://schemas.microsoft.com/office/drawing/2014/main" id="{1DD3C19F-8057-4A4E-9322-AA44FA531B96}"/>
              </a:ext>
            </a:extLst>
          </p:cNvPr>
          <p:cNvSpPr>
            <a:spLocks noGrp="1"/>
          </p:cNvSpPr>
          <p:nvPr>
            <p:ph type="ftr" sz="quarter" idx="3"/>
          </p:nvPr>
        </p:nvSpPr>
        <p:spPr>
          <a:xfrm>
            <a:off x="2261053" y="6531715"/>
            <a:ext cx="8112000" cy="181960"/>
          </a:xfrm>
          <a:prstGeom prst="rect">
            <a:avLst/>
          </a:prstGeom>
        </p:spPr>
        <p:txBody>
          <a:bodyPr lIns="0" tIns="0" rIns="0" bIns="0"/>
          <a:lstStyle>
            <a:lvl1pPr algn="r" rtl="0">
              <a:defRPr sz="900">
                <a:solidFill>
                  <a:schemeClr val="accent1"/>
                </a:solidFill>
                <a:latin typeface="+mn-lt"/>
                <a:cs typeface="Arial" panose="020B0604020202020204" pitchFamily="34" charset="0"/>
              </a:defRPr>
            </a:lvl1pPr>
          </a:lstStyle>
          <a:p>
            <a:endParaRPr lang="de-DE"/>
          </a:p>
        </p:txBody>
      </p:sp>
      <p:pic>
        <p:nvPicPr>
          <p:cNvPr id="4" name="Graphic 3">
            <a:extLst>
              <a:ext uri="{FF2B5EF4-FFF2-40B4-BE49-F238E27FC236}">
                <a16:creationId xmlns:a16="http://schemas.microsoft.com/office/drawing/2014/main" id="{2186EF9E-F377-4DAF-92D2-F12CF5E6CBCE}"/>
              </a:ext>
            </a:extLst>
          </p:cNvPr>
          <p:cNvPicPr>
            <a:picLocks noChangeAspect="1"/>
          </p:cNvPicPr>
          <p:nvPr userDrawn="1"/>
        </p:nvPicPr>
        <p:blipFill>
          <a:blip r:embed="rId34">
            <a:extLst>
              <a:ext uri="{96DAC541-7B7A-43D3-8B79-37D633B846F1}">
                <asvg:svgBlip xmlns:asvg="http://schemas.microsoft.com/office/drawing/2016/SVG/main" r:embed="rId35"/>
              </a:ext>
            </a:extLst>
          </a:blip>
          <a:stretch>
            <a:fillRect/>
          </a:stretch>
        </p:blipFill>
        <p:spPr>
          <a:xfrm>
            <a:off x="10353690" y="306000"/>
            <a:ext cx="1500250" cy="498141"/>
          </a:xfrm>
          <a:prstGeom prst="rect">
            <a:avLst/>
          </a:prstGeom>
        </p:spPr>
      </p:pic>
    </p:spTree>
    <p:extLst>
      <p:ext uri="{BB962C8B-B14F-4D97-AF65-F5344CB8AC3E}">
        <p14:creationId xmlns:p14="http://schemas.microsoft.com/office/powerpoint/2010/main" val="1281696781"/>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842" r:id="rId17"/>
    <p:sldLayoutId id="2147483843" r:id="rId18"/>
    <p:sldLayoutId id="2147483844" r:id="rId19"/>
    <p:sldLayoutId id="2147483845" r:id="rId20"/>
    <p:sldLayoutId id="2147484132" r:id="rId21"/>
    <p:sldLayoutId id="2147484279" r:id="rId22"/>
    <p:sldLayoutId id="2147484334" r:id="rId23"/>
    <p:sldLayoutId id="2147484335" r:id="rId24"/>
    <p:sldLayoutId id="2147484336" r:id="rId25"/>
    <p:sldLayoutId id="2147484337" r:id="rId26"/>
    <p:sldLayoutId id="2147484338" r:id="rId27"/>
    <p:sldLayoutId id="2147484339" r:id="rId28"/>
    <p:sldLayoutId id="2147484340" r:id="rId29"/>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l" defTabSz="914377" rtl="0" eaLnBrk="1" latinLnBrk="0" hangingPunct="1">
        <a:lnSpc>
          <a:spcPct val="90000"/>
        </a:lnSpc>
        <a:spcBef>
          <a:spcPct val="0"/>
        </a:spcBef>
        <a:buNone/>
        <a:defRPr sz="2400" kern="1200">
          <a:solidFill>
            <a:schemeClr val="accent1"/>
          </a:solidFill>
          <a:latin typeface="+mj-lt"/>
          <a:ea typeface="+mj-ea"/>
          <a:cs typeface="Arial" panose="020B0604020202020204" pitchFamily="34" charset="0"/>
        </a:defRPr>
      </a:lvl1pPr>
    </p:titleStyle>
    <p:bodyStyle>
      <a:lvl1pPr marL="268288" indent="-268288" algn="l" defTabSz="914377" rtl="0" eaLnBrk="1" latinLnBrk="0" hangingPunct="1">
        <a:lnSpc>
          <a:spcPct val="100000"/>
        </a:lnSpc>
        <a:spcBef>
          <a:spcPts val="0"/>
        </a:spcBef>
        <a:spcAft>
          <a:spcPts val="600"/>
        </a:spcAft>
        <a:buFont typeface="Arial" panose="020B0604020202020204" pitchFamily="34" charset="0"/>
        <a:buChar char="•"/>
        <a:defRPr sz="1800" kern="1200">
          <a:solidFill>
            <a:schemeClr val="accent1"/>
          </a:solidFill>
          <a:latin typeface="+mn-lt"/>
          <a:ea typeface="+mn-ea"/>
          <a:cs typeface="Arial" panose="020B0604020202020204" pitchFamily="34" charset="0"/>
        </a:defRPr>
      </a:lvl1pPr>
      <a:lvl2pPr marL="447675" indent="-2079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accent1"/>
          </a:solidFill>
          <a:latin typeface="+mn-lt"/>
          <a:ea typeface="+mn-ea"/>
          <a:cs typeface="Arial" panose="020B0604020202020204" pitchFamily="34" charset="0"/>
        </a:defRPr>
      </a:lvl2pPr>
      <a:lvl3pPr marL="719138" indent="-180975" algn="l" defTabSz="914377" rtl="0" eaLnBrk="1" latinLnBrk="0" hangingPunct="1">
        <a:lnSpc>
          <a:spcPct val="100000"/>
        </a:lnSpc>
        <a:spcBef>
          <a:spcPts val="0"/>
        </a:spcBef>
        <a:spcAft>
          <a:spcPts val="600"/>
        </a:spcAft>
        <a:buFont typeface="Arial" panose="020B0604020202020204" pitchFamily="34" charset="0"/>
        <a:buChar char="−"/>
        <a:defRPr sz="1400" kern="1200">
          <a:solidFill>
            <a:schemeClr val="accent1"/>
          </a:solidFill>
          <a:latin typeface="+mn-lt"/>
          <a:ea typeface="+mn-ea"/>
          <a:cs typeface="Arial" panose="020B0604020202020204" pitchFamily="34" charset="0"/>
        </a:defRPr>
      </a:lvl3pPr>
      <a:lvl4pPr marL="896938" indent="-177800" algn="l" defTabSz="914377" rtl="0" eaLnBrk="1" latinLnBrk="0" hangingPunct="1">
        <a:lnSpc>
          <a:spcPct val="100000"/>
        </a:lnSpc>
        <a:spcBef>
          <a:spcPts val="0"/>
        </a:spcBef>
        <a:spcAft>
          <a:spcPts val="6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4pPr>
      <a:lvl5pPr marL="1165225" indent="-179388" algn="l" defTabSz="914377" rtl="0" eaLnBrk="1" latinLnBrk="0" hangingPunct="1">
        <a:lnSpc>
          <a:spcPct val="100000"/>
        </a:lnSpc>
        <a:spcBef>
          <a:spcPts val="0"/>
        </a:spcBef>
        <a:spcAft>
          <a:spcPts val="6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2">
          <p15:clr>
            <a:srgbClr val="F26B43"/>
          </p15:clr>
        </p15:guide>
        <p15:guide id="2" pos="211">
          <p15:clr>
            <a:srgbClr val="F26B43"/>
          </p15:clr>
        </p15:guide>
        <p15:guide id="3" pos="7469">
          <p15:clr>
            <a:srgbClr val="F26B43"/>
          </p15:clr>
        </p15:guide>
        <p15:guide id="5" orient="horz" pos="599">
          <p15:clr>
            <a:srgbClr val="F26B43"/>
          </p15:clr>
        </p15:guide>
        <p15:guide id="6" orient="horz" pos="3929">
          <p15:clr>
            <a:srgbClr val="F26B43"/>
          </p15:clr>
        </p15:guide>
        <p15:guide id="7" pos="3840">
          <p15:clr>
            <a:srgbClr val="F26B43"/>
          </p15:clr>
        </p15:guide>
        <p15:guide id="8" orient="horz" pos="4110">
          <p15:clr>
            <a:srgbClr val="F26B43"/>
          </p15:clr>
        </p15:guide>
        <p15:guide id="9" orient="horz" pos="75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4CC8A3F-41D7-7C46-A0C0-272FF51754DD}"/>
              </a:ext>
            </a:extLst>
          </p:cNvPr>
          <p:cNvGraphicFramePr>
            <a:graphicFrameLocks noChangeAspect="1"/>
          </p:cNvGraphicFramePr>
          <p:nvPr userDrawn="1">
            <p:custDataLst>
              <p:tags r:id="rId20"/>
            </p:custDataLst>
            <p:extLst>
              <p:ext uri="{D42A27DB-BD31-4B8C-83A1-F6EECF244321}">
                <p14:modId xmlns:p14="http://schemas.microsoft.com/office/powerpoint/2010/main" val="1491431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592" imgH="591" progId="TCLayout.ActiveDocument.1">
                  <p:embed/>
                </p:oleObj>
              </mc:Choice>
              <mc:Fallback>
                <p:oleObj name="think-cell Folie" r:id="rId21" imgW="592" imgH="591" progId="TCLayout.ActiveDocument.1">
                  <p:embed/>
                  <p:pic>
                    <p:nvPicPr>
                      <p:cNvPr id="5" name="Objekt 4" hidden="1">
                        <a:extLst>
                          <a:ext uri="{FF2B5EF4-FFF2-40B4-BE49-F238E27FC236}">
                            <a16:creationId xmlns:a16="http://schemas.microsoft.com/office/drawing/2014/main" id="{04CC8A3F-41D7-7C46-A0C0-272FF51754DD}"/>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50826" y="249926"/>
            <a:ext cx="9586415" cy="332399"/>
          </a:xfrm>
          <a:prstGeom prst="rect">
            <a:avLst/>
          </a:prstGeom>
        </p:spPr>
        <p:txBody>
          <a:bodyPr vert="horz" lIns="0" tIns="0" rIns="0" bIns="0" rtlCol="0" anchor="t" anchorCtr="0">
            <a:spAutoFit/>
          </a:bodyPr>
          <a:lstStyle/>
          <a:p>
            <a:r>
              <a:rPr lang="en-US"/>
              <a:t>Click to edit Master title style</a:t>
            </a:r>
          </a:p>
        </p:txBody>
      </p:sp>
      <p:sp>
        <p:nvSpPr>
          <p:cNvPr id="3" name="Text Placeholder 2"/>
          <p:cNvSpPr>
            <a:spLocks noGrp="1"/>
          </p:cNvSpPr>
          <p:nvPr>
            <p:ph type="body" idx="1"/>
          </p:nvPr>
        </p:nvSpPr>
        <p:spPr>
          <a:xfrm>
            <a:off x="259451" y="959539"/>
            <a:ext cx="11669024" cy="504014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8" name="TextBox 7">
            <a:extLst>
              <a:ext uri="{FF2B5EF4-FFF2-40B4-BE49-F238E27FC236}">
                <a16:creationId xmlns:a16="http://schemas.microsoft.com/office/drawing/2014/main" id="{D14E9977-C3E2-4A29-A565-FFA15C7CA5E3}"/>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sp>
        <p:nvSpPr>
          <p:cNvPr id="9" name="Footer Placeholder 3">
            <a:extLst>
              <a:ext uri="{FF2B5EF4-FFF2-40B4-BE49-F238E27FC236}">
                <a16:creationId xmlns:a16="http://schemas.microsoft.com/office/drawing/2014/main" id="{1DD3C19F-8057-4A4E-9322-AA44FA531B96}"/>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10" name="ZRS Logo Horozontal">
            <a:extLst>
              <a:ext uri="{FF2B5EF4-FFF2-40B4-BE49-F238E27FC236}">
                <a16:creationId xmlns:a16="http://schemas.microsoft.com/office/drawing/2014/main" id="{D2C8E51D-F673-46EE-90B0-FA810001CD93}"/>
              </a:ext>
            </a:extLst>
          </p:cNvPr>
          <p:cNvPicPr>
            <a:picLocks noChangeAspect="1"/>
          </p:cNvPicPr>
          <p:nvPr userDrawn="1"/>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0347446" y="325479"/>
            <a:ext cx="1501200" cy="498456"/>
          </a:xfrm>
          <a:prstGeom prst="rect">
            <a:avLst/>
          </a:prstGeom>
        </p:spPr>
      </p:pic>
    </p:spTree>
    <p:extLst>
      <p:ext uri="{BB962C8B-B14F-4D97-AF65-F5344CB8AC3E}">
        <p14:creationId xmlns:p14="http://schemas.microsoft.com/office/powerpoint/2010/main" val="2400426375"/>
      </p:ext>
    </p:extLst>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 id="2147484059" r:id="rId10"/>
    <p:sldLayoutId id="2147484060" r:id="rId11"/>
    <p:sldLayoutId id="2147484061" r:id="rId12"/>
    <p:sldLayoutId id="2147484062" r:id="rId13"/>
    <p:sldLayoutId id="2147484063" r:id="rId14"/>
    <p:sldLayoutId id="2147484064" r:id="rId15"/>
    <p:sldLayoutId id="2147484065" r:id="rId16"/>
    <p:sldLayoutId id="2147484066" r:id="rId17"/>
    <p:sldLayoutId id="2147484463" r:id="rId18"/>
  </p:sldLayoutIdLst>
  <p:hf hdr="0" ftr="0" dt="0"/>
  <p:txStyles>
    <p:titleStyle>
      <a:lvl1pPr algn="l" defTabSz="914377" rtl="0" eaLnBrk="1" latinLnBrk="0" hangingPunct="1">
        <a:lnSpc>
          <a:spcPct val="90000"/>
        </a:lnSpc>
        <a:spcBef>
          <a:spcPct val="0"/>
        </a:spcBef>
        <a:buNone/>
        <a:defRPr sz="2400" kern="1200">
          <a:solidFill>
            <a:schemeClr val="accent1"/>
          </a:solidFill>
          <a:latin typeface="+mj-lt"/>
          <a:ea typeface="+mj-ea"/>
          <a:cs typeface="Arial" panose="020B0604020202020204" pitchFamily="34" charset="0"/>
        </a:defRPr>
      </a:lvl1pPr>
    </p:titleStyle>
    <p:bodyStyle>
      <a:lvl1pPr marL="268288" indent="-268288" algn="l" defTabSz="914377" rtl="0" eaLnBrk="1" latinLnBrk="0" hangingPunct="1">
        <a:lnSpc>
          <a:spcPct val="100000"/>
        </a:lnSpc>
        <a:spcBef>
          <a:spcPts val="0"/>
        </a:spcBef>
        <a:spcAft>
          <a:spcPts val="800"/>
        </a:spcAft>
        <a:buFont typeface="Arial" panose="020B0604020202020204" pitchFamily="34" charset="0"/>
        <a:buChar char="•"/>
        <a:defRPr sz="1800" kern="1200">
          <a:solidFill>
            <a:schemeClr val="accent1"/>
          </a:solidFill>
          <a:latin typeface="+mn-lt"/>
          <a:ea typeface="+mn-ea"/>
          <a:cs typeface="Arial" panose="020B0604020202020204" pitchFamily="34" charset="0"/>
        </a:defRPr>
      </a:lvl1pPr>
      <a:lvl2pPr marL="447675" indent="-207963" algn="l" defTabSz="914377"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Arial" panose="020B0604020202020204" pitchFamily="34" charset="0"/>
        </a:defRPr>
      </a:lvl2pPr>
      <a:lvl3pPr marL="719138" indent="-180975" algn="l" defTabSz="914377"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Arial" panose="020B0604020202020204" pitchFamily="34" charset="0"/>
        </a:defRPr>
      </a:lvl3pPr>
      <a:lvl4pPr marL="896938" indent="-177800"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4pPr>
      <a:lvl5pPr marL="1165225" indent="-179388"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2">
          <p15:clr>
            <a:srgbClr val="F26B43"/>
          </p15:clr>
        </p15:guide>
        <p15:guide id="2" pos="166">
          <p15:clr>
            <a:srgbClr val="F26B43"/>
          </p15:clr>
        </p15:guide>
        <p15:guide id="3" pos="7514">
          <p15:clr>
            <a:srgbClr val="F26B43"/>
          </p15:clr>
        </p15:guide>
        <p15:guide id="4" pos="3931">
          <p15:clr>
            <a:srgbClr val="F26B43"/>
          </p15:clr>
        </p15:guide>
        <p15:guide id="5" orient="horz" pos="599">
          <p15:clr>
            <a:srgbClr val="F26B43"/>
          </p15:clr>
        </p15:guide>
        <p15:guide id="6" orient="horz" pos="4110">
          <p15:clr>
            <a:srgbClr val="F26B43"/>
          </p15:clr>
        </p15:guide>
        <p15:guide id="7" pos="3749">
          <p15:clr>
            <a:srgbClr val="F26B43"/>
          </p15:clr>
        </p15:guide>
        <p15:guide id="8" orient="horz" pos="3952">
          <p15:clr>
            <a:srgbClr val="F26B43"/>
          </p15:clr>
        </p15:guide>
        <p15:guide id="9" orient="horz" pos="75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F0C9379-8BA2-43FA-BDF9-114500086327}"/>
              </a:ext>
            </a:extLst>
          </p:cNvPr>
          <p:cNvGraphicFramePr>
            <a:graphicFrameLocks noChangeAspect="1"/>
          </p:cNvGraphicFramePr>
          <p:nvPr userDrawn="1">
            <p:custDataLst>
              <p:tags r:id="rId36"/>
            </p:custDataLst>
            <p:extLst>
              <p:ext uri="{D42A27DB-BD31-4B8C-83A1-F6EECF244321}">
                <p14:modId xmlns:p14="http://schemas.microsoft.com/office/powerpoint/2010/main" val="3574849517"/>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Folie" r:id="rId37" imgW="415" imgH="416" progId="TCLayout.ActiveDocument.1">
                  <p:embed/>
                </p:oleObj>
              </mc:Choice>
              <mc:Fallback>
                <p:oleObj name="think-cell Folie" r:id="rId37" imgW="415" imgH="416" progId="TCLayout.ActiveDocument.1">
                  <p:embed/>
                  <p:pic>
                    <p:nvPicPr>
                      <p:cNvPr id="10" name="Object 9" hidden="1">
                        <a:extLst>
                          <a:ext uri="{FF2B5EF4-FFF2-40B4-BE49-F238E27FC236}">
                            <a16:creationId xmlns:a16="http://schemas.microsoft.com/office/drawing/2014/main" id="{FF0C9379-8BA2-43FA-BDF9-114500086327}"/>
                          </a:ext>
                        </a:extLst>
                      </p:cNvPr>
                      <p:cNvPicPr/>
                      <p:nvPr/>
                    </p:nvPicPr>
                    <p:blipFill>
                      <a:blip r:embed="rId38"/>
                      <a:stretch>
                        <a:fillRect/>
                      </a:stretch>
                    </p:blipFill>
                    <p:spPr>
                      <a:xfrm>
                        <a:off x="1590" y="1590"/>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50830" y="249930"/>
            <a:ext cx="9586415" cy="332399"/>
          </a:xfrm>
          <a:prstGeom prst="rect">
            <a:avLst/>
          </a:prstGeom>
        </p:spPr>
        <p:txBody>
          <a:bodyPr vert="horz" lIns="0" tIns="0" rIns="0" bIns="0" rtlCol="0" anchor="t" anchorCtr="0">
            <a:spAutoFit/>
          </a:bodyPr>
          <a:lstStyle/>
          <a:p>
            <a:r>
              <a:rPr lang="en-US"/>
              <a:t>Click to edit Master title style</a:t>
            </a:r>
          </a:p>
        </p:txBody>
      </p:sp>
      <p:sp>
        <p:nvSpPr>
          <p:cNvPr id="3" name="Text Placeholder 2"/>
          <p:cNvSpPr>
            <a:spLocks noGrp="1"/>
          </p:cNvSpPr>
          <p:nvPr>
            <p:ph type="body" idx="1"/>
          </p:nvPr>
        </p:nvSpPr>
        <p:spPr>
          <a:xfrm>
            <a:off x="259456" y="959545"/>
            <a:ext cx="11518145" cy="504014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D14E9977-C3E2-4A29-A565-FFA15C7CA5E3}"/>
              </a:ext>
            </a:extLst>
          </p:cNvPr>
          <p:cNvSpPr txBox="1"/>
          <p:nvPr userDrawn="1"/>
        </p:nvSpPr>
        <p:spPr>
          <a:xfrm>
            <a:off x="11158234" y="6548973"/>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t>© Zurich</a:t>
            </a:r>
          </a:p>
        </p:txBody>
      </p:sp>
      <p:sp>
        <p:nvSpPr>
          <p:cNvPr id="9" name="Footer Placeholder 3">
            <a:extLst>
              <a:ext uri="{FF2B5EF4-FFF2-40B4-BE49-F238E27FC236}">
                <a16:creationId xmlns:a16="http://schemas.microsoft.com/office/drawing/2014/main" id="{1DD3C19F-8057-4A4E-9322-AA44FA531B96}"/>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5F2AF861-225B-4CC8-8B10-71EB346540E7}"/>
              </a:ext>
            </a:extLst>
          </p:cNvPr>
          <p:cNvSpPr>
            <a:spLocks noGrp="1"/>
          </p:cNvSpPr>
          <p:nvPr>
            <p:ph type="sldNum" sz="quarter" idx="4"/>
          </p:nvPr>
        </p:nvSpPr>
        <p:spPr>
          <a:xfrm>
            <a:off x="10704515" y="6548969"/>
            <a:ext cx="551115" cy="186267"/>
          </a:xfrm>
          <a:prstGeom prst="rect">
            <a:avLst/>
          </a:prstGeom>
        </p:spPr>
        <p:txBody>
          <a:bodyPr vert="horz" lIns="91440" tIns="45720" rIns="0" bIns="45720" rtlCol="0" anchor="ctr"/>
          <a:lstStyle>
            <a:lvl1pPr algn="r">
              <a:defRPr sz="900" b="0">
                <a:solidFill>
                  <a:srgbClr val="2167AE"/>
                </a:solidFill>
                <a:latin typeface="Zurich Sans Light" panose="02000000000000000000" pitchFamily="2" charset="0"/>
              </a:defRPr>
            </a:lvl1pPr>
          </a:lstStyle>
          <a:p>
            <a:fld id="{21B12F49-7477-41A7-9D95-A87C83E4291E}" type="slidenum">
              <a:rPr lang="en-US" smtClean="0"/>
              <a:pPr/>
              <a:t>‹nr.›</a:t>
            </a:fld>
            <a:fld id="{73BF0EE8-2BC8-467E-B81E-0E13B8D45003}" type="slidenum">
              <a:rPr lang="en-US" smtClean="0"/>
              <a:pPr/>
              <a:t>‹nr.›</a:t>
            </a:fld>
            <a:endParaRPr lang="en-US"/>
          </a:p>
        </p:txBody>
      </p:sp>
    </p:spTree>
    <p:extLst>
      <p:ext uri="{BB962C8B-B14F-4D97-AF65-F5344CB8AC3E}">
        <p14:creationId xmlns:p14="http://schemas.microsoft.com/office/powerpoint/2010/main" val="1019872495"/>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 id="2147484174" r:id="rId4"/>
    <p:sldLayoutId id="2147484175" r:id="rId5"/>
    <p:sldLayoutId id="2147484176" r:id="rId6"/>
    <p:sldLayoutId id="2147484177" r:id="rId7"/>
    <p:sldLayoutId id="2147484178" r:id="rId8"/>
    <p:sldLayoutId id="2147484179" r:id="rId9"/>
    <p:sldLayoutId id="2147484180" r:id="rId10"/>
    <p:sldLayoutId id="2147484181" r:id="rId11"/>
    <p:sldLayoutId id="2147484182" r:id="rId12"/>
    <p:sldLayoutId id="2147484183" r:id="rId13"/>
    <p:sldLayoutId id="2147484184" r:id="rId14"/>
    <p:sldLayoutId id="2147484185" r:id="rId15"/>
    <p:sldLayoutId id="2147484186" r:id="rId16"/>
    <p:sldLayoutId id="2147484187" r:id="rId17"/>
    <p:sldLayoutId id="2147484188" r:id="rId18"/>
    <p:sldLayoutId id="2147484189" r:id="rId19"/>
    <p:sldLayoutId id="2147484190" r:id="rId20"/>
    <p:sldLayoutId id="2147484191" r:id="rId21"/>
    <p:sldLayoutId id="2147484192" r:id="rId22"/>
    <p:sldLayoutId id="2147484194" r:id="rId23"/>
    <p:sldLayoutId id="2147484195" r:id="rId24"/>
    <p:sldLayoutId id="2147484281" r:id="rId25"/>
    <p:sldLayoutId id="2147484283" r:id="rId26"/>
    <p:sldLayoutId id="2147484309" r:id="rId27"/>
    <p:sldLayoutId id="2147484310" r:id="rId28"/>
    <p:sldLayoutId id="2147484464" r:id="rId29"/>
    <p:sldLayoutId id="2147484465" r:id="rId30"/>
    <p:sldLayoutId id="2147484466" r:id="rId31"/>
    <p:sldLayoutId id="2147484467" r:id="rId32"/>
    <p:sldLayoutId id="2147484468" r:id="rId33"/>
    <p:sldLayoutId id="2147484477" r:id="rId34"/>
  </p:sldLayoutIdLst>
  <p:hf hdr="0" ftr="0" dt="0"/>
  <p:txStyles>
    <p:titleStyle>
      <a:lvl1pPr algn="l" defTabSz="914240" rtl="0" eaLnBrk="1" latinLnBrk="0" hangingPunct="1">
        <a:lnSpc>
          <a:spcPct val="90000"/>
        </a:lnSpc>
        <a:spcBef>
          <a:spcPct val="0"/>
        </a:spcBef>
        <a:buNone/>
        <a:defRPr sz="2400" kern="1200">
          <a:solidFill>
            <a:schemeClr val="accent1"/>
          </a:solidFill>
          <a:latin typeface="+mn-lt"/>
          <a:ea typeface="+mj-ea"/>
          <a:cs typeface="+mj-cs"/>
        </a:defRPr>
      </a:lvl1pPr>
    </p:titleStyle>
    <p:bodyStyle>
      <a:lvl1pPr marL="265073" indent="-265073" algn="l" defTabSz="914240" rtl="0" eaLnBrk="1" latinLnBrk="0" hangingPunct="1">
        <a:lnSpc>
          <a:spcPct val="100000"/>
        </a:lnSpc>
        <a:spcBef>
          <a:spcPts val="0"/>
        </a:spcBef>
        <a:spcAft>
          <a:spcPts val="800"/>
        </a:spcAft>
        <a:buFont typeface="Arial" panose="020B0604020202020204" pitchFamily="34" charset="0"/>
        <a:buChar char="•"/>
        <a:defRPr sz="1800" kern="1200">
          <a:solidFill>
            <a:schemeClr val="accent1"/>
          </a:solidFill>
          <a:latin typeface="+mn-lt"/>
          <a:ea typeface="+mn-ea"/>
          <a:cs typeface="+mn-cs"/>
        </a:defRPr>
      </a:lvl1pPr>
      <a:lvl2pPr marL="536493" indent="-271423" algn="l" defTabSz="914240"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mn-cs"/>
        </a:defRPr>
      </a:lvl2pPr>
      <a:lvl3pPr marL="719031" indent="-273011" algn="l" defTabSz="914240"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mn-cs"/>
        </a:defRPr>
      </a:lvl3pPr>
      <a:lvl4pPr marL="959832" indent="-239959" algn="l" defTabSz="914240"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mn-cs"/>
        </a:defRPr>
      </a:lvl4pPr>
      <a:lvl5pPr marL="1069815" indent="-171425" algn="l" defTabSz="914240"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mn-cs"/>
        </a:defRPr>
      </a:lvl5pPr>
      <a:lvl6pPr marL="2514160" indent="-228561" algn="l" defTabSz="9142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80" indent="-228561" algn="l" defTabSz="9142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401" indent="-228561" algn="l" defTabSz="9142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520" indent="-228561" algn="l" defTabSz="9142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40" rtl="0" eaLnBrk="1" latinLnBrk="0" hangingPunct="1">
        <a:defRPr sz="1800" kern="1200">
          <a:solidFill>
            <a:schemeClr val="tx1"/>
          </a:solidFill>
          <a:latin typeface="+mn-lt"/>
          <a:ea typeface="+mn-ea"/>
          <a:cs typeface="+mn-cs"/>
        </a:defRPr>
      </a:lvl1pPr>
      <a:lvl2pPr marL="457121" algn="l" defTabSz="914240" rtl="0" eaLnBrk="1" latinLnBrk="0" hangingPunct="1">
        <a:defRPr sz="1800" kern="1200">
          <a:solidFill>
            <a:schemeClr val="tx1"/>
          </a:solidFill>
          <a:latin typeface="+mn-lt"/>
          <a:ea typeface="+mn-ea"/>
          <a:cs typeface="+mn-cs"/>
        </a:defRPr>
      </a:lvl2pPr>
      <a:lvl3pPr marL="914240" algn="l" defTabSz="914240" rtl="0" eaLnBrk="1" latinLnBrk="0" hangingPunct="1">
        <a:defRPr sz="1800" kern="1200">
          <a:solidFill>
            <a:schemeClr val="tx1"/>
          </a:solidFill>
          <a:latin typeface="+mn-lt"/>
          <a:ea typeface="+mn-ea"/>
          <a:cs typeface="+mn-cs"/>
        </a:defRPr>
      </a:lvl3pPr>
      <a:lvl4pPr marL="1371360" algn="l" defTabSz="914240" rtl="0" eaLnBrk="1" latinLnBrk="0" hangingPunct="1">
        <a:defRPr sz="1800" kern="1200">
          <a:solidFill>
            <a:schemeClr val="tx1"/>
          </a:solidFill>
          <a:latin typeface="+mn-lt"/>
          <a:ea typeface="+mn-ea"/>
          <a:cs typeface="+mn-cs"/>
        </a:defRPr>
      </a:lvl4pPr>
      <a:lvl5pPr marL="1828481" algn="l" defTabSz="914240" rtl="0" eaLnBrk="1" latinLnBrk="0" hangingPunct="1">
        <a:defRPr sz="1800" kern="1200">
          <a:solidFill>
            <a:schemeClr val="tx1"/>
          </a:solidFill>
          <a:latin typeface="+mn-lt"/>
          <a:ea typeface="+mn-ea"/>
          <a:cs typeface="+mn-cs"/>
        </a:defRPr>
      </a:lvl5pPr>
      <a:lvl6pPr marL="2285600" algn="l" defTabSz="914240" rtl="0" eaLnBrk="1" latinLnBrk="0" hangingPunct="1">
        <a:defRPr sz="1800" kern="1200">
          <a:solidFill>
            <a:schemeClr val="tx1"/>
          </a:solidFill>
          <a:latin typeface="+mn-lt"/>
          <a:ea typeface="+mn-ea"/>
          <a:cs typeface="+mn-cs"/>
        </a:defRPr>
      </a:lvl6pPr>
      <a:lvl7pPr marL="2742719" algn="l" defTabSz="914240" rtl="0" eaLnBrk="1" latinLnBrk="0" hangingPunct="1">
        <a:defRPr sz="1800" kern="1200">
          <a:solidFill>
            <a:schemeClr val="tx1"/>
          </a:solidFill>
          <a:latin typeface="+mn-lt"/>
          <a:ea typeface="+mn-ea"/>
          <a:cs typeface="+mn-cs"/>
        </a:defRPr>
      </a:lvl7pPr>
      <a:lvl8pPr marL="3199840" algn="l" defTabSz="914240" rtl="0" eaLnBrk="1" latinLnBrk="0" hangingPunct="1">
        <a:defRPr sz="1800" kern="1200">
          <a:solidFill>
            <a:schemeClr val="tx1"/>
          </a:solidFill>
          <a:latin typeface="+mn-lt"/>
          <a:ea typeface="+mn-ea"/>
          <a:cs typeface="+mn-cs"/>
        </a:defRPr>
      </a:lvl8pPr>
      <a:lvl9pPr marL="3656961" algn="l" defTabSz="91424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2">
          <p15:clr>
            <a:srgbClr val="F26B43"/>
          </p15:clr>
        </p15:guide>
        <p15:guide id="2" pos="158">
          <p15:clr>
            <a:srgbClr val="F26B43"/>
          </p15:clr>
        </p15:guide>
        <p15:guide id="4" pos="7514">
          <p15:clr>
            <a:srgbClr val="F26B43"/>
          </p15:clr>
        </p15:guide>
        <p15:guide id="5" orient="horz" pos="599">
          <p15:clr>
            <a:srgbClr val="F26B43"/>
          </p15:clr>
        </p15:guide>
        <p15:guide id="6" orient="horz" pos="3094">
          <p15:clr>
            <a:srgbClr val="F26B43"/>
          </p15:clr>
        </p15:guide>
        <p15:guide id="7" pos="3840">
          <p15:clr>
            <a:srgbClr val="F26B43"/>
          </p15:clr>
        </p15:guide>
        <p15:guide id="8" orient="horz" pos="29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B9DEE13-22B2-4884-9273-2CFEC9C731DF}"/>
              </a:ext>
            </a:extLst>
          </p:cNvPr>
          <p:cNvGraphicFramePr>
            <a:graphicFrameLocks noChangeAspect="1"/>
          </p:cNvGraphicFramePr>
          <p:nvPr userDrawn="1">
            <p:custDataLst>
              <p:tags r:id="rId36"/>
            </p:custDataLst>
            <p:extLst>
              <p:ext uri="{D42A27DB-BD31-4B8C-83A1-F6EECF244321}">
                <p14:modId xmlns:p14="http://schemas.microsoft.com/office/powerpoint/2010/main" val="318132979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37" imgW="592" imgH="591" progId="TCLayout.ActiveDocument.1">
                  <p:embed/>
                </p:oleObj>
              </mc:Choice>
              <mc:Fallback>
                <p:oleObj name="think-cell Folie" r:id="rId37" imgW="592" imgH="591" progId="TCLayout.ActiveDocument.1">
                  <p:embed/>
                  <p:pic>
                    <p:nvPicPr>
                      <p:cNvPr id="7" name="Objekt 6" hidden="1">
                        <a:extLst>
                          <a:ext uri="{FF2B5EF4-FFF2-40B4-BE49-F238E27FC236}">
                            <a16:creationId xmlns:a16="http://schemas.microsoft.com/office/drawing/2014/main" id="{5B9DEE13-22B2-4884-9273-2CFEC9C731DF}"/>
                          </a:ext>
                        </a:extLst>
                      </p:cNvPr>
                      <p:cNvPicPr/>
                      <p:nvPr/>
                    </p:nvPicPr>
                    <p:blipFill>
                      <a:blip r:embed="rId38"/>
                      <a:stretch>
                        <a:fillRect/>
                      </a:stretch>
                    </p:blipFill>
                    <p:spPr>
                      <a:xfrm>
                        <a:off x="1589" y="1589"/>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34965" y="249927"/>
            <a:ext cx="9502279" cy="664797"/>
          </a:xfrm>
          <a:prstGeom prst="rect">
            <a:avLst/>
          </a:prstGeom>
        </p:spPr>
        <p:txBody>
          <a:bodyPr vert="horz" wrap="square" lIns="0" tIns="0" rIns="0" bIns="0" rtlCol="0" anchor="t" anchorCtr="0">
            <a:spAutoFit/>
          </a:bodyPr>
          <a:lstStyle/>
          <a:p>
            <a:r>
              <a:rPr lang="en-US"/>
              <a:t>173007991 (12/21) TCL</a:t>
            </a:r>
            <a:br>
              <a:rPr lang="en-US"/>
            </a:br>
            <a:r>
              <a:rPr lang="en-US"/>
              <a:t>previously 173006414</a:t>
            </a:r>
          </a:p>
        </p:txBody>
      </p:sp>
      <p:sp>
        <p:nvSpPr>
          <p:cNvPr id="3" name="Text Placeholder 2"/>
          <p:cNvSpPr>
            <a:spLocks noGrp="1"/>
          </p:cNvSpPr>
          <p:nvPr>
            <p:ph type="body" idx="1"/>
          </p:nvPr>
        </p:nvSpPr>
        <p:spPr>
          <a:xfrm>
            <a:off x="334964" y="1196977"/>
            <a:ext cx="11522603" cy="504014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0704513" y="6531715"/>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8" name="TextBox 7">
            <a:extLst>
              <a:ext uri="{FF2B5EF4-FFF2-40B4-BE49-F238E27FC236}">
                <a16:creationId xmlns:a16="http://schemas.microsoft.com/office/drawing/2014/main" id="{D14E9977-C3E2-4A29-A565-FFA15C7CA5E3}"/>
              </a:ext>
            </a:extLst>
          </p:cNvPr>
          <p:cNvSpPr txBox="1"/>
          <p:nvPr userDrawn="1"/>
        </p:nvSpPr>
        <p:spPr>
          <a:xfrm>
            <a:off x="11158232" y="6531717"/>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sp>
        <p:nvSpPr>
          <p:cNvPr id="9" name="Footer Placeholder 3">
            <a:extLst>
              <a:ext uri="{FF2B5EF4-FFF2-40B4-BE49-F238E27FC236}">
                <a16:creationId xmlns:a16="http://schemas.microsoft.com/office/drawing/2014/main" id="{1DD3C19F-8057-4A4E-9322-AA44FA531B96}"/>
              </a:ext>
            </a:extLst>
          </p:cNvPr>
          <p:cNvSpPr>
            <a:spLocks noGrp="1"/>
          </p:cNvSpPr>
          <p:nvPr>
            <p:ph type="ftr" sz="quarter" idx="3"/>
          </p:nvPr>
        </p:nvSpPr>
        <p:spPr>
          <a:xfrm>
            <a:off x="2261053" y="6531715"/>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pic>
        <p:nvPicPr>
          <p:cNvPr id="4" name="Graphic 3">
            <a:extLst>
              <a:ext uri="{FF2B5EF4-FFF2-40B4-BE49-F238E27FC236}">
                <a16:creationId xmlns:a16="http://schemas.microsoft.com/office/drawing/2014/main" id="{2186EF9E-F377-4DAF-92D2-F12CF5E6CBCE}"/>
              </a:ext>
            </a:extLst>
          </p:cNvPr>
          <p:cNvPicPr>
            <a:picLocks noChangeAspect="1"/>
          </p:cNvPicPr>
          <p:nvPr userDrawn="1"/>
        </p:nvPicPr>
        <p:blipFill>
          <a:blip r:embed="rId39">
            <a:extLst>
              <a:ext uri="{96DAC541-7B7A-43D3-8B79-37D633B846F1}">
                <asvg:svgBlip xmlns:asvg="http://schemas.microsoft.com/office/drawing/2016/SVG/main" r:embed="rId40"/>
              </a:ext>
            </a:extLst>
          </a:blip>
          <a:stretch>
            <a:fillRect/>
          </a:stretch>
        </p:blipFill>
        <p:spPr>
          <a:xfrm>
            <a:off x="10353689" y="306000"/>
            <a:ext cx="1500251" cy="498141"/>
          </a:xfrm>
          <a:prstGeom prst="rect">
            <a:avLst/>
          </a:prstGeom>
        </p:spPr>
      </p:pic>
    </p:spTree>
    <p:extLst>
      <p:ext uri="{BB962C8B-B14F-4D97-AF65-F5344CB8AC3E}">
        <p14:creationId xmlns:p14="http://schemas.microsoft.com/office/powerpoint/2010/main" val="1266863426"/>
      </p:ext>
    </p:extLst>
  </p:cSld>
  <p:clrMap bg1="lt1" tx1="dk1" bg2="lt2" tx2="dk2" accent1="accent1" accent2="accent2" accent3="accent3" accent4="accent4" accent5="accent5" accent6="accent6" hlink="hlink" folHlink="folHlink"/>
  <p:sldLayoutIdLst>
    <p:sldLayoutId id="2147484411" r:id="rId1"/>
    <p:sldLayoutId id="2147484412" r:id="rId2"/>
    <p:sldLayoutId id="2147484413" r:id="rId3"/>
    <p:sldLayoutId id="2147484414" r:id="rId4"/>
    <p:sldLayoutId id="2147484415" r:id="rId5"/>
    <p:sldLayoutId id="2147484416" r:id="rId6"/>
    <p:sldLayoutId id="2147484417" r:id="rId7"/>
    <p:sldLayoutId id="2147484418" r:id="rId8"/>
    <p:sldLayoutId id="2147484419" r:id="rId9"/>
    <p:sldLayoutId id="2147484420" r:id="rId10"/>
    <p:sldLayoutId id="2147484421" r:id="rId11"/>
    <p:sldLayoutId id="2147484422" r:id="rId12"/>
    <p:sldLayoutId id="2147484423" r:id="rId13"/>
    <p:sldLayoutId id="2147484424" r:id="rId14"/>
    <p:sldLayoutId id="2147484425" r:id="rId15"/>
    <p:sldLayoutId id="2147484426" r:id="rId16"/>
    <p:sldLayoutId id="2147484427" r:id="rId17"/>
    <p:sldLayoutId id="2147484428" r:id="rId18"/>
    <p:sldLayoutId id="2147484429" r:id="rId19"/>
    <p:sldLayoutId id="2147484430" r:id="rId20"/>
    <p:sldLayoutId id="2147484431" r:id="rId21"/>
    <p:sldLayoutId id="2147484432" r:id="rId22"/>
    <p:sldLayoutId id="2147484433" r:id="rId23"/>
    <p:sldLayoutId id="2147484434" r:id="rId24"/>
    <p:sldLayoutId id="2147484435" r:id="rId25"/>
    <p:sldLayoutId id="2147484436" r:id="rId26"/>
    <p:sldLayoutId id="2147484469" r:id="rId27"/>
    <p:sldLayoutId id="2147484470" r:id="rId28"/>
    <p:sldLayoutId id="2147484471" r:id="rId29"/>
    <p:sldLayoutId id="2147484472" r:id="rId30"/>
    <p:sldLayoutId id="2147484473" r:id="rId31"/>
    <p:sldLayoutId id="2147484474" r:id="rId32"/>
    <p:sldLayoutId id="2147484475" r:id="rId33"/>
    <p:sldLayoutId id="2147484476" r:id="rId34"/>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l" defTabSz="914354" rtl="0" eaLnBrk="1" latinLnBrk="0" hangingPunct="1">
        <a:lnSpc>
          <a:spcPct val="90000"/>
        </a:lnSpc>
        <a:spcBef>
          <a:spcPct val="0"/>
        </a:spcBef>
        <a:buNone/>
        <a:defRPr sz="2400" kern="1200">
          <a:solidFill>
            <a:schemeClr val="accent1"/>
          </a:solidFill>
          <a:latin typeface="+mj-lt"/>
          <a:ea typeface="+mj-ea"/>
          <a:cs typeface="Arial" panose="020B0604020202020204" pitchFamily="34" charset="0"/>
        </a:defRPr>
      </a:lvl1pPr>
    </p:titleStyle>
    <p:bodyStyle>
      <a:lvl1pPr marL="268281" indent="-268281" algn="l" defTabSz="914354" rtl="0" eaLnBrk="1" latinLnBrk="0" hangingPunct="1">
        <a:lnSpc>
          <a:spcPct val="100000"/>
        </a:lnSpc>
        <a:spcBef>
          <a:spcPts val="0"/>
        </a:spcBef>
        <a:spcAft>
          <a:spcPts val="600"/>
        </a:spcAft>
        <a:buFont typeface="Arial" panose="020B0604020202020204" pitchFamily="34" charset="0"/>
        <a:buChar char="•"/>
        <a:defRPr sz="1800" kern="1200">
          <a:solidFill>
            <a:schemeClr val="accent1"/>
          </a:solidFill>
          <a:latin typeface="+mn-lt"/>
          <a:ea typeface="+mn-ea"/>
          <a:cs typeface="Arial" panose="020B0604020202020204" pitchFamily="34" charset="0"/>
        </a:defRPr>
      </a:lvl1pPr>
      <a:lvl2pPr marL="447663" indent="-207957" algn="l" defTabSz="914354" rtl="0" eaLnBrk="1" latinLnBrk="0" hangingPunct="1">
        <a:lnSpc>
          <a:spcPct val="100000"/>
        </a:lnSpc>
        <a:spcBef>
          <a:spcPts val="0"/>
        </a:spcBef>
        <a:spcAft>
          <a:spcPts val="600"/>
        </a:spcAft>
        <a:buFont typeface="Arial" panose="020B0604020202020204" pitchFamily="34" charset="0"/>
        <a:buChar char="−"/>
        <a:defRPr sz="1600" kern="1200">
          <a:solidFill>
            <a:schemeClr val="accent1"/>
          </a:solidFill>
          <a:latin typeface="+mn-lt"/>
          <a:ea typeface="+mn-ea"/>
          <a:cs typeface="Arial" panose="020B0604020202020204" pitchFamily="34" charset="0"/>
        </a:defRPr>
      </a:lvl2pPr>
      <a:lvl3pPr marL="719121" indent="-180970" algn="l" defTabSz="914354" rtl="0" eaLnBrk="1" latinLnBrk="0" hangingPunct="1">
        <a:lnSpc>
          <a:spcPct val="100000"/>
        </a:lnSpc>
        <a:spcBef>
          <a:spcPts val="0"/>
        </a:spcBef>
        <a:spcAft>
          <a:spcPts val="600"/>
        </a:spcAft>
        <a:buFont typeface="Arial" panose="020B0604020202020204" pitchFamily="34" charset="0"/>
        <a:buChar char="−"/>
        <a:defRPr sz="1400" kern="1200">
          <a:solidFill>
            <a:schemeClr val="accent1"/>
          </a:solidFill>
          <a:latin typeface="+mn-lt"/>
          <a:ea typeface="+mn-ea"/>
          <a:cs typeface="Arial" panose="020B0604020202020204" pitchFamily="34" charset="0"/>
        </a:defRPr>
      </a:lvl3pPr>
      <a:lvl4pPr marL="896916" indent="-177796" algn="l" defTabSz="914354" rtl="0" eaLnBrk="1" latinLnBrk="0" hangingPunct="1">
        <a:lnSpc>
          <a:spcPct val="100000"/>
        </a:lnSpc>
        <a:spcBef>
          <a:spcPts val="0"/>
        </a:spcBef>
        <a:spcAft>
          <a:spcPts val="6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4pPr>
      <a:lvl5pPr marL="1165196" indent="-179384" algn="l" defTabSz="914354" rtl="0" eaLnBrk="1" latinLnBrk="0" hangingPunct="1">
        <a:lnSpc>
          <a:spcPct val="100000"/>
        </a:lnSpc>
        <a:spcBef>
          <a:spcPts val="0"/>
        </a:spcBef>
        <a:spcAft>
          <a:spcPts val="6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2">
          <p15:clr>
            <a:srgbClr val="F26B43"/>
          </p15:clr>
        </p15:guide>
        <p15:guide id="2" pos="211">
          <p15:clr>
            <a:srgbClr val="F26B43"/>
          </p15:clr>
        </p15:guide>
        <p15:guide id="3" pos="7469">
          <p15:clr>
            <a:srgbClr val="F26B43"/>
          </p15:clr>
        </p15:guide>
        <p15:guide id="5" orient="horz" pos="599">
          <p15:clr>
            <a:srgbClr val="F26B43"/>
          </p15:clr>
        </p15:guide>
        <p15:guide id="6" orient="horz" pos="3929">
          <p15:clr>
            <a:srgbClr val="F26B43"/>
          </p15:clr>
        </p15:guide>
        <p15:guide id="7" pos="3840">
          <p15:clr>
            <a:srgbClr val="F26B43"/>
          </p15:clr>
        </p15:guide>
        <p15:guide id="8" orient="horz" pos="4110">
          <p15:clr>
            <a:srgbClr val="F26B43"/>
          </p15:clr>
        </p15:guide>
        <p15:guide id="9" orient="horz" pos="75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0BE9710-0948-72E4-B90E-FDD244A86321}"/>
              </a:ext>
            </a:extLst>
          </p:cNvPr>
          <p:cNvGraphicFramePr>
            <a:graphicFrameLocks noChangeAspect="1"/>
          </p:cNvGraphicFramePr>
          <p:nvPr userDrawn="1">
            <p:custDataLst>
              <p:tags r:id="rId27"/>
            </p:custDataLst>
            <p:extLst>
              <p:ext uri="{D42A27DB-BD31-4B8C-83A1-F6EECF244321}">
                <p14:modId xmlns:p14="http://schemas.microsoft.com/office/powerpoint/2010/main" val="2734990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21" imgH="420" progId="TCLayout.ActiveDocument.1">
                  <p:embed/>
                </p:oleObj>
              </mc:Choice>
              <mc:Fallback>
                <p:oleObj name="think-cell Slide" r:id="rId28" imgW="421" imgH="420" progId="TCLayout.ActiveDocument.1">
                  <p:embed/>
                  <p:pic>
                    <p:nvPicPr>
                      <p:cNvPr id="7" name="think-cell data - do not delete" hidden="1">
                        <a:extLst>
                          <a:ext uri="{FF2B5EF4-FFF2-40B4-BE49-F238E27FC236}">
                            <a16:creationId xmlns:a16="http://schemas.microsoft.com/office/drawing/2014/main" id="{B0BE9710-0948-72E4-B90E-FDD244A8632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50826" y="249926"/>
            <a:ext cx="9586415" cy="332399"/>
          </a:xfrm>
          <a:prstGeom prst="rect">
            <a:avLst/>
          </a:prstGeom>
        </p:spPr>
        <p:txBody>
          <a:bodyPr vert="horz" lIns="0" tIns="0" rIns="0" bIns="0" rtlCol="0" anchor="t" anchorCtr="0">
            <a:spAutoFit/>
          </a:bodyPr>
          <a:lstStyle/>
          <a:p>
            <a:r>
              <a:rPr lang="de-DE"/>
              <a:t>Mastertitelformat bearbeiten</a:t>
            </a:r>
            <a:endParaRPr lang="en-US"/>
          </a:p>
        </p:txBody>
      </p:sp>
      <p:sp>
        <p:nvSpPr>
          <p:cNvPr id="3" name="Text Placeholder 2"/>
          <p:cNvSpPr>
            <a:spLocks noGrp="1"/>
          </p:cNvSpPr>
          <p:nvPr>
            <p:ph type="body" idx="1"/>
          </p:nvPr>
        </p:nvSpPr>
        <p:spPr>
          <a:xfrm>
            <a:off x="259451" y="959539"/>
            <a:ext cx="11518145" cy="5040145"/>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Slide Number Placeholder 5"/>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Zurich Sans Light" panose="02000000000000000000" pitchFamily="2" charset="0"/>
                <a:cs typeface="Arial" panose="020B0604020202020204" pitchFamily="34" charset="0"/>
                <a:sym typeface="Zurich Sans Light" panose="02000000000000000000" pitchFamily="2" charset="0"/>
              </a:defRPr>
            </a:lvl1pPr>
          </a:lstStyle>
          <a:p>
            <a:fld id="{FA58F0B4-6BC7-4BFB-804F-EE9B892902C7}" type="slidenum">
              <a:rPr lang="en-US" smtClean="0"/>
              <a:pPr/>
              <a:t>‹nr.›</a:t>
            </a:fld>
            <a:endParaRPr lang="en-US"/>
          </a:p>
        </p:txBody>
      </p:sp>
      <p:sp>
        <p:nvSpPr>
          <p:cNvPr id="8" name="TextBox 7">
            <a:extLst>
              <a:ext uri="{FF2B5EF4-FFF2-40B4-BE49-F238E27FC236}">
                <a16:creationId xmlns:a16="http://schemas.microsoft.com/office/drawing/2014/main" id="{D14E9977-C3E2-4A29-A565-FFA15C7CA5E3}"/>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Zurich Sans Light" panose="02000000000000000000" pitchFamily="2" charset="0"/>
                <a:cs typeface="Arial" panose="020B0604020202020204" pitchFamily="34" charset="0"/>
                <a:sym typeface="Zurich Sans Light" panose="02000000000000000000" pitchFamily="2" charset="0"/>
              </a:rPr>
              <a:t>© Zurich</a:t>
            </a:r>
          </a:p>
        </p:txBody>
      </p:sp>
    </p:spTree>
    <p:extLst>
      <p:ext uri="{BB962C8B-B14F-4D97-AF65-F5344CB8AC3E}">
        <p14:creationId xmlns:p14="http://schemas.microsoft.com/office/powerpoint/2010/main" val="321457972"/>
      </p:ext>
    </p:extLst>
  </p:cSld>
  <p:clrMap bg1="lt1" tx1="dk1" bg2="lt2" tx2="dk2" accent1="accent1" accent2="accent2" accent3="accent3" accent4="accent4" accent5="accent5" accent6="accent6" hlink="hlink" folHlink="folHlink"/>
  <p:sldLayoutIdLst>
    <p:sldLayoutId id="2147484438" r:id="rId1"/>
    <p:sldLayoutId id="2147484439" r:id="rId2"/>
    <p:sldLayoutId id="2147484440" r:id="rId3"/>
    <p:sldLayoutId id="2147484441" r:id="rId4"/>
    <p:sldLayoutId id="2147484442" r:id="rId5"/>
    <p:sldLayoutId id="2147484443" r:id="rId6"/>
    <p:sldLayoutId id="2147484444" r:id="rId7"/>
    <p:sldLayoutId id="2147484445" r:id="rId8"/>
    <p:sldLayoutId id="2147484446" r:id="rId9"/>
    <p:sldLayoutId id="2147484447" r:id="rId10"/>
    <p:sldLayoutId id="2147484448" r:id="rId11"/>
    <p:sldLayoutId id="2147484449" r:id="rId12"/>
    <p:sldLayoutId id="2147484450" r:id="rId13"/>
    <p:sldLayoutId id="2147484451" r:id="rId14"/>
    <p:sldLayoutId id="2147484452" r:id="rId15"/>
    <p:sldLayoutId id="2147484453" r:id="rId16"/>
    <p:sldLayoutId id="2147484454" r:id="rId17"/>
    <p:sldLayoutId id="2147484455" r:id="rId18"/>
    <p:sldLayoutId id="2147484456" r:id="rId19"/>
    <p:sldLayoutId id="2147484457" r:id="rId20"/>
    <p:sldLayoutId id="2147484458" r:id="rId21"/>
    <p:sldLayoutId id="2147484459" r:id="rId22"/>
    <p:sldLayoutId id="2147484460" r:id="rId23"/>
    <p:sldLayoutId id="2147484461" r:id="rId24"/>
    <p:sldLayoutId id="2147484462" r:id="rId25"/>
  </p:sldLayoutIdLst>
  <p:hf hdr="0" ftr="0" dt="0"/>
  <p:txStyles>
    <p:titleStyle>
      <a:lvl1pPr algn="l" defTabSz="914377" rtl="0" eaLnBrk="1" latinLnBrk="0" hangingPunct="1">
        <a:lnSpc>
          <a:spcPct val="90000"/>
        </a:lnSpc>
        <a:spcBef>
          <a:spcPct val="0"/>
        </a:spcBef>
        <a:buNone/>
        <a:defRPr sz="2400" kern="1200">
          <a:solidFill>
            <a:schemeClr val="accent1"/>
          </a:solidFill>
          <a:latin typeface="Zurich Sans Light" panose="02000000000000000000" pitchFamily="2" charset="0"/>
          <a:ea typeface="+mj-ea"/>
          <a:cs typeface="Arial" panose="020B0604020202020204" pitchFamily="34" charset="0"/>
          <a:sym typeface="Zurich Sans Light" panose="02000000000000000000" pitchFamily="2" charset="0"/>
        </a:defRPr>
      </a:lvl1pPr>
    </p:titleStyle>
    <p:bodyStyle>
      <a:lvl1pPr marL="268288" indent="-268288" algn="l" defTabSz="914377" rtl="0" eaLnBrk="1" latinLnBrk="0" hangingPunct="1">
        <a:lnSpc>
          <a:spcPct val="100000"/>
        </a:lnSpc>
        <a:spcBef>
          <a:spcPts val="0"/>
        </a:spcBef>
        <a:spcAft>
          <a:spcPts val="800"/>
        </a:spcAft>
        <a:buFont typeface="Arial" panose="020B0604020202020204" pitchFamily="34" charset="0"/>
        <a:buChar char="•"/>
        <a:defRPr sz="1800" kern="1200">
          <a:solidFill>
            <a:schemeClr val="accent1"/>
          </a:solidFill>
          <a:latin typeface="Zurich Sans Light" panose="02000000000000000000" pitchFamily="2" charset="0"/>
          <a:ea typeface="+mn-ea"/>
          <a:cs typeface="Arial" panose="020B0604020202020204" pitchFamily="34" charset="0"/>
          <a:sym typeface="Zurich Sans Light" panose="02000000000000000000" pitchFamily="2" charset="0"/>
        </a:defRPr>
      </a:lvl1pPr>
      <a:lvl2pPr marL="447675" indent="-207963" algn="l" defTabSz="914377"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Zurich Sans Light" panose="02000000000000000000" pitchFamily="2" charset="0"/>
          <a:ea typeface="+mn-ea"/>
          <a:cs typeface="Arial" panose="020B0604020202020204" pitchFamily="34" charset="0"/>
          <a:sym typeface="Zurich Sans Light" panose="02000000000000000000" pitchFamily="2" charset="0"/>
        </a:defRPr>
      </a:lvl2pPr>
      <a:lvl3pPr marL="719138" indent="-180975" algn="l" defTabSz="914377"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Zurich Sans Light" panose="02000000000000000000" pitchFamily="2" charset="0"/>
          <a:ea typeface="+mn-ea"/>
          <a:cs typeface="Arial" panose="020B0604020202020204" pitchFamily="34" charset="0"/>
          <a:sym typeface="Zurich Sans Light" panose="02000000000000000000" pitchFamily="2" charset="0"/>
        </a:defRPr>
      </a:lvl3pPr>
      <a:lvl4pPr marL="896938" indent="-177800"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Zurich Sans Light" panose="02000000000000000000" pitchFamily="2" charset="0"/>
          <a:ea typeface="+mn-ea"/>
          <a:cs typeface="Arial" panose="020B0604020202020204" pitchFamily="34" charset="0"/>
          <a:sym typeface="Zurich Sans Light" panose="02000000000000000000" pitchFamily="2" charset="0"/>
        </a:defRPr>
      </a:lvl4pPr>
      <a:lvl5pPr marL="1165225" indent="-179388"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Zurich Sans Light" panose="02000000000000000000" pitchFamily="2" charset="0"/>
          <a:ea typeface="+mn-ea"/>
          <a:cs typeface="Arial" panose="020B0604020202020204" pitchFamily="34" charset="0"/>
          <a:sym typeface="Zurich Sans Light" panose="02000000000000000000" pitchFamily="2"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7">
          <p15:clr>
            <a:srgbClr val="F26B43"/>
          </p15:clr>
        </p15:guide>
        <p15:guide id="2" pos="162">
          <p15:clr>
            <a:srgbClr val="F26B43"/>
          </p15:clr>
        </p15:guide>
        <p15:guide id="3" pos="7420">
          <p15:clr>
            <a:srgbClr val="F26B43"/>
          </p15:clr>
        </p15:guide>
        <p15:guide id="5" orient="horz" pos="599">
          <p15:clr>
            <a:srgbClr val="F26B43"/>
          </p15:clr>
        </p15:guide>
        <p15:guide id="8" orient="horz" pos="377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0826" y="249926"/>
            <a:ext cx="9586415" cy="332399"/>
          </a:xfrm>
          <a:prstGeom prst="rect">
            <a:avLst/>
          </a:prstGeom>
        </p:spPr>
        <p:txBody>
          <a:bodyPr vert="horz" lIns="0" tIns="0" rIns="0" bIns="0" rtlCol="0" anchor="t" anchorCtr="0">
            <a:spAutoFit/>
          </a:bodyPr>
          <a:lstStyle/>
          <a:p>
            <a:r>
              <a:rPr lang="nl-NL"/>
              <a:t>Klik om stijl te bewerken</a:t>
            </a:r>
            <a:endParaRPr lang="en-US"/>
          </a:p>
        </p:txBody>
      </p:sp>
      <p:sp>
        <p:nvSpPr>
          <p:cNvPr id="3" name="Text Placeholder 2"/>
          <p:cNvSpPr>
            <a:spLocks noGrp="1"/>
          </p:cNvSpPr>
          <p:nvPr>
            <p:ph type="body" idx="1"/>
          </p:nvPr>
        </p:nvSpPr>
        <p:spPr>
          <a:xfrm>
            <a:off x="259451" y="959539"/>
            <a:ext cx="11518145" cy="5040145"/>
          </a:xfrm>
          <a:prstGeom prst="rect">
            <a:avLst/>
          </a:prstGeom>
        </p:spPr>
        <p:txBody>
          <a:bodyPr vert="horz" lIns="0" tIns="0" rIns="0" bIns="0" rtlCol="0" anchor="t" anchorCtr="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6" name="Slide Number Placeholder 5"/>
          <p:cNvSpPr>
            <a:spLocks noGrp="1"/>
          </p:cNvSpPr>
          <p:nvPr>
            <p:ph type="sldNum" sz="quarter" idx="4"/>
          </p:nvPr>
        </p:nvSpPr>
        <p:spPr>
          <a:xfrm>
            <a:off x="10704512" y="6548967"/>
            <a:ext cx="551115" cy="181960"/>
          </a:xfrm>
          <a:prstGeom prst="rect">
            <a:avLst/>
          </a:prstGeom>
        </p:spPr>
        <p:txBody>
          <a:bodyPr vert="horz" lIns="0" tIns="0" rIns="0" bIns="0" rtlCol="0" anchor="t" anchorCtr="0"/>
          <a:lstStyle>
            <a:lvl1pPr algn="r">
              <a:defRPr sz="900">
                <a:solidFill>
                  <a:schemeClr val="accent1"/>
                </a:solidFill>
                <a:latin typeface="+mn-lt"/>
                <a:cs typeface="Arial" panose="020B0604020202020204" pitchFamily="34" charset="0"/>
              </a:defRPr>
            </a:lvl1pPr>
          </a:lstStyle>
          <a:p>
            <a:fld id="{FA58F0B4-6BC7-4BFB-804F-EE9B892902C7}" type="slidenum">
              <a:rPr lang="en-US" smtClean="0"/>
              <a:pPr/>
              <a:t>‹nr.›</a:t>
            </a:fld>
            <a:endParaRPr lang="en-US"/>
          </a:p>
        </p:txBody>
      </p:sp>
      <p:sp>
        <p:nvSpPr>
          <p:cNvPr id="8" name="TextBox 7">
            <a:extLst>
              <a:ext uri="{FF2B5EF4-FFF2-40B4-BE49-F238E27FC236}">
                <a16:creationId xmlns:a16="http://schemas.microsoft.com/office/drawing/2014/main" id="{D14E9977-C3E2-4A29-A565-FFA15C7CA5E3}"/>
              </a:ext>
            </a:extLst>
          </p:cNvPr>
          <p:cNvSpPr txBox="1"/>
          <p:nvPr userDrawn="1"/>
        </p:nvSpPr>
        <p:spPr>
          <a:xfrm>
            <a:off x="11158230" y="6548967"/>
            <a:ext cx="699337" cy="143565"/>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en-US" sz="900">
                <a:latin typeface="+mn-lt"/>
                <a:cs typeface="Arial" panose="020B0604020202020204" pitchFamily="34" charset="0"/>
              </a:rPr>
              <a:t>© Zurich</a:t>
            </a:r>
          </a:p>
        </p:txBody>
      </p:sp>
      <p:sp>
        <p:nvSpPr>
          <p:cNvPr id="9" name="Footer Placeholder 3">
            <a:extLst>
              <a:ext uri="{FF2B5EF4-FFF2-40B4-BE49-F238E27FC236}">
                <a16:creationId xmlns:a16="http://schemas.microsoft.com/office/drawing/2014/main" id="{1DD3C19F-8057-4A4E-9322-AA44FA531B96}"/>
              </a:ext>
            </a:extLst>
          </p:cNvPr>
          <p:cNvSpPr>
            <a:spLocks noGrp="1"/>
          </p:cNvSpPr>
          <p:nvPr>
            <p:ph type="ftr" sz="quarter" idx="3"/>
          </p:nvPr>
        </p:nvSpPr>
        <p:spPr>
          <a:xfrm>
            <a:off x="2261053" y="6548967"/>
            <a:ext cx="8112000" cy="181960"/>
          </a:xfrm>
          <a:prstGeom prst="rect">
            <a:avLst/>
          </a:prstGeom>
        </p:spPr>
        <p:txBody>
          <a:bodyPr lIns="0" tIns="0" rIns="0" bIns="0"/>
          <a:lstStyle>
            <a:lvl1pPr algn="r">
              <a:defRPr sz="900">
                <a:solidFill>
                  <a:schemeClr val="accent1"/>
                </a:solidFill>
                <a:latin typeface="+mn-lt"/>
                <a:cs typeface="Arial" panose="020B0604020202020204" pitchFamily="34" charset="0"/>
              </a:defRPr>
            </a:lvl1pPr>
          </a:lstStyle>
          <a:p>
            <a:endParaRPr lang="en-US"/>
          </a:p>
        </p:txBody>
      </p:sp>
      <p:sp>
        <p:nvSpPr>
          <p:cNvPr id="4" name="MSIPCMContentMarking" descr="{&quot;HashCode&quot;:-2081672641,&quot;Placement&quot;:&quot;Footer&quot;,&quot;Top&quot;:519.343,&quot;Left&quot;:0.0,&quot;SlideWidth&quot;:960,&quot;SlideHeight&quot;:540}">
            <a:extLst>
              <a:ext uri="{FF2B5EF4-FFF2-40B4-BE49-F238E27FC236}">
                <a16:creationId xmlns:a16="http://schemas.microsoft.com/office/drawing/2014/main" id="{EF492E95-BB94-4F68-9076-6E4F2B7E5006}"/>
              </a:ext>
            </a:extLst>
          </p:cNvPr>
          <p:cNvSpPr txBox="1"/>
          <p:nvPr userDrawn="1"/>
        </p:nvSpPr>
        <p:spPr>
          <a:xfrm>
            <a:off x="0" y="6595656"/>
            <a:ext cx="1348831"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INTERNAL USE ONLY</a:t>
            </a:r>
          </a:p>
        </p:txBody>
      </p:sp>
    </p:spTree>
    <p:extLst>
      <p:ext uri="{BB962C8B-B14F-4D97-AF65-F5344CB8AC3E}">
        <p14:creationId xmlns:p14="http://schemas.microsoft.com/office/powerpoint/2010/main" val="3234307087"/>
      </p:ext>
    </p:extLst>
  </p:cSld>
  <p:clrMap bg1="lt1" tx1="dk1" bg2="lt2" tx2="dk2" accent1="accent1" accent2="accent2" accent3="accent3" accent4="accent4" accent5="accent5" accent6="accent6" hlink="hlink" folHlink="folHlink"/>
  <p:sldLayoutIdLst>
    <p:sldLayoutId id="2147484479"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492" r:id="rId14"/>
    <p:sldLayoutId id="2147484493" r:id="rId15"/>
    <p:sldLayoutId id="2147484494" r:id="rId16"/>
    <p:sldLayoutId id="2147484495" r:id="rId17"/>
    <p:sldLayoutId id="2147484496" r:id="rId18"/>
    <p:sldLayoutId id="2147484497" r:id="rId19"/>
    <p:sldLayoutId id="2147484498" r:id="rId20"/>
    <p:sldLayoutId id="2147484499" r:id="rId21"/>
  </p:sldLayoutIdLst>
  <p:hf hdr="0" dt="0"/>
  <p:txStyles>
    <p:titleStyle>
      <a:lvl1pPr algn="l" defTabSz="914377" rtl="0" eaLnBrk="1" latinLnBrk="0" hangingPunct="1">
        <a:lnSpc>
          <a:spcPct val="90000"/>
        </a:lnSpc>
        <a:spcBef>
          <a:spcPct val="0"/>
        </a:spcBef>
        <a:buNone/>
        <a:defRPr sz="2400" kern="1200">
          <a:solidFill>
            <a:schemeClr val="accent1"/>
          </a:solidFill>
          <a:latin typeface="+mj-lt"/>
          <a:ea typeface="+mj-ea"/>
          <a:cs typeface="Arial" panose="020B0604020202020204" pitchFamily="34" charset="0"/>
        </a:defRPr>
      </a:lvl1pPr>
    </p:titleStyle>
    <p:bodyStyle>
      <a:lvl1pPr marL="268288" indent="-268288" algn="l" defTabSz="914377" rtl="0" eaLnBrk="1" latinLnBrk="0" hangingPunct="1">
        <a:lnSpc>
          <a:spcPct val="100000"/>
        </a:lnSpc>
        <a:spcBef>
          <a:spcPts val="0"/>
        </a:spcBef>
        <a:spcAft>
          <a:spcPts val="800"/>
        </a:spcAft>
        <a:buFont typeface="Arial" panose="020B0604020202020204" pitchFamily="34" charset="0"/>
        <a:buChar char="•"/>
        <a:defRPr sz="1800" kern="1200">
          <a:solidFill>
            <a:schemeClr val="accent1"/>
          </a:solidFill>
          <a:latin typeface="+mn-lt"/>
          <a:ea typeface="+mn-ea"/>
          <a:cs typeface="Arial" panose="020B0604020202020204" pitchFamily="34" charset="0"/>
        </a:defRPr>
      </a:lvl1pPr>
      <a:lvl2pPr marL="447675" indent="-207963" algn="l" defTabSz="914377"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Arial" panose="020B0604020202020204" pitchFamily="34" charset="0"/>
        </a:defRPr>
      </a:lvl2pPr>
      <a:lvl3pPr marL="719138" indent="-180975" algn="l" defTabSz="914377"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Arial" panose="020B0604020202020204" pitchFamily="34" charset="0"/>
        </a:defRPr>
      </a:lvl3pPr>
      <a:lvl4pPr marL="896938" indent="-177800"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4pPr>
      <a:lvl5pPr marL="1165225" indent="-179388"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2">
          <p15:clr>
            <a:srgbClr val="F26B43"/>
          </p15:clr>
        </p15:guide>
        <p15:guide id="2" pos="158">
          <p15:clr>
            <a:srgbClr val="F26B43"/>
          </p15:clr>
        </p15:guide>
        <p15:guide id="3" pos="5602">
          <p15:clr>
            <a:srgbClr val="F26B43"/>
          </p15:clr>
        </p15:guide>
        <p15:guide id="4" pos="4898">
          <p15:clr>
            <a:srgbClr val="F26B43"/>
          </p15:clr>
        </p15:guide>
        <p15:guide id="5" orient="horz" pos="599">
          <p15:clr>
            <a:srgbClr val="F26B43"/>
          </p15:clr>
        </p15:guide>
        <p15:guide id="6" orient="horz" pos="3094">
          <p15:clr>
            <a:srgbClr val="F26B43"/>
          </p15:clr>
        </p15:guide>
        <p15:guide id="7" pos="4693">
          <p15:clr>
            <a:srgbClr val="F26B43"/>
          </p15:clr>
        </p15:guide>
        <p15:guide id="8" orient="horz" pos="29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xml"/><Relationship Id="rId1" Type="http://schemas.openxmlformats.org/officeDocument/2006/relationships/slideLayout" Target="../slideLayouts/slideLayout76.xml"/></Relationships>
</file>

<file path=ppt/slides/_rels/slide1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xml"/><Relationship Id="rId1" Type="http://schemas.openxmlformats.org/officeDocument/2006/relationships/slideLayout" Target="../slideLayouts/slideLayout72.xml"/><Relationship Id="rId5" Type="http://schemas.openxmlformats.org/officeDocument/2006/relationships/image" Target="../media/image68.png"/><Relationship Id="rId4" Type="http://schemas.openxmlformats.org/officeDocument/2006/relationships/image" Target="../media/image67.png"/></Relationships>
</file>

<file path=ppt/slides/_rels/slide1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72.xml"/><Relationship Id="rId4" Type="http://schemas.openxmlformats.org/officeDocument/2006/relationships/image" Target="../media/image69.png"/></Relationships>
</file>

<file path=ppt/slides/_rels/slide1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1.xml"/><Relationship Id="rId1" Type="http://schemas.openxmlformats.org/officeDocument/2006/relationships/slideLayout" Target="../slideLayouts/slideLayout74.xml"/><Relationship Id="rId6" Type="http://schemas.openxmlformats.org/officeDocument/2006/relationships/image" Target="../media/image33.svg"/><Relationship Id="rId5" Type="http://schemas.openxmlformats.org/officeDocument/2006/relationships/image" Target="../media/image11.png"/><Relationship Id="rId4" Type="http://schemas.openxmlformats.org/officeDocument/2006/relationships/image" Target="../media/image71.jpeg"/></Relationships>
</file>

<file path=ppt/slides/_rels/slide13.xml.rels><?xml version="1.0" encoding="UTF-8" standalone="yes"?>
<Relationships xmlns="http://schemas.openxmlformats.org/package/2006/relationships"><Relationship Id="rId8" Type="http://schemas.openxmlformats.org/officeDocument/2006/relationships/image" Target="../media/image77.jpeg"/><Relationship Id="rId3" Type="http://schemas.openxmlformats.org/officeDocument/2006/relationships/image" Target="../media/image72.emf"/><Relationship Id="rId7" Type="http://schemas.openxmlformats.org/officeDocument/2006/relationships/image" Target="../media/image76.jpeg"/><Relationship Id="rId2" Type="http://schemas.openxmlformats.org/officeDocument/2006/relationships/notesSlide" Target="../notesSlides/notesSlide12.xml"/><Relationship Id="rId1" Type="http://schemas.openxmlformats.org/officeDocument/2006/relationships/slideLayout" Target="../slideLayouts/slideLayout50.xml"/><Relationship Id="rId6" Type="http://schemas.openxmlformats.org/officeDocument/2006/relationships/image" Target="../media/image75.jpeg"/><Relationship Id="rId11" Type="http://schemas.openxmlformats.org/officeDocument/2006/relationships/image" Target="../media/image79.png"/><Relationship Id="rId5" Type="http://schemas.openxmlformats.org/officeDocument/2006/relationships/image" Target="../media/image74.jpeg"/><Relationship Id="rId10" Type="http://schemas.openxmlformats.org/officeDocument/2006/relationships/image" Target="../media/image78.png"/><Relationship Id="rId4" Type="http://schemas.openxmlformats.org/officeDocument/2006/relationships/image" Target="../media/image73.emf"/><Relationship Id="rId9" Type="http://schemas.openxmlformats.org/officeDocument/2006/relationships/image" Target="../media/image62.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3.xml"/><Relationship Id="rId1" Type="http://schemas.openxmlformats.org/officeDocument/2006/relationships/tags" Target="../tags/tag82.xml"/><Relationship Id="rId6" Type="http://schemas.openxmlformats.org/officeDocument/2006/relationships/image" Target="../media/image13.emf"/><Relationship Id="rId5" Type="http://schemas.openxmlformats.org/officeDocument/2006/relationships/oleObject" Target="../embeddings/oleObject45.bin"/><Relationship Id="rId4" Type="http://schemas.openxmlformats.org/officeDocument/2006/relationships/image" Target="../media/image80.emf"/></Relationships>
</file>

<file path=ppt/slides/_rels/slide1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notesSlide" Target="../notesSlides/notesSlide14.xml"/><Relationship Id="rId1" Type="http://schemas.openxmlformats.org/officeDocument/2006/relationships/slideLayout" Target="../slideLayouts/slideLayout72.xml"/><Relationship Id="rId6" Type="http://schemas.openxmlformats.org/officeDocument/2006/relationships/image" Target="../media/image84.emf"/><Relationship Id="rId5" Type="http://schemas.openxmlformats.org/officeDocument/2006/relationships/image" Target="../media/image83.png"/><Relationship Id="rId4" Type="http://schemas.openxmlformats.org/officeDocument/2006/relationships/image" Target="../media/image82.png"/></Relationships>
</file>

<file path=ppt/slides/_rels/slide16.xml.rels><?xml version="1.0" encoding="UTF-8" standalone="yes"?>
<Relationships xmlns="http://schemas.openxmlformats.org/package/2006/relationships"><Relationship Id="rId8" Type="http://schemas.openxmlformats.org/officeDocument/2006/relationships/hyperlink" Target="https://www.zurich.com/commercial-insurance/sustainability-and-insights/commercial-insurance-risk-insights/zurich-supports-maersk-to-strengthen-the-climate-resilience-of-its-ports?page_url_input_url=https%3a%2f%2fwww.zurich.com%2fproducts-and-services%2fprotect-your-business%2fcommercial-insurance-risk-insights%2fzurich-supports-maersk-to-strengthen-the-climate-resilience-of-its-ports" TargetMode="External"/><Relationship Id="rId3" Type="http://schemas.openxmlformats.org/officeDocument/2006/relationships/notesSlide" Target="../notesSlides/notesSlide15.xml"/><Relationship Id="rId7" Type="http://schemas.openxmlformats.org/officeDocument/2006/relationships/image" Target="../media/image88.png"/><Relationship Id="rId12" Type="http://schemas.openxmlformats.org/officeDocument/2006/relationships/image" Target="../media/image92.png"/><Relationship Id="rId2" Type="http://schemas.openxmlformats.org/officeDocument/2006/relationships/slideLayout" Target="../slideLayouts/slideLayout50.xml"/><Relationship Id="rId1" Type="http://schemas.openxmlformats.org/officeDocument/2006/relationships/tags" Target="../tags/tag83.xml"/><Relationship Id="rId6" Type="http://schemas.openxmlformats.org/officeDocument/2006/relationships/image" Target="../media/image87.png"/><Relationship Id="rId11" Type="http://schemas.openxmlformats.org/officeDocument/2006/relationships/image" Target="../media/image91.png"/><Relationship Id="rId5" Type="http://schemas.openxmlformats.org/officeDocument/2006/relationships/image" Target="../media/image86.emf"/><Relationship Id="rId10" Type="http://schemas.openxmlformats.org/officeDocument/2006/relationships/image" Target="../media/image90.png"/><Relationship Id="rId4" Type="http://schemas.openxmlformats.org/officeDocument/2006/relationships/oleObject" Target="../embeddings/oleObject46.bin"/><Relationship Id="rId9" Type="http://schemas.openxmlformats.org/officeDocument/2006/relationships/image" Target="../media/image89.png"/></Relationships>
</file>

<file path=ppt/slides/_rels/slide17.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93.png"/><Relationship Id="rId7" Type="http://schemas.openxmlformats.org/officeDocument/2006/relationships/image" Target="../media/image97.png"/><Relationship Id="rId12" Type="http://schemas.openxmlformats.org/officeDocument/2006/relationships/image" Target="../media/image102.svg"/><Relationship Id="rId2" Type="http://schemas.openxmlformats.org/officeDocument/2006/relationships/image" Target="../media/image59.png"/><Relationship Id="rId1" Type="http://schemas.openxmlformats.org/officeDocument/2006/relationships/slideLayout" Target="../slideLayouts/slideLayout50.xml"/><Relationship Id="rId6" Type="http://schemas.openxmlformats.org/officeDocument/2006/relationships/image" Target="../media/image96.svg"/><Relationship Id="rId11" Type="http://schemas.openxmlformats.org/officeDocument/2006/relationships/image" Target="../media/image101.png"/><Relationship Id="rId5" Type="http://schemas.openxmlformats.org/officeDocument/2006/relationships/image" Target="../media/image95.png"/><Relationship Id="rId10" Type="http://schemas.openxmlformats.org/officeDocument/2006/relationships/image" Target="../media/image100.svg"/><Relationship Id="rId4" Type="http://schemas.openxmlformats.org/officeDocument/2006/relationships/image" Target="../media/image94.svg"/><Relationship Id="rId9" Type="http://schemas.openxmlformats.org/officeDocument/2006/relationships/image" Target="../media/image99.png"/></Relationships>
</file>

<file path=ppt/slides/_rels/slide1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79.xml"/><Relationship Id="rId4" Type="http://schemas.openxmlformats.org/officeDocument/2006/relationships/image" Target="../media/image105.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0.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9.xml"/><Relationship Id="rId1" Type="http://schemas.openxmlformats.org/officeDocument/2006/relationships/tags" Target="../tags/tag84.xml"/><Relationship Id="rId6" Type="http://schemas.openxmlformats.org/officeDocument/2006/relationships/image" Target="../media/image107.jpeg"/><Relationship Id="rId5" Type="http://schemas.openxmlformats.org/officeDocument/2006/relationships/image" Target="../media/image106.emf"/><Relationship Id="rId4" Type="http://schemas.openxmlformats.org/officeDocument/2006/relationships/oleObject" Target="../embeddings/oleObject4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3.xml"/><Relationship Id="rId1" Type="http://schemas.openxmlformats.org/officeDocument/2006/relationships/tags" Target="../tags/tag85.xml"/><Relationship Id="rId6" Type="http://schemas.openxmlformats.org/officeDocument/2006/relationships/image" Target="../media/image13.emf"/><Relationship Id="rId5" Type="http://schemas.openxmlformats.org/officeDocument/2006/relationships/oleObject" Target="../embeddings/oleObject45.bin"/><Relationship Id="rId4" Type="http://schemas.openxmlformats.org/officeDocument/2006/relationships/image" Target="../media/image80.emf"/></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8.xml"/><Relationship Id="rId1" Type="http://schemas.openxmlformats.org/officeDocument/2006/relationships/slideLayout" Target="../slideLayouts/slideLayout72.xml"/><Relationship Id="rId5" Type="http://schemas.openxmlformats.org/officeDocument/2006/relationships/image" Target="../media/image109.png"/><Relationship Id="rId4" Type="http://schemas.openxmlformats.org/officeDocument/2006/relationships/image" Target="../media/image108.png"/></Relationships>
</file>

<file path=ppt/slides/_rels/slide23.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12" Type="http://schemas.openxmlformats.org/officeDocument/2006/relationships/image" Target="../media/image119.svg"/><Relationship Id="rId2" Type="http://schemas.openxmlformats.org/officeDocument/2006/relationships/notesSlide" Target="../notesSlides/notesSlide19.xml"/><Relationship Id="rId1" Type="http://schemas.openxmlformats.org/officeDocument/2006/relationships/slideLayout" Target="../slideLayouts/slideLayout49.xml"/><Relationship Id="rId6" Type="http://schemas.openxmlformats.org/officeDocument/2006/relationships/image" Target="../media/image113.png"/><Relationship Id="rId11" Type="http://schemas.openxmlformats.org/officeDocument/2006/relationships/image" Target="../media/image118.png"/><Relationship Id="rId5" Type="http://schemas.openxmlformats.org/officeDocument/2006/relationships/image" Target="../media/image112.png"/><Relationship Id="rId10" Type="http://schemas.openxmlformats.org/officeDocument/2006/relationships/image" Target="../media/image117.png"/><Relationship Id="rId4" Type="http://schemas.openxmlformats.org/officeDocument/2006/relationships/image" Target="../media/image111.png"/><Relationship Id="rId9" Type="http://schemas.openxmlformats.org/officeDocument/2006/relationships/image" Target="../media/image116.png"/></Relationships>
</file>

<file path=ppt/slides/_rels/slide24.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notesSlide" Target="../notesSlides/notesSlide20.xml"/><Relationship Id="rId7" Type="http://schemas.openxmlformats.org/officeDocument/2006/relationships/image" Target="../media/image121.svg"/><Relationship Id="rId12" Type="http://schemas.openxmlformats.org/officeDocument/2006/relationships/image" Target="../media/image126.jpeg"/><Relationship Id="rId2" Type="http://schemas.openxmlformats.org/officeDocument/2006/relationships/slideLayout" Target="../slideLayouts/slideLayout75.xml"/><Relationship Id="rId1" Type="http://schemas.openxmlformats.org/officeDocument/2006/relationships/tags" Target="../tags/tag86.xml"/><Relationship Id="rId6" Type="http://schemas.openxmlformats.org/officeDocument/2006/relationships/image" Target="../media/image120.png"/><Relationship Id="rId11" Type="http://schemas.openxmlformats.org/officeDocument/2006/relationships/image" Target="../media/image125.svg"/><Relationship Id="rId5" Type="http://schemas.openxmlformats.org/officeDocument/2006/relationships/image" Target="../media/image19.emf"/><Relationship Id="rId10" Type="http://schemas.openxmlformats.org/officeDocument/2006/relationships/image" Target="../media/image124.png"/><Relationship Id="rId4" Type="http://schemas.openxmlformats.org/officeDocument/2006/relationships/oleObject" Target="../embeddings/oleObject48.bin"/><Relationship Id="rId9" Type="http://schemas.openxmlformats.org/officeDocument/2006/relationships/image" Target="../media/image123.svg"/></Relationships>
</file>

<file path=ppt/slides/_rels/slide2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jpeg"/><Relationship Id="rId1" Type="http://schemas.openxmlformats.org/officeDocument/2006/relationships/slideLayout" Target="../slideLayouts/slideLayout50.xml"/><Relationship Id="rId4" Type="http://schemas.openxmlformats.org/officeDocument/2006/relationships/image" Target="../media/image129.png"/></Relationships>
</file>

<file path=ppt/slides/_rels/slide26.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21.xml"/><Relationship Id="rId1" Type="http://schemas.openxmlformats.org/officeDocument/2006/relationships/slideLayout" Target="../slideLayouts/slideLayout78.xml"/><Relationship Id="rId5" Type="http://schemas.openxmlformats.org/officeDocument/2006/relationships/image" Target="../media/image132.jpeg"/><Relationship Id="rId4" Type="http://schemas.openxmlformats.org/officeDocument/2006/relationships/image" Target="../media/image131.jpeg"/></Relationships>
</file>

<file path=ppt/slides/_rels/slide2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2.xml"/><Relationship Id="rId1" Type="http://schemas.openxmlformats.org/officeDocument/2006/relationships/slideLayout" Target="../slideLayouts/slideLayout77.xml"/><Relationship Id="rId5" Type="http://schemas.openxmlformats.org/officeDocument/2006/relationships/image" Target="../media/image135.png"/><Relationship Id="rId4" Type="http://schemas.openxmlformats.org/officeDocument/2006/relationships/image" Target="../media/image134.png"/></Relationships>
</file>

<file path=ppt/slides/_rels/slide28.xml.rels><?xml version="1.0" encoding="UTF-8" standalone="yes"?>
<Relationships xmlns="http://schemas.openxmlformats.org/package/2006/relationships"><Relationship Id="rId8" Type="http://schemas.openxmlformats.org/officeDocument/2006/relationships/image" Target="../media/image139.emf"/><Relationship Id="rId3" Type="http://schemas.openxmlformats.org/officeDocument/2006/relationships/oleObject" Target="../embeddings/oleObject49.bin"/><Relationship Id="rId7" Type="http://schemas.openxmlformats.org/officeDocument/2006/relationships/image" Target="../media/image138.svg"/><Relationship Id="rId2" Type="http://schemas.openxmlformats.org/officeDocument/2006/relationships/slideLayout" Target="../slideLayouts/slideLayout49.xml"/><Relationship Id="rId1" Type="http://schemas.openxmlformats.org/officeDocument/2006/relationships/tags" Target="../tags/tag87.xml"/><Relationship Id="rId6" Type="http://schemas.openxmlformats.org/officeDocument/2006/relationships/image" Target="../media/image137.png"/><Relationship Id="rId11" Type="http://schemas.openxmlformats.org/officeDocument/2006/relationships/image" Target="../media/image142.emf"/><Relationship Id="rId5" Type="http://schemas.openxmlformats.org/officeDocument/2006/relationships/image" Target="../media/image136.emf"/><Relationship Id="rId10" Type="http://schemas.openxmlformats.org/officeDocument/2006/relationships/image" Target="../media/image141.emf"/><Relationship Id="rId4" Type="http://schemas.openxmlformats.org/officeDocument/2006/relationships/image" Target="../media/image56.emf"/><Relationship Id="rId9" Type="http://schemas.openxmlformats.org/officeDocument/2006/relationships/image" Target="../media/image140.emf"/></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41.jpeg"/><Relationship Id="rId7" Type="http://schemas.openxmlformats.org/officeDocument/2006/relationships/image" Target="../media/image45.jpeg"/><Relationship Id="rId2" Type="http://schemas.openxmlformats.org/officeDocument/2006/relationships/notesSlide" Target="../notesSlides/notesSlide3.xml"/><Relationship Id="rId1" Type="http://schemas.openxmlformats.org/officeDocument/2006/relationships/slideLayout" Target="../slideLayouts/slideLayout159.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 Id="rId9" Type="http://schemas.openxmlformats.org/officeDocument/2006/relationships/image" Target="../media/image33.svg"/></Relationships>
</file>

<file path=ppt/slides/_rels/slide4.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4.xml"/><Relationship Id="rId1" Type="http://schemas.openxmlformats.org/officeDocument/2006/relationships/slideLayout" Target="../slideLayouts/slideLayout50.xml"/><Relationship Id="rId5" Type="http://schemas.openxmlformats.org/officeDocument/2006/relationships/image" Target="../media/image47.png"/><Relationship Id="rId4" Type="http://schemas.openxmlformats.org/officeDocument/2006/relationships/hyperlink" Target="http://www.ipcc.ch/report/ar6/wg1/" TargetMode="External"/></Relationships>
</file>

<file path=ppt/slides/_rels/slide5.xml.rels><?xml version="1.0" encoding="UTF-8" standalone="yes"?>
<Relationships xmlns="http://schemas.openxmlformats.org/package/2006/relationships"><Relationship Id="rId3" Type="http://schemas.microsoft.com/office/2018/10/relationships/comments" Target="../comments/modernComment_109_0.xml"/><Relationship Id="rId2" Type="http://schemas.openxmlformats.org/officeDocument/2006/relationships/notesSlide" Target="../notesSlides/notesSlide5.xml"/><Relationship Id="rId1" Type="http://schemas.openxmlformats.org/officeDocument/2006/relationships/slideLayout" Target="../slideLayouts/slideLayout50.xml"/><Relationship Id="rId4" Type="http://schemas.openxmlformats.org/officeDocument/2006/relationships/image" Target="../media/image48.png"/></Relationships>
</file>

<file path=ppt/slides/_rels/slide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91.xml"/><Relationship Id="rId4" Type="http://schemas.openxmlformats.org/officeDocument/2006/relationships/image" Target="../media/image51.jpeg"/></Relationships>
</file>

<file path=ppt/slides/_rels/slide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49.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3.xml"/><Relationship Id="rId1" Type="http://schemas.openxmlformats.org/officeDocument/2006/relationships/tags" Target="../tags/tag81.xml"/><Relationship Id="rId5" Type="http://schemas.openxmlformats.org/officeDocument/2006/relationships/image" Target="../media/image56.emf"/><Relationship Id="rId4" Type="http://schemas.openxmlformats.org/officeDocument/2006/relationships/oleObject" Target="../embeddings/oleObject44.bin"/></Relationships>
</file>

<file path=ppt/slides/_rels/slide9.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11.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notesSlide" Target="../notesSlides/notesSlide8.xml"/><Relationship Id="rId1" Type="http://schemas.openxmlformats.org/officeDocument/2006/relationships/slideLayout" Target="../slideLayouts/slideLayout74.xml"/><Relationship Id="rId6" Type="http://schemas.openxmlformats.org/officeDocument/2006/relationships/image" Target="../media/image60.png"/><Relationship Id="rId11" Type="http://schemas.openxmlformats.org/officeDocument/2006/relationships/image" Target="../media/image65.sv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image" Target="../media/image3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521889-86C5-4C1D-8326-CE658961C6CA}"/>
              </a:ext>
            </a:extLst>
          </p:cNvPr>
          <p:cNvSpPr>
            <a:spLocks noGrp="1"/>
          </p:cNvSpPr>
          <p:nvPr>
            <p:ph type="ctrTitle"/>
          </p:nvPr>
        </p:nvSpPr>
        <p:spPr>
          <a:xfrm>
            <a:off x="265426" y="2516798"/>
            <a:ext cx="6864544" cy="828496"/>
          </a:xfrm>
        </p:spPr>
        <p:txBody>
          <a:bodyPr>
            <a:noAutofit/>
          </a:bodyPr>
          <a:lstStyle/>
          <a:p>
            <a:r>
              <a:rPr lang="en-US" sz="4800"/>
              <a:t>ZRS Climate Resilience</a:t>
            </a:r>
            <a:endParaRPr lang="en-US" sz="4800">
              <a:latin typeface="+mj-lt"/>
            </a:endParaRPr>
          </a:p>
        </p:txBody>
      </p:sp>
      <p:sp>
        <p:nvSpPr>
          <p:cNvPr id="5" name="Subtitle 4">
            <a:extLst>
              <a:ext uri="{FF2B5EF4-FFF2-40B4-BE49-F238E27FC236}">
                <a16:creationId xmlns:a16="http://schemas.microsoft.com/office/drawing/2014/main" id="{21FCB2E7-E6A3-4A1E-8BC5-0B35DCAEEE44}"/>
              </a:ext>
            </a:extLst>
          </p:cNvPr>
          <p:cNvSpPr>
            <a:spLocks noGrp="1"/>
          </p:cNvSpPr>
          <p:nvPr>
            <p:ph type="subTitle" idx="1"/>
          </p:nvPr>
        </p:nvSpPr>
        <p:spPr>
          <a:xfrm>
            <a:off x="265426" y="3437369"/>
            <a:ext cx="6361516" cy="2319375"/>
          </a:xfrm>
        </p:spPr>
        <p:txBody>
          <a:bodyPr>
            <a:noAutofit/>
          </a:bodyPr>
          <a:lstStyle/>
          <a:p>
            <a:r>
              <a:rPr lang="de-DE" sz="2400">
                <a:latin typeface="+mn-lt"/>
              </a:rPr>
              <a:t>Klimarisiken und CSRD managen: Effekte des Klimawandels auf Standorte &amp; Lieferketten</a:t>
            </a:r>
          </a:p>
          <a:p>
            <a:pPr defTabSz="914377">
              <a:spcAft>
                <a:spcPts val="133"/>
              </a:spcAft>
              <a:defRPr/>
            </a:pPr>
            <a:endParaRPr lang="de-DE" sz="1800">
              <a:solidFill>
                <a:schemeClr val="bg1">
                  <a:lumMod val="95000"/>
                </a:schemeClr>
              </a:solidFill>
            </a:endParaRPr>
          </a:p>
          <a:p>
            <a:pPr>
              <a:spcAft>
                <a:spcPts val="133"/>
              </a:spcAft>
              <a:defRPr/>
            </a:pPr>
            <a:r>
              <a:rPr lang="de-DE">
                <a:solidFill>
                  <a:schemeClr val="bg1">
                    <a:lumMod val="95000"/>
                  </a:schemeClr>
                </a:solidFill>
              </a:rPr>
              <a:t>Tabea Müller – Climate </a:t>
            </a:r>
            <a:r>
              <a:rPr lang="de-DE" err="1">
                <a:solidFill>
                  <a:schemeClr val="bg1">
                    <a:lumMod val="95000"/>
                  </a:schemeClr>
                </a:solidFill>
              </a:rPr>
              <a:t>Resilience</a:t>
            </a:r>
            <a:r>
              <a:rPr lang="de-DE">
                <a:solidFill>
                  <a:schemeClr val="bg1">
                    <a:lumMod val="95000"/>
                  </a:schemeClr>
                </a:solidFill>
              </a:rPr>
              <a:t> Lead Benelux</a:t>
            </a:r>
          </a:p>
          <a:p>
            <a:pPr>
              <a:spcAft>
                <a:spcPts val="133"/>
              </a:spcAft>
              <a:defRPr/>
            </a:pPr>
            <a:r>
              <a:rPr lang="de-DE" err="1">
                <a:solidFill>
                  <a:schemeClr val="bg1">
                    <a:lumMod val="95000"/>
                  </a:schemeClr>
                </a:solidFill>
              </a:rPr>
              <a:t>Zurich</a:t>
            </a:r>
            <a:r>
              <a:rPr lang="de-DE">
                <a:solidFill>
                  <a:schemeClr val="bg1">
                    <a:lumMod val="95000"/>
                  </a:schemeClr>
                </a:solidFill>
              </a:rPr>
              <a:t> </a:t>
            </a:r>
            <a:r>
              <a:rPr lang="de-DE" err="1">
                <a:solidFill>
                  <a:schemeClr val="bg1">
                    <a:lumMod val="95000"/>
                  </a:schemeClr>
                </a:solidFill>
              </a:rPr>
              <a:t>Resilience</a:t>
            </a:r>
            <a:r>
              <a:rPr lang="de-DE">
                <a:solidFill>
                  <a:schemeClr val="bg1">
                    <a:lumMod val="95000"/>
                  </a:schemeClr>
                </a:solidFill>
              </a:rPr>
              <a:t> Solutions</a:t>
            </a:r>
          </a:p>
        </p:txBody>
      </p:sp>
      <p:sp>
        <p:nvSpPr>
          <p:cNvPr id="7" name="Text Placeholder 6">
            <a:extLst>
              <a:ext uri="{FF2B5EF4-FFF2-40B4-BE49-F238E27FC236}">
                <a16:creationId xmlns:a16="http://schemas.microsoft.com/office/drawing/2014/main" id="{B3C5D92B-8593-4F27-AD3B-ECCC5EF98467}"/>
              </a:ext>
            </a:extLst>
          </p:cNvPr>
          <p:cNvSpPr>
            <a:spLocks noGrp="1"/>
          </p:cNvSpPr>
          <p:nvPr>
            <p:ph type="body" sz="quarter" idx="14"/>
          </p:nvPr>
        </p:nvSpPr>
        <p:spPr/>
        <p:txBody>
          <a:bodyPr/>
          <a:lstStyle/>
          <a:p>
            <a:r>
              <a:rPr lang="en-US">
                <a:latin typeface="+mn-lt"/>
              </a:rPr>
              <a:t>26. Juni 2025</a:t>
            </a:r>
          </a:p>
        </p:txBody>
      </p:sp>
      <p:pic>
        <p:nvPicPr>
          <p:cNvPr id="3" name="Picture Placeholder 27">
            <a:extLst>
              <a:ext uri="{FF2B5EF4-FFF2-40B4-BE49-F238E27FC236}">
                <a16:creationId xmlns:a16="http://schemas.microsoft.com/office/drawing/2014/main" id="{30788989-623A-2D21-BE89-A7A2680BE146}"/>
              </a:ext>
            </a:extLst>
          </p:cNvPr>
          <p:cNvPicPr>
            <a:picLocks noChangeAspect="1"/>
          </p:cNvPicPr>
          <p:nvPr/>
        </p:nvPicPr>
        <p:blipFill>
          <a:blip r:embed="rId3">
            <a:extLst>
              <a:ext uri="{28A0092B-C50C-407E-A947-70E740481C1C}">
                <a14:useLocalDpi xmlns:a14="http://schemas.microsoft.com/office/drawing/2010/main" val="0"/>
              </a:ext>
            </a:extLst>
          </a:blip>
          <a:srcRect l="16706" r="16706"/>
          <a:stretch/>
        </p:blipFill>
        <p:spPr>
          <a:xfrm>
            <a:off x="7129970" y="1826706"/>
            <a:ext cx="5040312" cy="5038725"/>
          </a:xfrm>
          <a:prstGeom prst="ellipse">
            <a:avLst/>
          </a:prstGeom>
        </p:spPr>
      </p:pic>
    </p:spTree>
    <p:extLst>
      <p:ext uri="{BB962C8B-B14F-4D97-AF65-F5344CB8AC3E}">
        <p14:creationId xmlns:p14="http://schemas.microsoft.com/office/powerpoint/2010/main" val="17736198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Freeform 70">
            <a:extLst>
              <a:ext uri="{FF2B5EF4-FFF2-40B4-BE49-F238E27FC236}">
                <a16:creationId xmlns:a16="http://schemas.microsoft.com/office/drawing/2014/main" id="{72AE826A-63ED-7FF4-CB22-00A4F40549B2}"/>
              </a:ext>
            </a:extLst>
          </p:cNvPr>
          <p:cNvSpPr>
            <a:spLocks noGrp="1" noRot="1" noMove="1" noResize="1" noEditPoints="1" noAdjustHandles="1" noChangeArrowheads="1" noChangeShapeType="1"/>
          </p:cNvSpPr>
          <p:nvPr/>
        </p:nvSpPr>
        <p:spPr>
          <a:xfrm>
            <a:off x="0" y="2868793"/>
            <a:ext cx="12192000" cy="4012948"/>
          </a:xfrm>
          <a:custGeom>
            <a:avLst/>
            <a:gdLst>
              <a:gd name="connsiteX0" fmla="*/ 4595447 w 12192000"/>
              <a:gd name="connsiteY0" fmla="*/ 0 h 4012948"/>
              <a:gd name="connsiteX1" fmla="*/ 11956495 w 12192000"/>
              <a:gd name="connsiteY1" fmla="*/ 3049046 h 4012948"/>
              <a:gd name="connsiteX2" fmla="*/ 12192000 w 12192000"/>
              <a:gd name="connsiteY2" fmla="*/ 3296060 h 4012948"/>
              <a:gd name="connsiteX3" fmla="*/ 12192000 w 12192000"/>
              <a:gd name="connsiteY3" fmla="*/ 4012948 h 4012948"/>
              <a:gd name="connsiteX4" fmla="*/ 0 w 12192000"/>
              <a:gd name="connsiteY4" fmla="*/ 4012948 h 4012948"/>
              <a:gd name="connsiteX5" fmla="*/ 0 w 12192000"/>
              <a:gd name="connsiteY5" fmla="*/ 1068670 h 4012948"/>
              <a:gd name="connsiteX6" fmla="*/ 82241 w 12192000"/>
              <a:gd name="connsiteY6" fmla="*/ 1026549 h 4012948"/>
              <a:gd name="connsiteX7" fmla="*/ 4595447 w 12192000"/>
              <a:gd name="connsiteY7" fmla="*/ 0 h 401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012948">
                <a:moveTo>
                  <a:pt x="4595447" y="0"/>
                </a:moveTo>
                <a:cubicBezTo>
                  <a:pt x="7470115" y="0"/>
                  <a:pt x="10072638" y="1165190"/>
                  <a:pt x="11956495" y="3049046"/>
                </a:cubicBezTo>
                <a:lnTo>
                  <a:pt x="12192000" y="3296060"/>
                </a:lnTo>
                <a:lnTo>
                  <a:pt x="12192000" y="4012948"/>
                </a:lnTo>
                <a:lnTo>
                  <a:pt x="0" y="4012948"/>
                </a:lnTo>
                <a:lnTo>
                  <a:pt x="0" y="1068670"/>
                </a:lnTo>
                <a:lnTo>
                  <a:pt x="82241" y="1026549"/>
                </a:lnTo>
                <a:cubicBezTo>
                  <a:pt x="1447554" y="368674"/>
                  <a:pt x="2978447" y="0"/>
                  <a:pt x="4595447" y="0"/>
                </a:cubicBez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p>
            <a:pPr algn="ctr"/>
            <a:endParaRPr lang="de-DE" sz="1000"/>
          </a:p>
        </p:txBody>
      </p:sp>
      <p:grpSp>
        <p:nvGrpSpPr>
          <p:cNvPr id="36" name="Group 35">
            <a:extLst>
              <a:ext uri="{FF2B5EF4-FFF2-40B4-BE49-F238E27FC236}">
                <a16:creationId xmlns:a16="http://schemas.microsoft.com/office/drawing/2014/main" id="{6287BCAF-5055-22A7-9AE6-8AFA08884F24}"/>
              </a:ext>
            </a:extLst>
          </p:cNvPr>
          <p:cNvGrpSpPr/>
          <p:nvPr/>
        </p:nvGrpSpPr>
        <p:grpSpPr>
          <a:xfrm>
            <a:off x="214513" y="2985643"/>
            <a:ext cx="5711212" cy="3913141"/>
            <a:chOff x="3141788" y="1716110"/>
            <a:chExt cx="7286228" cy="5079983"/>
          </a:xfrm>
        </p:grpSpPr>
        <p:pic>
          <p:nvPicPr>
            <p:cNvPr id="37" name="Picture 36" descr="A computer monitor with a blank screen&#10;&#10;Description automatically generated">
              <a:extLst>
                <a:ext uri="{FF2B5EF4-FFF2-40B4-BE49-F238E27FC236}">
                  <a16:creationId xmlns:a16="http://schemas.microsoft.com/office/drawing/2014/main" id="{0C9A2B94-6AD7-50EB-3D9F-71405B3A09F4}"/>
                </a:ext>
              </a:extLst>
            </p:cNvPr>
            <p:cNvPicPr>
              <a:picLocks noChangeAspect="1"/>
            </p:cNvPicPr>
            <p:nvPr/>
          </p:nvPicPr>
          <p:blipFill rotWithShape="1">
            <a:blip r:embed="rId3">
              <a:extLst>
                <a:ext uri="{28A0092B-C50C-407E-A947-70E740481C1C}">
                  <a14:useLocalDpi xmlns:a14="http://schemas.microsoft.com/office/drawing/2010/main" val="0"/>
                </a:ext>
              </a:extLst>
            </a:blip>
            <a:srcRect l="125" t="12332" r="-125" b="17947"/>
            <a:stretch/>
          </p:blipFill>
          <p:spPr>
            <a:xfrm>
              <a:off x="3141788" y="1716110"/>
              <a:ext cx="7286228" cy="5079983"/>
            </a:xfrm>
            <a:prstGeom prst="rect">
              <a:avLst/>
            </a:prstGeom>
          </p:spPr>
        </p:pic>
        <p:sp>
          <p:nvSpPr>
            <p:cNvPr id="38" name="Rectangle 37">
              <a:extLst>
                <a:ext uri="{FF2B5EF4-FFF2-40B4-BE49-F238E27FC236}">
                  <a16:creationId xmlns:a16="http://schemas.microsoft.com/office/drawing/2014/main" id="{0128FD98-AC4B-05D5-71E2-EEC6E56B6FB7}"/>
                </a:ext>
              </a:extLst>
            </p:cNvPr>
            <p:cNvSpPr/>
            <p:nvPr/>
          </p:nvSpPr>
          <p:spPr>
            <a:xfrm>
              <a:off x="3739941" y="1954059"/>
              <a:ext cx="6110443" cy="346046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000"/>
                <a:t>  </a:t>
              </a:r>
            </a:p>
          </p:txBody>
        </p:sp>
      </p:grpSp>
      <p:sp>
        <p:nvSpPr>
          <p:cNvPr id="12" name="TextBox 11">
            <a:extLst>
              <a:ext uri="{FF2B5EF4-FFF2-40B4-BE49-F238E27FC236}">
                <a16:creationId xmlns:a16="http://schemas.microsoft.com/office/drawing/2014/main" id="{D9814A99-0FEE-0765-DFEA-C0ACCE6583B2}"/>
              </a:ext>
            </a:extLst>
          </p:cNvPr>
          <p:cNvSpPr txBox="1"/>
          <p:nvPr/>
        </p:nvSpPr>
        <p:spPr>
          <a:xfrm>
            <a:off x="345783" y="828004"/>
            <a:ext cx="10017417" cy="830997"/>
          </a:xfrm>
          <a:prstGeom prst="rect">
            <a:avLst/>
          </a:prstGeom>
          <a:noFill/>
        </p:spPr>
        <p:txBody>
          <a:bodyPr wrap="square" lIns="91440" tIns="45720" rIns="91440" bIns="45720" anchor="t">
            <a:spAutoFit/>
          </a:bodyPr>
          <a:lstStyle/>
          <a:p>
            <a:r>
              <a:rPr lang="de-DE" sz="2400">
                <a:solidFill>
                  <a:schemeClr val="accent1"/>
                </a:solidFill>
              </a:rPr>
              <a:t>Top-down-Ansicht des Klimarisikos: Weitere Beispiele </a:t>
            </a:r>
          </a:p>
          <a:p>
            <a:endParaRPr lang="de-DE" sz="2400">
              <a:solidFill>
                <a:srgbClr val="000000"/>
              </a:solidFill>
            </a:endParaRPr>
          </a:p>
        </p:txBody>
      </p:sp>
      <p:sp>
        <p:nvSpPr>
          <p:cNvPr id="62" name="TextBox 61">
            <a:extLst>
              <a:ext uri="{FF2B5EF4-FFF2-40B4-BE49-F238E27FC236}">
                <a16:creationId xmlns:a16="http://schemas.microsoft.com/office/drawing/2014/main" id="{4E2F907A-874D-5EF5-2EAF-3F152EA4358B}"/>
              </a:ext>
            </a:extLst>
          </p:cNvPr>
          <p:cNvSpPr txBox="1"/>
          <p:nvPr/>
        </p:nvSpPr>
        <p:spPr>
          <a:xfrm>
            <a:off x="357534" y="1265406"/>
            <a:ext cx="5534693" cy="1754326"/>
          </a:xfrm>
          <a:prstGeom prst="rect">
            <a:avLst/>
          </a:prstGeom>
          <a:noFill/>
        </p:spPr>
        <p:txBody>
          <a:bodyPr wrap="square" lIns="0">
            <a:spAutoFit/>
          </a:bodyPr>
          <a:lstStyle/>
          <a:p>
            <a:pPr marL="88900">
              <a:spcBef>
                <a:spcPts val="600"/>
              </a:spcBef>
              <a:spcAft>
                <a:spcPts val="600"/>
              </a:spcAft>
            </a:pPr>
            <a:r>
              <a:rPr lang="de-DE" sz="1400" dirty="0">
                <a:solidFill>
                  <a:srgbClr val="2167AE"/>
                </a:solidFill>
                <a:latin typeface="+mj-lt"/>
              </a:rPr>
              <a:t>Zeitliche Entwicklung der Naturgefahren</a:t>
            </a:r>
            <a:endParaRPr lang="de-DE" sz="1400" b="1" dirty="0">
              <a:solidFill>
                <a:srgbClr val="2167AE"/>
              </a:solidFill>
              <a:latin typeface="+mj-lt"/>
            </a:endParaRPr>
          </a:p>
          <a:p>
            <a:pPr marL="88900" lvl="1">
              <a:spcBef>
                <a:spcPts val="600"/>
              </a:spcBef>
            </a:pPr>
            <a:r>
              <a:rPr lang="de-DE" sz="1400" dirty="0">
                <a:solidFill>
                  <a:srgbClr val="2167AE"/>
                </a:solidFill>
              </a:rPr>
              <a:t>Ein Überblick über das physische Klimarisiko für alle in den Geltungsbereich fallende Naturgefahren und die Entwicklung über festgelegte Zeithorizonte. Ermöglicht die Identifizierung und Quantifizierung der Exposition gegenüber jeder Naturgefahr, die Bewertung der Wesentlichkeit für das Unternehmen und die damit verbundenen Trends.</a:t>
            </a:r>
          </a:p>
        </p:txBody>
      </p:sp>
      <p:sp>
        <p:nvSpPr>
          <p:cNvPr id="63" name="TextBox 62">
            <a:extLst>
              <a:ext uri="{FF2B5EF4-FFF2-40B4-BE49-F238E27FC236}">
                <a16:creationId xmlns:a16="http://schemas.microsoft.com/office/drawing/2014/main" id="{5CBC8B0B-41E6-0039-D6AC-8FB03092BD8E}"/>
              </a:ext>
            </a:extLst>
          </p:cNvPr>
          <p:cNvSpPr txBox="1"/>
          <p:nvPr/>
        </p:nvSpPr>
        <p:spPr>
          <a:xfrm>
            <a:off x="6249761" y="1265017"/>
            <a:ext cx="5520036" cy="1538883"/>
          </a:xfrm>
          <a:prstGeom prst="rect">
            <a:avLst/>
          </a:prstGeom>
          <a:noFill/>
        </p:spPr>
        <p:txBody>
          <a:bodyPr wrap="square" lIns="0">
            <a:spAutoFit/>
          </a:bodyPr>
          <a:lstStyle/>
          <a:p>
            <a:pPr marL="88900">
              <a:spcBef>
                <a:spcPts val="600"/>
              </a:spcBef>
              <a:spcAft>
                <a:spcPts val="600"/>
              </a:spcAft>
            </a:pPr>
            <a:r>
              <a:rPr lang="de-DE" sz="1400">
                <a:solidFill>
                  <a:srgbClr val="2167AE"/>
                </a:solidFill>
                <a:latin typeface="+mj-lt"/>
              </a:rPr>
              <a:t>Geografische Verteilung der Naturgefahren </a:t>
            </a:r>
            <a:endParaRPr lang="de-DE" sz="1400" b="1">
              <a:solidFill>
                <a:srgbClr val="2167AE"/>
              </a:solidFill>
              <a:latin typeface="+mj-lt"/>
            </a:endParaRPr>
          </a:p>
          <a:p>
            <a:pPr marL="88900" lvl="1">
              <a:spcBef>
                <a:spcPts val="600"/>
              </a:spcBef>
            </a:pPr>
            <a:r>
              <a:rPr lang="de-DE" sz="1400">
                <a:solidFill>
                  <a:srgbClr val="2167AE"/>
                </a:solidFill>
              </a:rPr>
              <a:t>Ein Deep Dive in die Gefährdung durch einzelne Naturgefahren und ihre Verteilung über die geografische Reichweite der Wertschöpfungskette des Kunden. Ermöglicht die Konzentration auf bestimmte Naturgefahren, die auf globaler Ebene von Bedeutung sind.</a:t>
            </a:r>
          </a:p>
        </p:txBody>
      </p:sp>
      <p:sp>
        <p:nvSpPr>
          <p:cNvPr id="66" name="TextBox 65">
            <a:extLst>
              <a:ext uri="{FF2B5EF4-FFF2-40B4-BE49-F238E27FC236}">
                <a16:creationId xmlns:a16="http://schemas.microsoft.com/office/drawing/2014/main" id="{1CA1A6A5-1FB8-0F19-F7A4-EAF98691D346}"/>
              </a:ext>
            </a:extLst>
          </p:cNvPr>
          <p:cNvSpPr txBox="1"/>
          <p:nvPr/>
        </p:nvSpPr>
        <p:spPr>
          <a:xfrm>
            <a:off x="11158232" y="6548969"/>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de-DE" sz="900"/>
              <a:t>© </a:t>
            </a:r>
            <a:r>
              <a:rPr lang="de-DE" sz="900" err="1"/>
              <a:t>Zurich</a:t>
            </a:r>
            <a:endParaRPr lang="de-DE" sz="900"/>
          </a:p>
        </p:txBody>
      </p:sp>
      <p:pic>
        <p:nvPicPr>
          <p:cNvPr id="14" name="Grafik 13">
            <a:extLst>
              <a:ext uri="{FF2B5EF4-FFF2-40B4-BE49-F238E27FC236}">
                <a16:creationId xmlns:a16="http://schemas.microsoft.com/office/drawing/2014/main" id="{CA352E3E-8974-0912-EA35-F63A924B9D18}"/>
              </a:ext>
            </a:extLst>
          </p:cNvPr>
          <p:cNvPicPr>
            <a:picLocks noChangeAspect="1"/>
          </p:cNvPicPr>
          <p:nvPr/>
        </p:nvPicPr>
        <p:blipFill>
          <a:blip r:embed="rId4"/>
          <a:stretch>
            <a:fillRect/>
          </a:stretch>
        </p:blipFill>
        <p:spPr>
          <a:xfrm>
            <a:off x="824157" y="3202764"/>
            <a:ext cx="4527751" cy="2563878"/>
          </a:xfrm>
          <a:prstGeom prst="rect">
            <a:avLst/>
          </a:prstGeom>
        </p:spPr>
      </p:pic>
      <p:grpSp>
        <p:nvGrpSpPr>
          <p:cNvPr id="18" name="Gruppieren 17">
            <a:extLst>
              <a:ext uri="{FF2B5EF4-FFF2-40B4-BE49-F238E27FC236}">
                <a16:creationId xmlns:a16="http://schemas.microsoft.com/office/drawing/2014/main" id="{48D8CC4E-0833-1173-F987-FE8AE4CF553B}"/>
              </a:ext>
            </a:extLst>
          </p:cNvPr>
          <p:cNvGrpSpPr/>
          <p:nvPr/>
        </p:nvGrpSpPr>
        <p:grpSpPr>
          <a:xfrm>
            <a:off x="6061671" y="2961902"/>
            <a:ext cx="5994382" cy="3896098"/>
            <a:chOff x="5966053" y="2609953"/>
            <a:chExt cx="6089923" cy="4245915"/>
          </a:xfrm>
        </p:grpSpPr>
        <p:grpSp>
          <p:nvGrpSpPr>
            <p:cNvPr id="13" name="Group 40">
              <a:extLst>
                <a:ext uri="{FF2B5EF4-FFF2-40B4-BE49-F238E27FC236}">
                  <a16:creationId xmlns:a16="http://schemas.microsoft.com/office/drawing/2014/main" id="{ECE9CB96-3D50-815B-CB9D-05F72BA51B54}"/>
                </a:ext>
              </a:extLst>
            </p:cNvPr>
            <p:cNvGrpSpPr/>
            <p:nvPr/>
          </p:nvGrpSpPr>
          <p:grpSpPr>
            <a:xfrm>
              <a:off x="5966053" y="2609953"/>
              <a:ext cx="6089923" cy="4245915"/>
              <a:chOff x="3135900" y="1685155"/>
              <a:chExt cx="7286228" cy="5079983"/>
            </a:xfrm>
          </p:grpSpPr>
          <p:pic>
            <p:nvPicPr>
              <p:cNvPr id="15" name="Picture 42" descr="A computer monitor with a blank screen&#10;&#10;Description automatically generated">
                <a:extLst>
                  <a:ext uri="{FF2B5EF4-FFF2-40B4-BE49-F238E27FC236}">
                    <a16:creationId xmlns:a16="http://schemas.microsoft.com/office/drawing/2014/main" id="{ACDB6622-71B3-21D0-56BF-9C0B8609102F}"/>
                  </a:ext>
                </a:extLst>
              </p:cNvPr>
              <p:cNvPicPr>
                <a:picLocks noChangeAspect="1"/>
              </p:cNvPicPr>
              <p:nvPr/>
            </p:nvPicPr>
            <p:blipFill rotWithShape="1">
              <a:blip r:embed="rId3">
                <a:extLst>
                  <a:ext uri="{28A0092B-C50C-407E-A947-70E740481C1C}">
                    <a14:useLocalDpi xmlns:a14="http://schemas.microsoft.com/office/drawing/2010/main" val="0"/>
                  </a:ext>
                </a:extLst>
              </a:blip>
              <a:srcRect l="125" t="12332" r="-125" b="17947"/>
              <a:stretch/>
            </p:blipFill>
            <p:spPr>
              <a:xfrm>
                <a:off x="3135900" y="1685155"/>
                <a:ext cx="7286228" cy="5079983"/>
              </a:xfrm>
              <a:prstGeom prst="rect">
                <a:avLst/>
              </a:prstGeom>
            </p:spPr>
          </p:pic>
          <p:sp>
            <p:nvSpPr>
              <p:cNvPr id="16" name="Rectangle 43">
                <a:extLst>
                  <a:ext uri="{FF2B5EF4-FFF2-40B4-BE49-F238E27FC236}">
                    <a16:creationId xmlns:a16="http://schemas.microsoft.com/office/drawing/2014/main" id="{464D7994-9B0D-DD5E-5BB6-60C5CB4CC432}"/>
                  </a:ext>
                </a:extLst>
              </p:cNvPr>
              <p:cNvSpPr/>
              <p:nvPr/>
            </p:nvSpPr>
            <p:spPr>
              <a:xfrm>
                <a:off x="3739941" y="1954059"/>
                <a:ext cx="6110443" cy="346046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000"/>
                  <a:t>  </a:t>
                </a:r>
              </a:p>
            </p:txBody>
          </p:sp>
        </p:grpSp>
        <p:pic>
          <p:nvPicPr>
            <p:cNvPr id="17" name="Picture 15">
              <a:extLst>
                <a:ext uri="{FF2B5EF4-FFF2-40B4-BE49-F238E27FC236}">
                  <a16:creationId xmlns:a16="http://schemas.microsoft.com/office/drawing/2014/main" id="{045C3EF1-1434-EA47-B15E-A92857B0AE35}"/>
                </a:ext>
              </a:extLst>
            </p:cNvPr>
            <p:cNvPicPr>
              <a:picLocks noChangeAspect="1"/>
            </p:cNvPicPr>
            <p:nvPr/>
          </p:nvPicPr>
          <p:blipFill>
            <a:blip r:embed="rId5"/>
            <a:stretch>
              <a:fillRect/>
            </a:stretch>
          </p:blipFill>
          <p:spPr>
            <a:xfrm>
              <a:off x="6553719" y="2910114"/>
              <a:ext cx="4980932" cy="2747738"/>
            </a:xfrm>
            <a:prstGeom prst="rect">
              <a:avLst/>
            </a:prstGeom>
          </p:spPr>
        </p:pic>
      </p:grpSp>
      <p:grpSp>
        <p:nvGrpSpPr>
          <p:cNvPr id="10" name="Group 1">
            <a:extLst>
              <a:ext uri="{FF2B5EF4-FFF2-40B4-BE49-F238E27FC236}">
                <a16:creationId xmlns:a16="http://schemas.microsoft.com/office/drawing/2014/main" id="{2482F948-763B-A721-6DEF-97BE934975D7}"/>
              </a:ext>
            </a:extLst>
          </p:cNvPr>
          <p:cNvGrpSpPr/>
          <p:nvPr/>
        </p:nvGrpSpPr>
        <p:grpSpPr>
          <a:xfrm>
            <a:off x="250823" y="289004"/>
            <a:ext cx="9724302" cy="320056"/>
            <a:chOff x="250823" y="289004"/>
            <a:chExt cx="9724302" cy="320056"/>
          </a:xfrm>
        </p:grpSpPr>
        <p:sp>
          <p:nvSpPr>
            <p:cNvPr id="11" name="Rounded Rectangle 5">
              <a:extLst>
                <a:ext uri="{FF2B5EF4-FFF2-40B4-BE49-F238E27FC236}">
                  <a16:creationId xmlns:a16="http://schemas.microsoft.com/office/drawing/2014/main" id="{C8DD4E21-0EDB-FB41-1F37-79A2D14BC10B}"/>
                </a:ext>
              </a:extLst>
            </p:cNvPr>
            <p:cNvSpPr/>
            <p:nvPr/>
          </p:nvSpPr>
          <p:spPr>
            <a:xfrm>
              <a:off x="250823" y="289004"/>
              <a:ext cx="1620000" cy="32005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chemeClr val="accent5"/>
                  </a:solidFill>
                </a:rPr>
                <a:t>Portfolioebene</a:t>
              </a:r>
            </a:p>
          </p:txBody>
        </p:sp>
        <p:sp>
          <p:nvSpPr>
            <p:cNvPr id="19" name="Rounded Rectangle 6">
              <a:extLst>
                <a:ext uri="{FF2B5EF4-FFF2-40B4-BE49-F238E27FC236}">
                  <a16:creationId xmlns:a16="http://schemas.microsoft.com/office/drawing/2014/main" id="{3D62E45D-4F8B-2620-09A6-BC9161681AD2}"/>
                </a:ext>
              </a:extLst>
            </p:cNvPr>
            <p:cNvSpPr/>
            <p:nvPr/>
          </p:nvSpPr>
          <p:spPr>
            <a:xfrm>
              <a:off x="1873116" y="289004"/>
              <a:ext cx="1620000" cy="320056"/>
            </a:xfrm>
            <a:prstGeom prst="roundRect">
              <a:avLst>
                <a:gd name="adj" fmla="val 50000"/>
              </a:avLst>
            </a:prstGeom>
            <a:solidFill>
              <a:srgbClr val="DDEAF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Identifikation</a:t>
              </a:r>
            </a:p>
          </p:txBody>
        </p:sp>
        <p:sp>
          <p:nvSpPr>
            <p:cNvPr id="20" name="Rounded Rectangle 11">
              <a:extLst>
                <a:ext uri="{FF2B5EF4-FFF2-40B4-BE49-F238E27FC236}">
                  <a16:creationId xmlns:a16="http://schemas.microsoft.com/office/drawing/2014/main" id="{FD463E04-56F4-71EF-E9C6-B722574A5ED8}"/>
                </a:ext>
              </a:extLst>
            </p:cNvPr>
            <p:cNvSpPr/>
            <p:nvPr/>
          </p:nvSpPr>
          <p:spPr>
            <a:xfrm>
              <a:off x="3488837" y="289004"/>
              <a:ext cx="1620000" cy="320056"/>
            </a:xfrm>
            <a:prstGeom prst="roundRect">
              <a:avLst>
                <a:gd name="adj" fmla="val 50000"/>
              </a:avLst>
            </a:prstGeom>
            <a:solidFill>
              <a:srgbClr val="DDEAF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Priorisierung</a:t>
              </a:r>
            </a:p>
          </p:txBody>
        </p:sp>
        <p:sp>
          <p:nvSpPr>
            <p:cNvPr id="21" name="Rounded Rectangle 13">
              <a:extLst>
                <a:ext uri="{FF2B5EF4-FFF2-40B4-BE49-F238E27FC236}">
                  <a16:creationId xmlns:a16="http://schemas.microsoft.com/office/drawing/2014/main" id="{33B739DF-CAB0-0303-B04A-DDD37E86591F}"/>
                </a:ext>
              </a:extLst>
            </p:cNvPr>
            <p:cNvSpPr/>
            <p:nvPr/>
          </p:nvSpPr>
          <p:spPr>
            <a:xfrm>
              <a:off x="5113770"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rgbClr val="2167AE"/>
                  </a:solidFill>
                </a:rPr>
                <a:t>Standortebene</a:t>
              </a:r>
            </a:p>
          </p:txBody>
        </p:sp>
        <p:sp>
          <p:nvSpPr>
            <p:cNvPr id="22" name="Rounded Rectangle 17">
              <a:extLst>
                <a:ext uri="{FF2B5EF4-FFF2-40B4-BE49-F238E27FC236}">
                  <a16:creationId xmlns:a16="http://schemas.microsoft.com/office/drawing/2014/main" id="{EA2AE9EB-D766-F8CB-D949-CE21420A98B0}"/>
                </a:ext>
              </a:extLst>
            </p:cNvPr>
            <p:cNvSpPr/>
            <p:nvPr/>
          </p:nvSpPr>
          <p:spPr>
            <a:xfrm>
              <a:off x="6732879"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Quantifizierung</a:t>
              </a:r>
            </a:p>
          </p:txBody>
        </p:sp>
        <p:sp>
          <p:nvSpPr>
            <p:cNvPr id="23" name="Rounded Rectangle 18">
              <a:extLst>
                <a:ext uri="{FF2B5EF4-FFF2-40B4-BE49-F238E27FC236}">
                  <a16:creationId xmlns:a16="http://schemas.microsoft.com/office/drawing/2014/main" id="{1C28799A-4E73-656F-B831-435FFB01CC4C}"/>
                </a:ext>
              </a:extLst>
            </p:cNvPr>
            <p:cNvSpPr/>
            <p:nvPr/>
          </p:nvSpPr>
          <p:spPr>
            <a:xfrm>
              <a:off x="8355125"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Anpassung</a:t>
              </a:r>
            </a:p>
          </p:txBody>
        </p:sp>
      </p:grpSp>
      <p:sp>
        <p:nvSpPr>
          <p:cNvPr id="2" name="Foliennummernplatzhalter 1">
            <a:extLst>
              <a:ext uri="{FF2B5EF4-FFF2-40B4-BE49-F238E27FC236}">
                <a16:creationId xmlns:a16="http://schemas.microsoft.com/office/drawing/2014/main" id="{8E17D1DF-4785-BD10-CC56-37757B75178B}"/>
              </a:ext>
            </a:extLst>
          </p:cNvPr>
          <p:cNvSpPr>
            <a:spLocks noGrp="1"/>
          </p:cNvSpPr>
          <p:nvPr>
            <p:ph type="sldNum" sz="quarter" idx="16"/>
          </p:nvPr>
        </p:nvSpPr>
        <p:spPr>
          <a:xfrm>
            <a:off x="10914740" y="6512519"/>
            <a:ext cx="359953" cy="211397"/>
          </a:xfrm>
        </p:spPr>
        <p:txBody>
          <a:bodyPr/>
          <a:lstStyle/>
          <a:p>
            <a:fld id="{389075F7-7510-4B87-94F8-2C8610BEE4CA}" type="slidenum">
              <a:rPr lang="en-US" smtClean="0"/>
              <a:pPr/>
              <a:t>10</a:t>
            </a:fld>
            <a:endParaRPr lang="en-US"/>
          </a:p>
        </p:txBody>
      </p:sp>
      <p:sp>
        <p:nvSpPr>
          <p:cNvPr id="3" name="Rounded Rectangle 6">
            <a:extLst>
              <a:ext uri="{FF2B5EF4-FFF2-40B4-BE49-F238E27FC236}">
                <a16:creationId xmlns:a16="http://schemas.microsoft.com/office/drawing/2014/main" id="{F5622007-4EA7-031F-9BAD-3EC919A83F62}"/>
              </a:ext>
            </a:extLst>
          </p:cNvPr>
          <p:cNvSpPr/>
          <p:nvPr/>
        </p:nvSpPr>
        <p:spPr>
          <a:xfrm>
            <a:off x="1870109" y="289004"/>
            <a:ext cx="1620000" cy="32005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5"/>
                </a:solidFill>
              </a:rPr>
              <a:t>Identifikation</a:t>
            </a:r>
          </a:p>
        </p:txBody>
      </p:sp>
    </p:spTree>
    <p:extLst>
      <p:ext uri="{BB962C8B-B14F-4D97-AF65-F5344CB8AC3E}">
        <p14:creationId xmlns:p14="http://schemas.microsoft.com/office/powerpoint/2010/main" val="1440172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83663-31CB-9638-1F78-A965431B37BC}"/>
            </a:ext>
          </a:extLst>
        </p:cNvPr>
        <p:cNvGrpSpPr/>
        <p:nvPr/>
      </p:nvGrpSpPr>
      <p:grpSpPr>
        <a:xfrm>
          <a:off x="0" y="0"/>
          <a:ext cx="0" cy="0"/>
          <a:chOff x="0" y="0"/>
          <a:chExt cx="0" cy="0"/>
        </a:xfrm>
      </p:grpSpPr>
      <p:sp>
        <p:nvSpPr>
          <p:cNvPr id="7" name="Freeform 8">
            <a:extLst>
              <a:ext uri="{FF2B5EF4-FFF2-40B4-BE49-F238E27FC236}">
                <a16:creationId xmlns:a16="http://schemas.microsoft.com/office/drawing/2014/main" id="{899C9A86-7A09-2CF2-DBA5-893C5E5216E6}"/>
              </a:ext>
            </a:extLst>
          </p:cNvPr>
          <p:cNvSpPr/>
          <p:nvPr/>
        </p:nvSpPr>
        <p:spPr>
          <a:xfrm>
            <a:off x="5688250" y="1143525"/>
            <a:ext cx="6535548" cy="5714475"/>
          </a:xfrm>
          <a:custGeom>
            <a:avLst/>
            <a:gdLst>
              <a:gd name="connsiteX0" fmla="*/ 4097852 w 6535548"/>
              <a:gd name="connsiteY0" fmla="*/ 0 h 5714475"/>
              <a:gd name="connsiteX1" fmla="*/ 6388998 w 6535548"/>
              <a:gd name="connsiteY1" fmla="*/ 699849 h 5714475"/>
              <a:gd name="connsiteX2" fmla="*/ 6535548 w 6535548"/>
              <a:gd name="connsiteY2" fmla="*/ 809436 h 5714475"/>
              <a:gd name="connsiteX3" fmla="*/ 6535548 w 6535548"/>
              <a:gd name="connsiteY3" fmla="*/ 5714475 h 5714475"/>
              <a:gd name="connsiteX4" fmla="*/ 331774 w 6535548"/>
              <a:gd name="connsiteY4" fmla="*/ 5714475 h 5714475"/>
              <a:gd name="connsiteX5" fmla="*/ 322030 w 6535548"/>
              <a:gd name="connsiteY5" fmla="*/ 5692921 h 5714475"/>
              <a:gd name="connsiteX6" fmla="*/ 0 w 6535548"/>
              <a:gd name="connsiteY6" fmla="*/ 4097852 h 5714475"/>
              <a:gd name="connsiteX7" fmla="*/ 4097852 w 6535548"/>
              <a:gd name="connsiteY7" fmla="*/ 0 h 57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5548" h="5714475">
                <a:moveTo>
                  <a:pt x="4097852" y="0"/>
                </a:moveTo>
                <a:cubicBezTo>
                  <a:pt x="4946544" y="0"/>
                  <a:pt x="5734978" y="258000"/>
                  <a:pt x="6388998" y="699849"/>
                </a:cubicBezTo>
                <a:lnTo>
                  <a:pt x="6535548" y="809436"/>
                </a:lnTo>
                <a:lnTo>
                  <a:pt x="6535548" y="5714475"/>
                </a:lnTo>
                <a:lnTo>
                  <a:pt x="331774" y="5714475"/>
                </a:lnTo>
                <a:lnTo>
                  <a:pt x="322030" y="5692921"/>
                </a:lnTo>
                <a:cubicBezTo>
                  <a:pt x="114667" y="5202661"/>
                  <a:pt x="0" y="4663647"/>
                  <a:pt x="0" y="4097852"/>
                </a:cubicBezTo>
                <a:cubicBezTo>
                  <a:pt x="0" y="1834671"/>
                  <a:pt x="1834671" y="0"/>
                  <a:pt x="4097852" y="0"/>
                </a:cubicBez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p>
            <a:pPr algn="ctr"/>
            <a:endParaRPr lang="de-DE" sz="1000"/>
          </a:p>
        </p:txBody>
      </p:sp>
      <p:sp>
        <p:nvSpPr>
          <p:cNvPr id="62" name="Rectangle 61">
            <a:extLst>
              <a:ext uri="{FF2B5EF4-FFF2-40B4-BE49-F238E27FC236}">
                <a16:creationId xmlns:a16="http://schemas.microsoft.com/office/drawing/2014/main" id="{03961DE3-4BE2-D8C0-07E1-E687DBF9CE63}"/>
              </a:ext>
            </a:extLst>
          </p:cNvPr>
          <p:cNvSpPr/>
          <p:nvPr/>
        </p:nvSpPr>
        <p:spPr>
          <a:xfrm>
            <a:off x="250825" y="1411846"/>
            <a:ext cx="5664945" cy="4568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360000" bIns="108000" rtlCol="0" anchor="t"/>
          <a:lstStyle/>
          <a:p>
            <a:pPr marL="88900">
              <a:spcBef>
                <a:spcPts val="600"/>
              </a:spcBef>
              <a:spcAft>
                <a:spcPts val="600"/>
              </a:spcAft>
            </a:pPr>
            <a:r>
              <a:rPr lang="de-DE" sz="1400" b="1">
                <a:solidFill>
                  <a:srgbClr val="2167AE"/>
                </a:solidFill>
                <a:latin typeface="+mj-lt"/>
              </a:rPr>
              <a:t>Individuelles Ranking der Klimarisiken von Standorten</a:t>
            </a:r>
          </a:p>
          <a:p>
            <a:pPr marL="88900" lvl="1">
              <a:spcBef>
                <a:spcPts val="600"/>
              </a:spcBef>
            </a:pPr>
            <a:r>
              <a:rPr lang="de-DE" sz="1400">
                <a:solidFill>
                  <a:srgbClr val="2267AF"/>
                </a:solidFill>
              </a:rPr>
              <a:t>Die Methodik des Rankings kann an die Bedürfnisse des Kunden angepasst werden und zusätzliche Parameter enthalten.</a:t>
            </a:r>
          </a:p>
        </p:txBody>
      </p:sp>
      <p:sp>
        <p:nvSpPr>
          <p:cNvPr id="58" name="TextBox 57">
            <a:extLst>
              <a:ext uri="{FF2B5EF4-FFF2-40B4-BE49-F238E27FC236}">
                <a16:creationId xmlns:a16="http://schemas.microsoft.com/office/drawing/2014/main" id="{B10F0978-A8D9-42EC-7BDD-B30FB85C1E90}"/>
              </a:ext>
            </a:extLst>
          </p:cNvPr>
          <p:cNvSpPr txBox="1"/>
          <p:nvPr/>
        </p:nvSpPr>
        <p:spPr>
          <a:xfrm>
            <a:off x="328791" y="832387"/>
            <a:ext cx="8307287" cy="461665"/>
          </a:xfrm>
          <a:prstGeom prst="rect">
            <a:avLst/>
          </a:prstGeom>
          <a:noFill/>
        </p:spPr>
        <p:txBody>
          <a:bodyPr wrap="square">
            <a:spAutoFit/>
          </a:bodyPr>
          <a:lstStyle/>
          <a:p>
            <a:r>
              <a:rPr lang="de-DE" sz="2400">
                <a:solidFill>
                  <a:schemeClr val="accent1"/>
                </a:solidFill>
                <a:latin typeface="Zurich Sans Light" panose="02000000000000000000" pitchFamily="2" charset="0"/>
              </a:rPr>
              <a:t>Maßgeschneiderte Ranking-Methodik</a:t>
            </a:r>
          </a:p>
        </p:txBody>
      </p:sp>
      <p:sp>
        <p:nvSpPr>
          <p:cNvPr id="30" name="TextBox 29">
            <a:extLst>
              <a:ext uri="{FF2B5EF4-FFF2-40B4-BE49-F238E27FC236}">
                <a16:creationId xmlns:a16="http://schemas.microsoft.com/office/drawing/2014/main" id="{69BF8947-8063-65DB-AEFB-7FA89B92A64F}"/>
              </a:ext>
            </a:extLst>
          </p:cNvPr>
          <p:cNvSpPr txBox="1"/>
          <p:nvPr/>
        </p:nvSpPr>
        <p:spPr>
          <a:xfrm>
            <a:off x="328791" y="2413253"/>
            <a:ext cx="4942546" cy="2372545"/>
          </a:xfrm>
          <a:prstGeom prst="rect">
            <a:avLst/>
          </a:prstGeom>
          <a:noFill/>
        </p:spPr>
        <p:txBody>
          <a:bodyPr wrap="square" lIns="108000" tIns="108000" rIns="108000" bIns="108000" numCol="2" spcCol="180000" rtlCol="0">
            <a:spAutoFit/>
          </a:bodyPr>
          <a:lstStyle/>
          <a:p>
            <a:pPr marL="0" marR="0" lvl="0" indent="0" algn="l" defTabSz="914400" rtl="0" eaLnBrk="1" fontAlgn="auto" latinLnBrk="0" hangingPunct="1">
              <a:spcBef>
                <a:spcPts val="0"/>
              </a:spcBef>
              <a:spcAft>
                <a:spcPts val="200"/>
              </a:spcAft>
              <a:buClrTx/>
              <a:buSzTx/>
              <a:buFontTx/>
              <a:buNone/>
              <a:tabLst/>
              <a:defRPr/>
            </a:pPr>
            <a:endParaRPr kumimoji="0" lang="de-DE" sz="1000" b="1" i="0" u="none" strike="noStrike" kern="1200" cap="none" spc="0" normalizeH="0" baseline="0" noProof="0">
              <a:ln>
                <a:noFill/>
              </a:ln>
              <a:solidFill>
                <a:srgbClr val="2167AE"/>
              </a:solidFill>
              <a:effectLst/>
              <a:uLnTx/>
              <a:uFillTx/>
              <a:latin typeface="+mj-lt"/>
              <a:ea typeface="+mn-ea"/>
              <a:cs typeface="+mn-cs"/>
            </a:endParaRPr>
          </a:p>
          <a:p>
            <a:pPr marL="0" marR="0" lvl="0" indent="0" algn="l" defTabSz="914400" rtl="0" eaLnBrk="1" fontAlgn="auto" latinLnBrk="0" hangingPunct="1">
              <a:spcBef>
                <a:spcPts val="0"/>
              </a:spcBef>
              <a:spcAft>
                <a:spcPts val="200"/>
              </a:spcAft>
              <a:buClrTx/>
              <a:buSzTx/>
              <a:buFontTx/>
              <a:buNone/>
              <a:tabLst/>
              <a:defRPr/>
            </a:pPr>
            <a:endParaRPr lang="de-DE" sz="1000" b="1">
              <a:solidFill>
                <a:srgbClr val="2167AE"/>
              </a:solidFill>
              <a:latin typeface="+mj-lt"/>
            </a:endParaRPr>
          </a:p>
          <a:p>
            <a:pPr marL="0" marR="0" lvl="0" indent="0" algn="l" defTabSz="914400" rtl="0" eaLnBrk="1" fontAlgn="auto" latinLnBrk="0" hangingPunct="1">
              <a:spcBef>
                <a:spcPts val="0"/>
              </a:spcBef>
              <a:spcAft>
                <a:spcPts val="200"/>
              </a:spcAft>
              <a:buClrTx/>
              <a:buSzTx/>
              <a:buFontTx/>
              <a:buNone/>
              <a:tabLst/>
              <a:defRPr/>
            </a:pPr>
            <a:endParaRPr kumimoji="0" lang="de-DE" sz="1000" b="1" i="0" u="none" strike="noStrike" kern="1200" cap="none" spc="0" normalizeH="0" baseline="0" noProof="0">
              <a:ln>
                <a:noFill/>
              </a:ln>
              <a:solidFill>
                <a:srgbClr val="2167AE"/>
              </a:solidFill>
              <a:effectLst/>
              <a:uLnTx/>
              <a:uFillTx/>
              <a:latin typeface="+mj-lt"/>
              <a:ea typeface="+mn-ea"/>
              <a:cs typeface="+mn-cs"/>
            </a:endParaRPr>
          </a:p>
          <a:p>
            <a:pPr marL="0" marR="0" lvl="0" indent="0" algn="l" defTabSz="914400" rtl="0" eaLnBrk="1" fontAlgn="auto" latinLnBrk="0" hangingPunct="1">
              <a:spcBef>
                <a:spcPts val="0"/>
              </a:spcBef>
              <a:spcAft>
                <a:spcPts val="200"/>
              </a:spcAft>
              <a:buClrTx/>
              <a:buSzTx/>
              <a:buFontTx/>
              <a:buNone/>
              <a:tabLst/>
              <a:defRPr/>
            </a:pPr>
            <a:endParaRPr lang="de-DE" sz="1000" b="1">
              <a:solidFill>
                <a:srgbClr val="2167AE"/>
              </a:solidFill>
              <a:latin typeface="+mj-lt"/>
            </a:endParaRPr>
          </a:p>
          <a:p>
            <a:pPr marL="0" marR="0" lvl="0" indent="0" algn="l" defTabSz="914400" rtl="0" eaLnBrk="1" fontAlgn="auto" latinLnBrk="0" hangingPunct="1">
              <a:spcBef>
                <a:spcPts val="0"/>
              </a:spcBef>
              <a:spcAft>
                <a:spcPts val="200"/>
              </a:spcAft>
              <a:buClrTx/>
              <a:buSzTx/>
              <a:buFontTx/>
              <a:buNone/>
              <a:tabLst/>
              <a:defRPr/>
            </a:pPr>
            <a:endParaRPr kumimoji="0" lang="de-DE" sz="1000" b="1" i="0" u="none" strike="noStrike" kern="1200" cap="none" spc="0" normalizeH="0" baseline="0" noProof="0">
              <a:ln>
                <a:noFill/>
              </a:ln>
              <a:solidFill>
                <a:srgbClr val="2167AE"/>
              </a:solidFill>
              <a:effectLst/>
              <a:uLnTx/>
              <a:uFillTx/>
              <a:latin typeface="+mj-lt"/>
              <a:ea typeface="+mn-ea"/>
              <a:cs typeface="+mn-cs"/>
            </a:endParaRPr>
          </a:p>
          <a:p>
            <a:pPr marL="0" marR="0" lvl="0" indent="0" algn="l" defTabSz="914400" rtl="0" eaLnBrk="1" fontAlgn="auto" latinLnBrk="0" hangingPunct="1">
              <a:spcBef>
                <a:spcPts val="0"/>
              </a:spcBef>
              <a:spcAft>
                <a:spcPts val="200"/>
              </a:spcAft>
              <a:buClrTx/>
              <a:buSzTx/>
              <a:buFontTx/>
              <a:buNone/>
              <a:tabLst/>
              <a:defRPr/>
            </a:pPr>
            <a:endParaRPr lang="de-DE" sz="1000" b="1">
              <a:solidFill>
                <a:srgbClr val="2167AE"/>
              </a:solidFill>
              <a:latin typeface="+mj-lt"/>
            </a:endParaRPr>
          </a:p>
          <a:p>
            <a:pPr marL="0" marR="0" lvl="0" indent="0" algn="l" defTabSz="914400" rtl="0" eaLnBrk="1" fontAlgn="auto" latinLnBrk="0" hangingPunct="1">
              <a:spcBef>
                <a:spcPts val="0"/>
              </a:spcBef>
              <a:spcAft>
                <a:spcPts val="200"/>
              </a:spcAft>
              <a:buClrTx/>
              <a:buSzTx/>
              <a:buFontTx/>
              <a:buNone/>
              <a:tabLst/>
              <a:defRPr/>
            </a:pPr>
            <a:endParaRPr kumimoji="0" lang="de-DE" sz="1000" b="1" i="0" u="none" strike="noStrike" kern="1200" cap="none" spc="0" normalizeH="0" baseline="0" noProof="0">
              <a:ln>
                <a:noFill/>
              </a:ln>
              <a:solidFill>
                <a:srgbClr val="2167AE"/>
              </a:solidFill>
              <a:effectLst/>
              <a:uLnTx/>
              <a:uFillTx/>
              <a:latin typeface="+mj-lt"/>
              <a:ea typeface="+mn-ea"/>
              <a:cs typeface="+mn-cs"/>
            </a:endParaRPr>
          </a:p>
          <a:p>
            <a:pPr marL="0" marR="0" lvl="0" indent="0" algn="l" defTabSz="914400" rtl="0" eaLnBrk="1" fontAlgn="auto" latinLnBrk="0" hangingPunct="1">
              <a:spcBef>
                <a:spcPts val="0"/>
              </a:spcBef>
              <a:spcAft>
                <a:spcPts val="200"/>
              </a:spcAft>
              <a:buClrTx/>
              <a:buSzTx/>
              <a:buFontTx/>
              <a:buNone/>
              <a:tabLst/>
              <a:defRPr/>
            </a:pPr>
            <a:endParaRPr lang="de-DE" sz="1000" b="1">
              <a:solidFill>
                <a:srgbClr val="2167AE"/>
              </a:solidFill>
              <a:latin typeface="+mj-lt"/>
            </a:endParaRPr>
          </a:p>
          <a:p>
            <a:pPr marL="0" marR="0" lvl="0" indent="0" algn="l" defTabSz="914400" rtl="0" eaLnBrk="1" fontAlgn="auto" latinLnBrk="0" hangingPunct="1">
              <a:spcBef>
                <a:spcPts val="0"/>
              </a:spcBef>
              <a:spcAft>
                <a:spcPts val="200"/>
              </a:spcAft>
              <a:buClrTx/>
              <a:buSzTx/>
              <a:buFontTx/>
              <a:buNone/>
              <a:tabLst/>
              <a:defRPr/>
            </a:pPr>
            <a:endParaRPr kumimoji="0" lang="de-DE" sz="1000" b="1" i="0" u="none" strike="noStrike" kern="1200" cap="none" spc="0" normalizeH="0" baseline="0" noProof="0">
              <a:ln>
                <a:noFill/>
              </a:ln>
              <a:solidFill>
                <a:srgbClr val="2167AE"/>
              </a:solidFill>
              <a:effectLst/>
              <a:uLnTx/>
              <a:uFillTx/>
              <a:latin typeface="+mj-lt"/>
              <a:ea typeface="+mn-ea"/>
              <a:cs typeface="+mn-cs"/>
            </a:endParaRPr>
          </a:p>
          <a:p>
            <a:pPr marL="0" marR="0" lvl="0" indent="0" algn="l" defTabSz="914400" rtl="0" eaLnBrk="1" fontAlgn="auto" latinLnBrk="0" hangingPunct="1">
              <a:spcBef>
                <a:spcPts val="0"/>
              </a:spcBef>
              <a:spcAft>
                <a:spcPts val="200"/>
              </a:spcAft>
              <a:buClrTx/>
              <a:buSzTx/>
              <a:buFontTx/>
              <a:buNone/>
              <a:tabLst/>
              <a:defRPr/>
            </a:pPr>
            <a:endParaRPr lang="de-DE" sz="1000" b="1">
              <a:solidFill>
                <a:srgbClr val="2167AE"/>
              </a:solidFill>
              <a:latin typeface="+mj-lt"/>
            </a:endParaRPr>
          </a:p>
          <a:p>
            <a:pPr marL="0" marR="0" lvl="0" indent="0" algn="l" defTabSz="914400" rtl="0" eaLnBrk="1" fontAlgn="auto" latinLnBrk="0" hangingPunct="1">
              <a:spcBef>
                <a:spcPts val="0"/>
              </a:spcBef>
              <a:spcAft>
                <a:spcPts val="200"/>
              </a:spcAft>
              <a:buClrTx/>
              <a:buSzTx/>
              <a:buFontTx/>
              <a:buNone/>
              <a:tabLst/>
              <a:defRPr/>
            </a:pPr>
            <a:endParaRPr kumimoji="0" lang="de-DE" sz="1000" b="1" i="0" u="none" strike="noStrike" kern="1200" cap="none" spc="0" normalizeH="0" baseline="0" noProof="0">
              <a:ln>
                <a:noFill/>
              </a:ln>
              <a:solidFill>
                <a:srgbClr val="2167AE"/>
              </a:solidFill>
              <a:effectLst/>
              <a:uLnTx/>
              <a:uFillTx/>
              <a:latin typeface="+mj-lt"/>
              <a:ea typeface="+mn-ea"/>
              <a:cs typeface="+mn-cs"/>
            </a:endParaRPr>
          </a:p>
          <a:p>
            <a:pPr marL="0" marR="0" lvl="0" indent="0" algn="l" defTabSz="914400" rtl="0" eaLnBrk="1" fontAlgn="auto" latinLnBrk="0" hangingPunct="1">
              <a:spcBef>
                <a:spcPts val="0"/>
              </a:spcBef>
              <a:spcAft>
                <a:spcPts val="200"/>
              </a:spcAft>
              <a:buClrTx/>
              <a:buSzTx/>
              <a:buFontTx/>
              <a:buNone/>
              <a:tabLst/>
              <a:defRPr/>
            </a:pPr>
            <a:endParaRPr lang="de-DE" sz="1000" b="1" noProof="0">
              <a:solidFill>
                <a:srgbClr val="2167AE"/>
              </a:solidFill>
              <a:latin typeface="+mj-lt"/>
            </a:endParaRPr>
          </a:p>
        </p:txBody>
      </p:sp>
      <p:sp>
        <p:nvSpPr>
          <p:cNvPr id="16" name="TextBox 15">
            <a:extLst>
              <a:ext uri="{FF2B5EF4-FFF2-40B4-BE49-F238E27FC236}">
                <a16:creationId xmlns:a16="http://schemas.microsoft.com/office/drawing/2014/main" id="{720F70AC-8066-40B2-14AD-8596B7938309}"/>
              </a:ext>
            </a:extLst>
          </p:cNvPr>
          <p:cNvSpPr txBox="1">
            <a:spLocks noGrp="1" noRot="1" noMove="1" noResize="1" noEditPoints="1" noAdjustHandles="1" noChangeArrowheads="1" noChangeShapeType="1"/>
          </p:cNvSpPr>
          <p:nvPr/>
        </p:nvSpPr>
        <p:spPr>
          <a:xfrm>
            <a:off x="11158232" y="6548969"/>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lvl="0"/>
            <a:r>
              <a:rPr lang="de-DE" sz="900"/>
              <a:t>© </a:t>
            </a:r>
            <a:r>
              <a:rPr lang="de-DE" sz="900" err="1"/>
              <a:t>Zurich</a:t>
            </a:r>
            <a:endParaRPr lang="de-DE" sz="900"/>
          </a:p>
        </p:txBody>
      </p:sp>
      <p:sp>
        <p:nvSpPr>
          <p:cNvPr id="20" name="Slide Number Placeholder 4">
            <a:extLst>
              <a:ext uri="{FF2B5EF4-FFF2-40B4-BE49-F238E27FC236}">
                <a16:creationId xmlns:a16="http://schemas.microsoft.com/office/drawing/2014/main" id="{38CB42E6-5978-E381-718C-92E5F8ADF36E}"/>
              </a:ext>
            </a:extLst>
          </p:cNvPr>
          <p:cNvSpPr txBox="1">
            <a:spLocks/>
          </p:cNvSpPr>
          <p:nvPr/>
        </p:nvSpPr>
        <p:spPr>
          <a:xfrm>
            <a:off x="10826832" y="6501225"/>
            <a:ext cx="551043" cy="18624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286"/>
            <a:endParaRPr lang="de-DE" sz="900">
              <a:solidFill>
                <a:srgbClr val="2167AE"/>
              </a:solidFill>
              <a:latin typeface="Zurich Sans Light"/>
              <a:cs typeface="Arial" panose="020B0604020202020204" pitchFamily="34" charset="0"/>
            </a:endParaRPr>
          </a:p>
        </p:txBody>
      </p:sp>
      <p:grpSp>
        <p:nvGrpSpPr>
          <p:cNvPr id="5" name="Gruppieren 4">
            <a:extLst>
              <a:ext uri="{FF2B5EF4-FFF2-40B4-BE49-F238E27FC236}">
                <a16:creationId xmlns:a16="http://schemas.microsoft.com/office/drawing/2014/main" id="{2B8AC6B5-CB2E-674E-F605-28651F4B7373}"/>
              </a:ext>
            </a:extLst>
          </p:cNvPr>
          <p:cNvGrpSpPr/>
          <p:nvPr/>
        </p:nvGrpSpPr>
        <p:grpSpPr>
          <a:xfrm>
            <a:off x="5060260" y="1737044"/>
            <a:ext cx="7130059" cy="5238750"/>
            <a:chOff x="4852656" y="880870"/>
            <a:chExt cx="7373765" cy="5641322"/>
          </a:xfrm>
        </p:grpSpPr>
        <p:pic>
          <p:nvPicPr>
            <p:cNvPr id="3" name="Picture 16" descr="A computer monitor with a blank screen&#10;&#10;Description automatically generated">
              <a:extLst>
                <a:ext uri="{FF2B5EF4-FFF2-40B4-BE49-F238E27FC236}">
                  <a16:creationId xmlns:a16="http://schemas.microsoft.com/office/drawing/2014/main" id="{67BA3825-37A7-DB6F-5970-7AF4252BB0FE}"/>
                </a:ext>
              </a:extLst>
            </p:cNvPr>
            <p:cNvPicPr>
              <a:picLocks noChangeAspect="1"/>
            </p:cNvPicPr>
            <p:nvPr/>
          </p:nvPicPr>
          <p:blipFill rotWithShape="1">
            <a:blip r:embed="rId3">
              <a:extLst>
                <a:ext uri="{28A0092B-C50C-407E-A947-70E740481C1C}">
                  <a14:useLocalDpi xmlns:a14="http://schemas.microsoft.com/office/drawing/2010/main" val="0"/>
                </a:ext>
              </a:extLst>
            </a:blip>
            <a:srcRect l="266" t="5472" r="-266" b="18021"/>
            <a:stretch/>
          </p:blipFill>
          <p:spPr>
            <a:xfrm>
              <a:off x="4852656" y="880870"/>
              <a:ext cx="7373765" cy="5641322"/>
            </a:xfrm>
            <a:prstGeom prst="rect">
              <a:avLst/>
            </a:prstGeom>
          </p:spPr>
        </p:pic>
        <p:pic>
          <p:nvPicPr>
            <p:cNvPr id="4" name="Picture 18">
              <a:extLst>
                <a:ext uri="{FF2B5EF4-FFF2-40B4-BE49-F238E27FC236}">
                  <a16:creationId xmlns:a16="http://schemas.microsoft.com/office/drawing/2014/main" id="{C25F0536-31E5-3610-844E-E2A9DDAD6FFE}"/>
                </a:ext>
              </a:extLst>
            </p:cNvPr>
            <p:cNvPicPr>
              <a:picLocks noChangeAspect="1"/>
            </p:cNvPicPr>
            <p:nvPr/>
          </p:nvPicPr>
          <p:blipFill>
            <a:blip r:embed="rId4"/>
            <a:stretch>
              <a:fillRect/>
            </a:stretch>
          </p:blipFill>
          <p:spPr>
            <a:xfrm>
              <a:off x="5445905" y="2071696"/>
              <a:ext cx="6187268" cy="3378430"/>
            </a:xfrm>
            <a:prstGeom prst="rect">
              <a:avLst/>
            </a:prstGeom>
          </p:spPr>
        </p:pic>
      </p:grpSp>
      <p:sp>
        <p:nvSpPr>
          <p:cNvPr id="19" name="Textfeld 18">
            <a:extLst>
              <a:ext uri="{FF2B5EF4-FFF2-40B4-BE49-F238E27FC236}">
                <a16:creationId xmlns:a16="http://schemas.microsoft.com/office/drawing/2014/main" id="{0E54FD4E-2A51-B16F-CE2C-E2DAA3325DAB}"/>
              </a:ext>
            </a:extLst>
          </p:cNvPr>
          <p:cNvSpPr txBox="1"/>
          <p:nvPr/>
        </p:nvSpPr>
        <p:spPr>
          <a:xfrm>
            <a:off x="328791" y="4602333"/>
            <a:ext cx="4552949" cy="16876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de-DE" sz="1400" b="1" i="0" u="none" strike="noStrike" kern="1200" cap="none" spc="0" normalizeH="0" baseline="0" noProof="0">
                <a:ln>
                  <a:noFill/>
                </a:ln>
                <a:solidFill>
                  <a:srgbClr val="2167AE"/>
                </a:solidFill>
                <a:effectLst/>
                <a:uLnTx/>
                <a:uFillTx/>
                <a:latin typeface="Zurich Sans Medium"/>
                <a:ea typeface="+mn-ea"/>
                <a:cs typeface="+mn-cs"/>
              </a:rPr>
              <a:t>Die Klimarisiken eines Standortes können nach folgenden Kriterien eingestuft werden:</a:t>
            </a:r>
          </a:p>
          <a:p>
            <a:pPr marL="0" marR="0" lvl="0" indent="0" algn="l" defTabSz="914400" rtl="0" eaLnBrk="1" fontAlgn="auto" latinLnBrk="0" hangingPunct="1">
              <a:lnSpc>
                <a:spcPts val="1400"/>
              </a:lnSpc>
              <a:spcBef>
                <a:spcPts val="0"/>
              </a:spcBef>
              <a:spcAft>
                <a:spcPts val="200"/>
              </a:spcAft>
              <a:buClrTx/>
              <a:buSzTx/>
              <a:buFontTx/>
              <a:buNone/>
              <a:tabLst/>
              <a:defRPr/>
            </a:pPr>
            <a:r>
              <a:rPr kumimoji="0" lang="de-DE" sz="1400" b="0" i="0" u="none" strike="noStrike" kern="1200" cap="none" spc="0" normalizeH="0" baseline="0" noProof="0">
                <a:ln>
                  <a:noFill/>
                </a:ln>
                <a:solidFill>
                  <a:srgbClr val="2167AE"/>
                </a:solidFill>
                <a:effectLst/>
                <a:uLnTx/>
                <a:uFillTx/>
                <a:latin typeface="Zurich Sans Light"/>
                <a:ea typeface="+mn-ea"/>
                <a:cs typeface="+mn-cs"/>
              </a:rPr>
              <a:t>Gefährdungsstufe </a:t>
            </a:r>
            <a:r>
              <a:rPr kumimoji="0" lang="de-DE" sz="1400" b="0" i="0" u="none" strike="noStrike" kern="1200" cap="none" spc="0" normalizeH="0" baseline="0" noProof="0">
                <a:ln>
                  <a:noFill/>
                </a:ln>
                <a:solidFill>
                  <a:srgbClr val="91BFE3"/>
                </a:solidFill>
                <a:effectLst/>
                <a:uLnTx/>
                <a:uFillTx/>
                <a:latin typeface="Zurich Sans Light"/>
                <a:ea typeface="+mn-ea"/>
                <a:cs typeface="+mn-cs"/>
                <a:sym typeface="Symbol" panose="05050102010706020507" pitchFamily="18" charset="2"/>
              </a:rPr>
              <a:t></a:t>
            </a:r>
            <a:r>
              <a:rPr kumimoji="0" lang="de-DE" sz="1400" b="0" i="0" u="none" strike="noStrike" kern="1200" cap="none" spc="0" normalizeH="0" baseline="0" noProof="0">
                <a:ln>
                  <a:noFill/>
                </a:ln>
                <a:solidFill>
                  <a:srgbClr val="2167AE"/>
                </a:solidFill>
                <a:effectLst/>
                <a:uLnTx/>
                <a:uFillTx/>
                <a:latin typeface="Zurich Sans Light"/>
                <a:ea typeface="+mn-ea"/>
                <a:cs typeface="+mn-cs"/>
              </a:rPr>
              <a:t>  Gefährdungsstufe mit Kritikalität (z.B. Gesamtversicherungswert, Anzahl der Mitarbeiter)                                                               </a:t>
            </a:r>
            <a:r>
              <a:rPr kumimoji="0" lang="de-DE" sz="1400" b="0" i="0" u="none" strike="noStrike" kern="1200" cap="none" spc="0" normalizeH="0" baseline="0" noProof="0">
                <a:ln>
                  <a:noFill/>
                </a:ln>
                <a:solidFill>
                  <a:srgbClr val="91BFE3"/>
                </a:solidFill>
                <a:effectLst/>
                <a:uLnTx/>
                <a:uFillTx/>
                <a:latin typeface="Zurich Sans Light"/>
                <a:ea typeface="+mn-ea"/>
                <a:cs typeface="+mn-cs"/>
                <a:sym typeface="Symbol" panose="05050102010706020507" pitchFamily="18" charset="2"/>
              </a:rPr>
              <a:t></a:t>
            </a:r>
            <a:r>
              <a:rPr kumimoji="0" lang="de-DE" sz="1400" b="0" i="0" u="none" strike="noStrike" kern="1200" cap="none" spc="0" normalizeH="0" baseline="0" noProof="0">
                <a:ln>
                  <a:noFill/>
                </a:ln>
                <a:solidFill>
                  <a:srgbClr val="2167AE"/>
                </a:solidFill>
                <a:effectLst/>
                <a:uLnTx/>
                <a:uFillTx/>
                <a:latin typeface="Zurich Sans Light"/>
                <a:ea typeface="+mn-ea"/>
                <a:cs typeface="+mn-cs"/>
              </a:rPr>
              <a:t> Gefahrengewichtung </a:t>
            </a:r>
            <a:r>
              <a:rPr kumimoji="0" lang="de-DE" sz="1400" b="0" i="0" u="none" strike="noStrike" kern="1200" cap="none" spc="0" normalizeH="0" baseline="0" noProof="0">
                <a:ln>
                  <a:noFill/>
                </a:ln>
                <a:solidFill>
                  <a:srgbClr val="91BFE3"/>
                </a:solidFill>
                <a:effectLst/>
                <a:uLnTx/>
                <a:uFillTx/>
                <a:latin typeface="Zurich Sans Light"/>
                <a:ea typeface="+mn-ea"/>
                <a:cs typeface="+mn-cs"/>
                <a:sym typeface="Symbol" panose="05050102010706020507" pitchFamily="18" charset="2"/>
              </a:rPr>
              <a:t> </a:t>
            </a:r>
            <a:r>
              <a:rPr kumimoji="0" lang="de-DE" sz="1400" b="0" i="0" u="none" strike="noStrike" kern="1200" cap="none" spc="0" normalizeH="0" baseline="0" noProof="0">
                <a:ln>
                  <a:noFill/>
                </a:ln>
                <a:solidFill>
                  <a:srgbClr val="2167AE"/>
                </a:solidFill>
                <a:effectLst/>
                <a:uLnTx/>
                <a:uFillTx/>
                <a:latin typeface="Zurich Sans Light"/>
                <a:ea typeface="+mn-ea"/>
                <a:cs typeface="+mn-cs"/>
              </a:rPr>
              <a:t>Integration der Lieferkette </a:t>
            </a:r>
            <a:r>
              <a:rPr kumimoji="0" lang="de-DE" sz="1400" b="0" i="0" u="none" strike="noStrike" kern="1200" cap="none" spc="0" normalizeH="0" baseline="0" noProof="0">
                <a:ln>
                  <a:noFill/>
                </a:ln>
                <a:solidFill>
                  <a:srgbClr val="91BFE3"/>
                </a:solidFill>
                <a:effectLst/>
                <a:uLnTx/>
                <a:uFillTx/>
                <a:latin typeface="Zurich Sans Light"/>
                <a:ea typeface="+mn-ea"/>
                <a:cs typeface="+mn-cs"/>
                <a:sym typeface="Symbol" panose="05050102010706020507" pitchFamily="18" charset="2"/>
              </a:rPr>
              <a:t> </a:t>
            </a:r>
            <a:r>
              <a:rPr kumimoji="0" lang="de-DE" sz="1400" b="0" i="0" u="none" strike="noStrike" kern="1200" cap="none" spc="0" normalizeH="0" baseline="0" noProof="0">
                <a:ln>
                  <a:noFill/>
                </a:ln>
                <a:solidFill>
                  <a:srgbClr val="2167AE"/>
                </a:solidFill>
                <a:effectLst/>
                <a:uLnTx/>
                <a:uFillTx/>
                <a:latin typeface="Zurich Sans Light"/>
                <a:ea typeface="+mn-ea"/>
                <a:cs typeface="+mn-cs"/>
                <a:sym typeface="Symbol" panose="05050102010706020507" pitchFamily="18" charset="2"/>
              </a:rPr>
              <a:t>Integration der Anfälligkeit (risikobasierte Sicht)</a:t>
            </a:r>
            <a:r>
              <a:rPr kumimoji="0" lang="de-DE" sz="1400" b="0" i="0" u="none" strike="noStrike" kern="1200" cap="none" spc="0" normalizeH="0" baseline="0" noProof="0">
                <a:ln>
                  <a:noFill/>
                </a:ln>
                <a:solidFill>
                  <a:srgbClr val="2167AE"/>
                </a:solidFill>
                <a:effectLst/>
                <a:uLnTx/>
                <a:uFillTx/>
                <a:latin typeface="Zurich Sans Light"/>
                <a:ea typeface="+mn-ea"/>
                <a:cs typeface="+mn-cs"/>
              </a:rPr>
              <a:t> </a:t>
            </a:r>
            <a:r>
              <a:rPr kumimoji="0" lang="de-DE" sz="1400" b="0" i="0" u="none" strike="noStrike" kern="1200" cap="none" spc="0" normalizeH="0" baseline="0" noProof="0">
                <a:ln>
                  <a:noFill/>
                </a:ln>
                <a:solidFill>
                  <a:srgbClr val="91BFE3"/>
                </a:solidFill>
                <a:effectLst/>
                <a:uLnTx/>
                <a:uFillTx/>
                <a:latin typeface="Zurich Sans Light"/>
                <a:ea typeface="+mn-ea"/>
                <a:cs typeface="+mn-cs"/>
                <a:sym typeface="Symbol" panose="05050102010706020507" pitchFamily="18" charset="2"/>
              </a:rPr>
              <a:t> </a:t>
            </a:r>
            <a:r>
              <a:rPr kumimoji="0" lang="de-DE" sz="1400" b="0" i="0" u="none" strike="noStrike" kern="1200" cap="none" spc="0" normalizeH="0" baseline="0" noProof="0">
                <a:ln>
                  <a:noFill/>
                </a:ln>
                <a:solidFill>
                  <a:srgbClr val="2167AE"/>
                </a:solidFill>
                <a:effectLst/>
                <a:uLnTx/>
                <a:uFillTx/>
                <a:latin typeface="Zurich Sans Light"/>
                <a:ea typeface="+mn-ea"/>
                <a:cs typeface="+mn-cs"/>
              </a:rPr>
              <a:t>Zusätzliche Metriken (z.B. Betriebskosten)</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de-DE" sz="1400" b="1" i="0" u="none" strike="noStrike" kern="1200" cap="none" spc="0" normalizeH="0" baseline="0" noProof="0">
              <a:ln>
                <a:noFill/>
              </a:ln>
              <a:solidFill>
                <a:srgbClr val="2167AE"/>
              </a:solidFill>
              <a:effectLst/>
              <a:uLnTx/>
              <a:uFillTx/>
              <a:latin typeface="Zurich Sans Medium"/>
              <a:ea typeface="+mn-ea"/>
              <a:cs typeface="+mn-cs"/>
            </a:endParaRPr>
          </a:p>
        </p:txBody>
      </p:sp>
      <p:sp>
        <p:nvSpPr>
          <p:cNvPr id="24" name="Textfeld 23">
            <a:extLst>
              <a:ext uri="{FF2B5EF4-FFF2-40B4-BE49-F238E27FC236}">
                <a16:creationId xmlns:a16="http://schemas.microsoft.com/office/drawing/2014/main" id="{F277C04C-B31E-FCD8-CE87-EBA1F286D69E}"/>
              </a:ext>
            </a:extLst>
          </p:cNvPr>
          <p:cNvSpPr txBox="1"/>
          <p:nvPr/>
        </p:nvSpPr>
        <p:spPr>
          <a:xfrm>
            <a:off x="328791" y="2571758"/>
            <a:ext cx="4785817" cy="186717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de-DE" sz="1400" b="1" i="0" u="none" strike="noStrike" kern="1200" cap="none" spc="0" normalizeH="0" baseline="0" noProof="0">
                <a:ln>
                  <a:noFill/>
                </a:ln>
                <a:solidFill>
                  <a:srgbClr val="2167AE"/>
                </a:solidFill>
                <a:effectLst/>
                <a:uLnTx/>
                <a:uFillTx/>
                <a:latin typeface="Zurich Sans Medium"/>
                <a:ea typeface="+mn-ea"/>
                <a:cs typeface="+mn-cs"/>
              </a:rPr>
              <a:t>Methodik der Einstufu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de-DE" sz="1400" b="0" i="0" u="none" strike="noStrike" kern="1200" cap="none" spc="0" normalizeH="0" baseline="0" noProof="0">
                <a:ln>
                  <a:noFill/>
                </a:ln>
                <a:solidFill>
                  <a:srgbClr val="2167AE"/>
                </a:solidFill>
                <a:effectLst/>
                <a:uLnTx/>
                <a:uFillTx/>
                <a:latin typeface="Zurich Sans Light"/>
                <a:ea typeface="+mn-ea"/>
                <a:cs typeface="+mn-cs"/>
              </a:rPr>
              <a:t>Ein konsolidierter “Total Hazard Score”, der die Anzahl der Naturgefahren widerspiegelt, die jeden Standort potenziell beeinträchtigen kan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de-DE" sz="1400" b="0" i="0" u="none" strike="noStrike" kern="1200" cap="none" spc="0" normalizeH="0" baseline="0" noProof="0">
                <a:ln>
                  <a:noFill/>
                </a:ln>
                <a:solidFill>
                  <a:srgbClr val="2167AE"/>
                </a:solidFill>
                <a:effectLst/>
                <a:uLnTx/>
                <a:uFillTx/>
                <a:latin typeface="Zurich Sans Light"/>
                <a:ea typeface="+mn-ea"/>
                <a:cs typeface="+mn-cs"/>
              </a:rPr>
              <a:t>Einstufung der Standorte von “hohem” bis “niedrigem” Risiko, wobei nach Einstufungen in ersteres eine vertiefte Bewertung der </a:t>
            </a:r>
            <a:r>
              <a:rPr kumimoji="0" lang="de-DE" sz="1400" b="0" i="0" u="none" strike="noStrike" kern="1200" cap="none" spc="0" normalizeH="0" baseline="0" noProof="0" err="1">
                <a:ln>
                  <a:noFill/>
                </a:ln>
                <a:solidFill>
                  <a:srgbClr val="2167AE"/>
                </a:solidFill>
                <a:effectLst/>
                <a:uLnTx/>
                <a:uFillTx/>
                <a:latin typeface="Zurich Sans Light"/>
                <a:ea typeface="+mn-ea"/>
                <a:cs typeface="+mn-cs"/>
              </a:rPr>
              <a:t>Klimaresilienz</a:t>
            </a:r>
            <a:r>
              <a:rPr kumimoji="0" lang="de-DE" sz="1400" b="0" i="0" u="none" strike="noStrike" kern="1200" cap="none" spc="0" normalizeH="0" baseline="0" noProof="0">
                <a:ln>
                  <a:noFill/>
                </a:ln>
                <a:solidFill>
                  <a:srgbClr val="2167AE"/>
                </a:solidFill>
                <a:effectLst/>
                <a:uLnTx/>
                <a:uFillTx/>
                <a:latin typeface="Zurich Sans Light"/>
                <a:ea typeface="+mn-ea"/>
                <a:cs typeface="+mn-cs"/>
              </a:rPr>
              <a:t> empfohlen wird (optional)</a:t>
            </a:r>
          </a:p>
        </p:txBody>
      </p:sp>
      <p:grpSp>
        <p:nvGrpSpPr>
          <p:cNvPr id="23" name="Group 1">
            <a:extLst>
              <a:ext uri="{FF2B5EF4-FFF2-40B4-BE49-F238E27FC236}">
                <a16:creationId xmlns:a16="http://schemas.microsoft.com/office/drawing/2014/main" id="{865DFBB1-3CFF-36A2-DBF4-FFACEE1C48BE}"/>
              </a:ext>
            </a:extLst>
          </p:cNvPr>
          <p:cNvGrpSpPr/>
          <p:nvPr/>
        </p:nvGrpSpPr>
        <p:grpSpPr>
          <a:xfrm>
            <a:off x="252411" y="289004"/>
            <a:ext cx="9724302" cy="320056"/>
            <a:chOff x="250823" y="289004"/>
            <a:chExt cx="9724302" cy="320056"/>
          </a:xfrm>
        </p:grpSpPr>
        <p:sp>
          <p:nvSpPr>
            <p:cNvPr id="25" name="Rounded Rectangle 5">
              <a:extLst>
                <a:ext uri="{FF2B5EF4-FFF2-40B4-BE49-F238E27FC236}">
                  <a16:creationId xmlns:a16="http://schemas.microsoft.com/office/drawing/2014/main" id="{54821C13-5301-7AC1-5A71-85CB631EE49B}"/>
                </a:ext>
              </a:extLst>
            </p:cNvPr>
            <p:cNvSpPr/>
            <p:nvPr/>
          </p:nvSpPr>
          <p:spPr>
            <a:xfrm>
              <a:off x="250823" y="289004"/>
              <a:ext cx="1620000" cy="32005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chemeClr val="accent5"/>
                  </a:solidFill>
                </a:rPr>
                <a:t>Portfolioebene</a:t>
              </a:r>
            </a:p>
          </p:txBody>
        </p:sp>
        <p:sp>
          <p:nvSpPr>
            <p:cNvPr id="26" name="Rounded Rectangle 6">
              <a:extLst>
                <a:ext uri="{FF2B5EF4-FFF2-40B4-BE49-F238E27FC236}">
                  <a16:creationId xmlns:a16="http://schemas.microsoft.com/office/drawing/2014/main" id="{D119037E-83F1-F2AD-9801-D2ABB5FE51A8}"/>
                </a:ext>
              </a:extLst>
            </p:cNvPr>
            <p:cNvSpPr/>
            <p:nvPr/>
          </p:nvSpPr>
          <p:spPr>
            <a:xfrm>
              <a:off x="1873116" y="289004"/>
              <a:ext cx="1620000" cy="320056"/>
            </a:xfrm>
            <a:prstGeom prst="roundRect">
              <a:avLst>
                <a:gd name="adj" fmla="val 50000"/>
              </a:avLst>
            </a:prstGeom>
            <a:solidFill>
              <a:srgbClr val="DDEAF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Identifikation</a:t>
              </a:r>
            </a:p>
          </p:txBody>
        </p:sp>
        <p:sp>
          <p:nvSpPr>
            <p:cNvPr id="27" name="Rounded Rectangle 11">
              <a:extLst>
                <a:ext uri="{FF2B5EF4-FFF2-40B4-BE49-F238E27FC236}">
                  <a16:creationId xmlns:a16="http://schemas.microsoft.com/office/drawing/2014/main" id="{5217965F-70BD-2916-956F-10780B2673AA}"/>
                </a:ext>
              </a:extLst>
            </p:cNvPr>
            <p:cNvSpPr/>
            <p:nvPr/>
          </p:nvSpPr>
          <p:spPr>
            <a:xfrm>
              <a:off x="3492013" y="289004"/>
              <a:ext cx="1620000" cy="32005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5"/>
                  </a:solidFill>
                </a:rPr>
                <a:t>Priorisierung</a:t>
              </a:r>
            </a:p>
          </p:txBody>
        </p:sp>
        <p:sp>
          <p:nvSpPr>
            <p:cNvPr id="28" name="Rounded Rectangle 13">
              <a:extLst>
                <a:ext uri="{FF2B5EF4-FFF2-40B4-BE49-F238E27FC236}">
                  <a16:creationId xmlns:a16="http://schemas.microsoft.com/office/drawing/2014/main" id="{6BFA9125-01BF-5F2D-CB62-59E68F425219}"/>
                </a:ext>
              </a:extLst>
            </p:cNvPr>
            <p:cNvSpPr/>
            <p:nvPr/>
          </p:nvSpPr>
          <p:spPr>
            <a:xfrm>
              <a:off x="5113770"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rgbClr val="2167AE"/>
                  </a:solidFill>
                </a:rPr>
                <a:t>Standortebene</a:t>
              </a:r>
            </a:p>
          </p:txBody>
        </p:sp>
        <p:sp>
          <p:nvSpPr>
            <p:cNvPr id="29" name="Rounded Rectangle 17">
              <a:extLst>
                <a:ext uri="{FF2B5EF4-FFF2-40B4-BE49-F238E27FC236}">
                  <a16:creationId xmlns:a16="http://schemas.microsoft.com/office/drawing/2014/main" id="{A0600512-C656-CFAD-93AA-729B9139BE5F}"/>
                </a:ext>
              </a:extLst>
            </p:cNvPr>
            <p:cNvSpPr/>
            <p:nvPr/>
          </p:nvSpPr>
          <p:spPr>
            <a:xfrm>
              <a:off x="6732879"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Quantifizierung</a:t>
              </a:r>
            </a:p>
          </p:txBody>
        </p:sp>
        <p:sp>
          <p:nvSpPr>
            <p:cNvPr id="31" name="Rounded Rectangle 18">
              <a:extLst>
                <a:ext uri="{FF2B5EF4-FFF2-40B4-BE49-F238E27FC236}">
                  <a16:creationId xmlns:a16="http://schemas.microsoft.com/office/drawing/2014/main" id="{0C981C40-B0FF-53FF-B9DD-781D38F0FADC}"/>
                </a:ext>
              </a:extLst>
            </p:cNvPr>
            <p:cNvSpPr/>
            <p:nvPr/>
          </p:nvSpPr>
          <p:spPr>
            <a:xfrm>
              <a:off x="8355125"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Adaption</a:t>
              </a:r>
            </a:p>
          </p:txBody>
        </p:sp>
      </p:grpSp>
      <p:sp>
        <p:nvSpPr>
          <p:cNvPr id="6" name="Foliennummernplatzhalter 5">
            <a:extLst>
              <a:ext uri="{FF2B5EF4-FFF2-40B4-BE49-F238E27FC236}">
                <a16:creationId xmlns:a16="http://schemas.microsoft.com/office/drawing/2014/main" id="{469B7EDA-B794-FF8C-C2B4-B77E39A58FCB}"/>
              </a:ext>
            </a:extLst>
          </p:cNvPr>
          <p:cNvSpPr>
            <a:spLocks noGrp="1"/>
          </p:cNvSpPr>
          <p:nvPr>
            <p:ph type="sldNum" sz="quarter" idx="16"/>
          </p:nvPr>
        </p:nvSpPr>
        <p:spPr>
          <a:xfrm>
            <a:off x="10922376" y="6536268"/>
            <a:ext cx="359953" cy="151200"/>
          </a:xfrm>
        </p:spPr>
        <p:txBody>
          <a:bodyPr/>
          <a:lstStyle/>
          <a:p>
            <a:fld id="{389075F7-7510-4B87-94F8-2C8610BEE4CA}" type="slidenum">
              <a:rPr lang="en-US" smtClean="0"/>
              <a:pPr/>
              <a:t>11</a:t>
            </a:fld>
            <a:endParaRPr lang="en-US"/>
          </a:p>
        </p:txBody>
      </p:sp>
    </p:spTree>
    <p:extLst>
      <p:ext uri="{BB962C8B-B14F-4D97-AF65-F5344CB8AC3E}">
        <p14:creationId xmlns:p14="http://schemas.microsoft.com/office/powerpoint/2010/main" val="33578116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EC643A3-2DA3-AFC1-B5D7-FC11E7078DCD}"/>
              </a:ext>
            </a:extLst>
          </p:cNvPr>
          <p:cNvSpPr/>
          <p:nvPr/>
        </p:nvSpPr>
        <p:spPr>
          <a:xfrm>
            <a:off x="0" y="2687644"/>
            <a:ext cx="12192000" cy="417035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000"/>
          </a:p>
        </p:txBody>
      </p:sp>
      <p:sp>
        <p:nvSpPr>
          <p:cNvPr id="5" name="Title 2">
            <a:extLst>
              <a:ext uri="{FF2B5EF4-FFF2-40B4-BE49-F238E27FC236}">
                <a16:creationId xmlns:a16="http://schemas.microsoft.com/office/drawing/2014/main" id="{644556A4-636A-6537-E065-F37DF85850DC}"/>
              </a:ext>
            </a:extLst>
          </p:cNvPr>
          <p:cNvSpPr>
            <a:spLocks noGrp="1"/>
          </p:cNvSpPr>
          <p:nvPr>
            <p:ph type="title"/>
          </p:nvPr>
        </p:nvSpPr>
        <p:spPr>
          <a:xfrm>
            <a:off x="413235" y="706737"/>
            <a:ext cx="8770842" cy="864658"/>
          </a:xfrm>
        </p:spPr>
        <p:txBody>
          <a:bodyPr>
            <a:normAutofit/>
          </a:bodyPr>
          <a:lstStyle/>
          <a:p>
            <a:r>
              <a:rPr lang="de-DE" dirty="0"/>
              <a:t>Vertiefung unserer Risikoanalyse durch Quantifizierung von finanziellen Verlusten</a:t>
            </a:r>
            <a:endParaRPr lang="en-GB" dirty="0"/>
          </a:p>
        </p:txBody>
      </p:sp>
      <p:sp>
        <p:nvSpPr>
          <p:cNvPr id="6" name="TextBox 5">
            <a:extLst>
              <a:ext uri="{FF2B5EF4-FFF2-40B4-BE49-F238E27FC236}">
                <a16:creationId xmlns:a16="http://schemas.microsoft.com/office/drawing/2014/main" id="{005B40F8-C375-9C78-E8D7-4B783BCDE81E}"/>
              </a:ext>
            </a:extLst>
          </p:cNvPr>
          <p:cNvSpPr txBox="1">
            <a:spLocks/>
          </p:cNvSpPr>
          <p:nvPr/>
        </p:nvSpPr>
        <p:spPr>
          <a:xfrm>
            <a:off x="6178412" y="2927472"/>
            <a:ext cx="5767137" cy="402747"/>
          </a:xfrm>
          <a:prstGeom prst="rect">
            <a:avLst/>
          </a:prstGeom>
          <a:noFill/>
        </p:spPr>
        <p:txBody>
          <a:bodyPr wrap="square" lIns="107986" tIns="107986" rIns="107986" bIns="107986" rtlCol="0">
            <a:spAutoFit/>
          </a:bodyPr>
          <a:lstStyle/>
          <a:p>
            <a:pPr algn="r">
              <a:spcAft>
                <a:spcPts val="600"/>
              </a:spcAft>
            </a:pPr>
            <a:r>
              <a:rPr lang="de-DE" sz="1200">
                <a:solidFill>
                  <a:schemeClr val="accent1"/>
                </a:solidFill>
              </a:rPr>
              <a:t>.</a:t>
            </a:r>
            <a:endParaRPr lang="en-CH" sz="1200">
              <a:solidFill>
                <a:schemeClr val="accent1"/>
              </a:solidFill>
            </a:endParaRPr>
          </a:p>
        </p:txBody>
      </p:sp>
      <p:sp>
        <p:nvSpPr>
          <p:cNvPr id="8" name="TextBox 7">
            <a:extLst>
              <a:ext uri="{FF2B5EF4-FFF2-40B4-BE49-F238E27FC236}">
                <a16:creationId xmlns:a16="http://schemas.microsoft.com/office/drawing/2014/main" id="{EBCAEFB3-4BF6-2E33-D0DD-F7BD929EEC90}"/>
              </a:ext>
            </a:extLst>
          </p:cNvPr>
          <p:cNvSpPr txBox="1">
            <a:spLocks/>
          </p:cNvSpPr>
          <p:nvPr/>
        </p:nvSpPr>
        <p:spPr>
          <a:xfrm>
            <a:off x="5822452" y="5556828"/>
            <a:ext cx="6136454" cy="402747"/>
          </a:xfrm>
          <a:prstGeom prst="rect">
            <a:avLst/>
          </a:prstGeom>
          <a:noFill/>
        </p:spPr>
        <p:txBody>
          <a:bodyPr wrap="square" lIns="107986" tIns="107986" rIns="107986" bIns="107986" rtlCol="0">
            <a:spAutoFit/>
          </a:bodyPr>
          <a:lstStyle/>
          <a:p>
            <a:pPr algn="r">
              <a:spcAft>
                <a:spcPts val="600"/>
              </a:spcAft>
            </a:pPr>
            <a:r>
              <a:rPr lang="en-GB" sz="1200">
                <a:solidFill>
                  <a:schemeClr val="accent1"/>
                </a:solidFill>
              </a:rPr>
              <a:t>.</a:t>
            </a:r>
            <a:endParaRPr lang="en-CH" sz="1200">
              <a:solidFill>
                <a:schemeClr val="accent1"/>
              </a:solidFill>
            </a:endParaRPr>
          </a:p>
        </p:txBody>
      </p:sp>
      <p:sp>
        <p:nvSpPr>
          <p:cNvPr id="9" name="TextBox 8">
            <a:extLst>
              <a:ext uri="{FF2B5EF4-FFF2-40B4-BE49-F238E27FC236}">
                <a16:creationId xmlns:a16="http://schemas.microsoft.com/office/drawing/2014/main" id="{3015CEAB-89F4-C945-C804-3B9EC7470388}"/>
              </a:ext>
            </a:extLst>
          </p:cNvPr>
          <p:cNvSpPr txBox="1">
            <a:spLocks/>
          </p:cNvSpPr>
          <p:nvPr/>
        </p:nvSpPr>
        <p:spPr>
          <a:xfrm>
            <a:off x="8463420" y="3204540"/>
            <a:ext cx="3717851" cy="400110"/>
          </a:xfrm>
          <a:prstGeom prst="rect">
            <a:avLst/>
          </a:prstGeom>
          <a:noFill/>
        </p:spPr>
        <p:txBody>
          <a:bodyPr wrap="square">
            <a:spAutoFit/>
          </a:bodyPr>
          <a:lstStyle/>
          <a:p>
            <a:pPr algn="ctr"/>
            <a:r>
              <a:rPr lang="en-GB" sz="2000" b="1" err="1">
                <a:solidFill>
                  <a:schemeClr val="accent1"/>
                </a:solidFill>
              </a:rPr>
              <a:t>Vermeidung</a:t>
            </a:r>
            <a:r>
              <a:rPr lang="en-GB" sz="2000" b="1">
                <a:solidFill>
                  <a:schemeClr val="accent1"/>
                </a:solidFill>
              </a:rPr>
              <a:t> von </a:t>
            </a:r>
            <a:r>
              <a:rPr lang="en-GB" sz="2000" b="1" err="1">
                <a:solidFill>
                  <a:schemeClr val="accent1"/>
                </a:solidFill>
              </a:rPr>
              <a:t>Verlusten</a:t>
            </a:r>
            <a:endParaRPr lang="en-GB" sz="2000" b="1">
              <a:solidFill>
                <a:schemeClr val="accent1"/>
              </a:solidFill>
            </a:endParaRPr>
          </a:p>
        </p:txBody>
      </p:sp>
      <p:sp>
        <p:nvSpPr>
          <p:cNvPr id="14" name="TextBox 13">
            <a:extLst>
              <a:ext uri="{FF2B5EF4-FFF2-40B4-BE49-F238E27FC236}">
                <a16:creationId xmlns:a16="http://schemas.microsoft.com/office/drawing/2014/main" id="{7646E155-FA55-56F8-8212-D679B94A0267}"/>
              </a:ext>
            </a:extLst>
          </p:cNvPr>
          <p:cNvSpPr txBox="1">
            <a:spLocks/>
          </p:cNvSpPr>
          <p:nvPr/>
        </p:nvSpPr>
        <p:spPr>
          <a:xfrm>
            <a:off x="9609519" y="5674176"/>
            <a:ext cx="2582481" cy="400110"/>
          </a:xfrm>
          <a:prstGeom prst="rect">
            <a:avLst/>
          </a:prstGeom>
          <a:noFill/>
        </p:spPr>
        <p:txBody>
          <a:bodyPr wrap="square">
            <a:spAutoFit/>
          </a:bodyPr>
          <a:lstStyle/>
          <a:p>
            <a:pPr algn="ctr"/>
            <a:r>
              <a:rPr lang="en-US" sz="2000" b="1" err="1">
                <a:solidFill>
                  <a:schemeClr val="accent1"/>
                </a:solidFill>
              </a:rPr>
              <a:t>Budgetvergabe</a:t>
            </a:r>
            <a:endParaRPr lang="en-US" sz="2000" b="1">
              <a:solidFill>
                <a:schemeClr val="accent1"/>
              </a:solidFill>
            </a:endParaRPr>
          </a:p>
        </p:txBody>
      </p:sp>
      <p:sp>
        <p:nvSpPr>
          <p:cNvPr id="19" name="TextBox 18">
            <a:extLst>
              <a:ext uri="{FF2B5EF4-FFF2-40B4-BE49-F238E27FC236}">
                <a16:creationId xmlns:a16="http://schemas.microsoft.com/office/drawing/2014/main" id="{075486AF-9051-E2E4-2207-5B96C0773DBC}"/>
              </a:ext>
            </a:extLst>
          </p:cNvPr>
          <p:cNvSpPr txBox="1"/>
          <p:nvPr/>
        </p:nvSpPr>
        <p:spPr>
          <a:xfrm>
            <a:off x="323035" y="1311349"/>
            <a:ext cx="11532314" cy="1449216"/>
          </a:xfrm>
          <a:prstGeom prst="rect">
            <a:avLst/>
          </a:prstGeom>
          <a:noFill/>
        </p:spPr>
        <p:txBody>
          <a:bodyPr wrap="square" lIns="108000" tIns="108000" rIns="108000" bIns="108000" rtlCol="0">
            <a:spAutoFit/>
          </a:bodyPr>
          <a:lstStyle/>
          <a:p>
            <a:r>
              <a:rPr lang="de-DE" sz="1600" dirty="0">
                <a:solidFill>
                  <a:schemeClr val="accent1"/>
                </a:solidFill>
              </a:rPr>
              <a:t>Die Risikoquantifizierung fügt unserer Klimarisikoanalyse eine neue Dimension hinzu, die zusätzliche Kundenstandortdaten einbezieht, um Einblicke in das geschätzte finanzielle Schadenpotenzial an jedem Standort zu erhalten. </a:t>
            </a:r>
          </a:p>
          <a:p>
            <a:endParaRPr lang="de-DE" sz="1600" dirty="0">
              <a:solidFill>
                <a:schemeClr val="accent1"/>
              </a:solidFill>
            </a:endParaRPr>
          </a:p>
          <a:p>
            <a:r>
              <a:rPr lang="de-DE" sz="1600" dirty="0">
                <a:solidFill>
                  <a:schemeClr val="accent1"/>
                </a:solidFill>
              </a:rPr>
              <a:t>Dies kann mehrere Stakeholder unterstützen, indem es eine zusätzliche </a:t>
            </a:r>
            <a:r>
              <a:rPr lang="de-DE" sz="1600" dirty="0" err="1">
                <a:solidFill>
                  <a:schemeClr val="accent1"/>
                </a:solidFill>
              </a:rPr>
              <a:t>Granularitätsebene</a:t>
            </a:r>
            <a:r>
              <a:rPr lang="de-DE" sz="1600" dirty="0">
                <a:solidFill>
                  <a:schemeClr val="accent1"/>
                </a:solidFill>
              </a:rPr>
              <a:t> bietet, um eine Reihe von Geschäftsprioritäten zu bewältigen:</a:t>
            </a:r>
            <a:endParaRPr lang="en-GB" sz="1600" dirty="0">
              <a:solidFill>
                <a:schemeClr val="accent1"/>
              </a:solidFill>
            </a:endParaRPr>
          </a:p>
        </p:txBody>
      </p:sp>
      <p:grpSp>
        <p:nvGrpSpPr>
          <p:cNvPr id="32" name="Group 31">
            <a:extLst>
              <a:ext uri="{FF2B5EF4-FFF2-40B4-BE49-F238E27FC236}">
                <a16:creationId xmlns:a16="http://schemas.microsoft.com/office/drawing/2014/main" id="{D735C7E0-B088-E19B-A05C-962A7D88B3BF}"/>
              </a:ext>
            </a:extLst>
          </p:cNvPr>
          <p:cNvGrpSpPr/>
          <p:nvPr/>
        </p:nvGrpSpPr>
        <p:grpSpPr>
          <a:xfrm>
            <a:off x="152406" y="2773845"/>
            <a:ext cx="5760720" cy="4016394"/>
            <a:chOff x="3141788" y="1716110"/>
            <a:chExt cx="7286228" cy="5079983"/>
          </a:xfrm>
        </p:grpSpPr>
        <p:pic>
          <p:nvPicPr>
            <p:cNvPr id="33" name="Picture 32" descr="A computer monitor with a blank screen&#10;&#10;Description automatically generated">
              <a:extLst>
                <a:ext uri="{FF2B5EF4-FFF2-40B4-BE49-F238E27FC236}">
                  <a16:creationId xmlns:a16="http://schemas.microsoft.com/office/drawing/2014/main" id="{A928AE4C-A5AD-FEEB-DE5A-D5CF91D6194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125"/>
            <a:stretch/>
          </p:blipFill>
          <p:spPr>
            <a:xfrm>
              <a:off x="3141788" y="1716110"/>
              <a:ext cx="7286228" cy="5079983"/>
            </a:xfrm>
            <a:prstGeom prst="rect">
              <a:avLst/>
            </a:prstGeom>
          </p:spPr>
        </p:pic>
        <p:sp>
          <p:nvSpPr>
            <p:cNvPr id="34" name="Rectangle 33">
              <a:extLst>
                <a:ext uri="{FF2B5EF4-FFF2-40B4-BE49-F238E27FC236}">
                  <a16:creationId xmlns:a16="http://schemas.microsoft.com/office/drawing/2014/main" id="{C6F5BEBD-B3C7-CB7B-5387-58E449AD25F3}"/>
                </a:ext>
              </a:extLst>
            </p:cNvPr>
            <p:cNvSpPr/>
            <p:nvPr/>
          </p:nvSpPr>
          <p:spPr>
            <a:xfrm>
              <a:off x="3739941" y="1954059"/>
              <a:ext cx="6110443" cy="346046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ea typeface="+mn-ea"/>
                  <a:cs typeface="+mn-cs"/>
                </a:rPr>
                <a:t> </a:t>
              </a:r>
            </a:p>
          </p:txBody>
        </p:sp>
      </p:grpSp>
      <p:pic>
        <p:nvPicPr>
          <p:cNvPr id="35" name="Picture 34">
            <a:extLst>
              <a:ext uri="{FF2B5EF4-FFF2-40B4-BE49-F238E27FC236}">
                <a16:creationId xmlns:a16="http://schemas.microsoft.com/office/drawing/2014/main" id="{C29BB5D5-EB52-B964-EDEF-B58A91E19C9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30072" y="3068151"/>
            <a:ext cx="4711678" cy="2514858"/>
          </a:xfrm>
          <a:prstGeom prst="rect">
            <a:avLst/>
          </a:prstGeom>
        </p:spPr>
      </p:pic>
      <p:sp>
        <p:nvSpPr>
          <p:cNvPr id="36" name="Slide Number Placeholder 52">
            <a:extLst>
              <a:ext uri="{FF2B5EF4-FFF2-40B4-BE49-F238E27FC236}">
                <a16:creationId xmlns:a16="http://schemas.microsoft.com/office/drawing/2014/main" id="{7B10CB9B-A416-474F-7864-6B5E31830409}"/>
              </a:ext>
            </a:extLst>
          </p:cNvPr>
          <p:cNvSpPr txBox="1">
            <a:spLocks/>
          </p:cNvSpPr>
          <p:nvPr/>
        </p:nvSpPr>
        <p:spPr>
          <a:xfrm>
            <a:off x="10657772" y="5374868"/>
            <a:ext cx="551115" cy="18196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accent1"/>
              </a:solidFill>
            </a:endParaRPr>
          </a:p>
        </p:txBody>
      </p:sp>
      <p:sp>
        <p:nvSpPr>
          <p:cNvPr id="37" name="TextBox 36">
            <a:extLst>
              <a:ext uri="{FF2B5EF4-FFF2-40B4-BE49-F238E27FC236}">
                <a16:creationId xmlns:a16="http://schemas.microsoft.com/office/drawing/2014/main" id="{41B2E046-80FA-49F6-8B64-FB418F14A652}"/>
              </a:ext>
            </a:extLst>
          </p:cNvPr>
          <p:cNvSpPr txBox="1">
            <a:spLocks/>
          </p:cNvSpPr>
          <p:nvPr/>
        </p:nvSpPr>
        <p:spPr>
          <a:xfrm>
            <a:off x="5809095" y="4292751"/>
            <a:ext cx="6136454" cy="402747"/>
          </a:xfrm>
          <a:prstGeom prst="rect">
            <a:avLst/>
          </a:prstGeom>
          <a:noFill/>
        </p:spPr>
        <p:txBody>
          <a:bodyPr wrap="square" lIns="107986" tIns="107986" rIns="107986" bIns="107986" rtlCol="0">
            <a:spAutoFit/>
          </a:bodyPr>
          <a:lstStyle/>
          <a:p>
            <a:pPr marL="267970" algn="r">
              <a:spcAft>
                <a:spcPts val="600"/>
              </a:spcAft>
            </a:pPr>
            <a:r>
              <a:rPr lang="de-DE" sz="1200">
                <a:solidFill>
                  <a:schemeClr val="accent1"/>
                </a:solidFill>
                <a:cs typeface="Arial"/>
              </a:rPr>
              <a:t>.</a:t>
            </a:r>
            <a:endParaRPr lang="en-US" sz="1200">
              <a:solidFill>
                <a:schemeClr val="accent1"/>
              </a:solidFill>
              <a:cs typeface="Arial"/>
            </a:endParaRPr>
          </a:p>
        </p:txBody>
      </p:sp>
      <p:sp>
        <p:nvSpPr>
          <p:cNvPr id="39" name="TextBox 38">
            <a:extLst>
              <a:ext uri="{FF2B5EF4-FFF2-40B4-BE49-F238E27FC236}">
                <a16:creationId xmlns:a16="http://schemas.microsoft.com/office/drawing/2014/main" id="{F207894A-C538-1FCC-8CC4-AAE5A840A71A}"/>
              </a:ext>
            </a:extLst>
          </p:cNvPr>
          <p:cNvSpPr txBox="1">
            <a:spLocks/>
          </p:cNvSpPr>
          <p:nvPr/>
        </p:nvSpPr>
        <p:spPr>
          <a:xfrm>
            <a:off x="7714225" y="4492601"/>
            <a:ext cx="4477775" cy="400110"/>
          </a:xfrm>
          <a:prstGeom prst="rect">
            <a:avLst/>
          </a:prstGeom>
          <a:noFill/>
        </p:spPr>
        <p:txBody>
          <a:bodyPr wrap="square">
            <a:spAutoFit/>
          </a:bodyPr>
          <a:lstStyle/>
          <a:p>
            <a:pPr algn="ctr"/>
            <a:r>
              <a:rPr lang="en-GB" sz="2000" b="1" err="1">
                <a:solidFill>
                  <a:schemeClr val="accent1"/>
                </a:solidFill>
              </a:rPr>
              <a:t>Regulatorische</a:t>
            </a:r>
            <a:r>
              <a:rPr lang="en-GB" sz="2000" b="1">
                <a:solidFill>
                  <a:schemeClr val="accent1"/>
                </a:solidFill>
              </a:rPr>
              <a:t> </a:t>
            </a:r>
            <a:r>
              <a:rPr lang="en-GB" sz="2000" b="1" err="1">
                <a:solidFill>
                  <a:schemeClr val="accent1"/>
                </a:solidFill>
              </a:rPr>
              <a:t>Berichterstattung</a:t>
            </a:r>
            <a:endParaRPr lang="en-GB" sz="2000" b="1">
              <a:solidFill>
                <a:schemeClr val="accent1"/>
              </a:solidFill>
            </a:endParaRPr>
          </a:p>
        </p:txBody>
      </p:sp>
      <p:cxnSp>
        <p:nvCxnSpPr>
          <p:cNvPr id="42" name="Straight Connector 41">
            <a:extLst>
              <a:ext uri="{FF2B5EF4-FFF2-40B4-BE49-F238E27FC236}">
                <a16:creationId xmlns:a16="http://schemas.microsoft.com/office/drawing/2014/main" id="{A053CFCC-1F71-3CFF-88CA-869804CD20E6}"/>
              </a:ext>
            </a:extLst>
          </p:cNvPr>
          <p:cNvCxnSpPr>
            <a:cxnSpLocks/>
          </p:cNvCxnSpPr>
          <p:nvPr/>
        </p:nvCxnSpPr>
        <p:spPr>
          <a:xfrm>
            <a:off x="6433257" y="4085916"/>
            <a:ext cx="542988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D3B3C3B-C621-B451-B118-938A4B231E2A}"/>
              </a:ext>
            </a:extLst>
          </p:cNvPr>
          <p:cNvCxnSpPr>
            <a:cxnSpLocks/>
          </p:cNvCxnSpPr>
          <p:nvPr/>
        </p:nvCxnSpPr>
        <p:spPr>
          <a:xfrm flipV="1">
            <a:off x="6441045" y="5369577"/>
            <a:ext cx="5414304" cy="3134"/>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7302843A-0E15-E9BC-438F-95F95EAC1570}"/>
              </a:ext>
            </a:extLst>
          </p:cNvPr>
          <p:cNvGrpSpPr/>
          <p:nvPr/>
        </p:nvGrpSpPr>
        <p:grpSpPr>
          <a:xfrm>
            <a:off x="250823" y="289004"/>
            <a:ext cx="9724302" cy="320056"/>
            <a:chOff x="250823" y="289004"/>
            <a:chExt cx="9724302" cy="320056"/>
          </a:xfrm>
        </p:grpSpPr>
        <p:sp>
          <p:nvSpPr>
            <p:cNvPr id="15" name="Rounded Rectangle 5">
              <a:extLst>
                <a:ext uri="{FF2B5EF4-FFF2-40B4-BE49-F238E27FC236}">
                  <a16:creationId xmlns:a16="http://schemas.microsoft.com/office/drawing/2014/main" id="{7DFC8AD7-70BE-3C2A-BE03-C7FCDCD34C7F}"/>
                </a:ext>
              </a:extLst>
            </p:cNvPr>
            <p:cNvSpPr/>
            <p:nvPr/>
          </p:nvSpPr>
          <p:spPr>
            <a:xfrm>
              <a:off x="250823" y="289004"/>
              <a:ext cx="1620000" cy="32005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chemeClr val="accent5"/>
                  </a:solidFill>
                </a:rPr>
                <a:t>Portfolioebene</a:t>
              </a:r>
            </a:p>
          </p:txBody>
        </p:sp>
        <p:sp>
          <p:nvSpPr>
            <p:cNvPr id="16" name="Rounded Rectangle 6">
              <a:extLst>
                <a:ext uri="{FF2B5EF4-FFF2-40B4-BE49-F238E27FC236}">
                  <a16:creationId xmlns:a16="http://schemas.microsoft.com/office/drawing/2014/main" id="{E37B6811-A653-545A-1EF9-2D681998E0E9}"/>
                </a:ext>
              </a:extLst>
            </p:cNvPr>
            <p:cNvSpPr/>
            <p:nvPr/>
          </p:nvSpPr>
          <p:spPr>
            <a:xfrm>
              <a:off x="1873116" y="289004"/>
              <a:ext cx="1620000" cy="320056"/>
            </a:xfrm>
            <a:prstGeom prst="roundRect">
              <a:avLst>
                <a:gd name="adj" fmla="val 50000"/>
              </a:avLst>
            </a:prstGeom>
            <a:solidFill>
              <a:srgbClr val="DDEAF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Identifikation</a:t>
              </a:r>
            </a:p>
          </p:txBody>
        </p:sp>
        <p:sp>
          <p:nvSpPr>
            <p:cNvPr id="17" name="Rounded Rectangle 11">
              <a:extLst>
                <a:ext uri="{FF2B5EF4-FFF2-40B4-BE49-F238E27FC236}">
                  <a16:creationId xmlns:a16="http://schemas.microsoft.com/office/drawing/2014/main" id="{B69CC8C4-0882-A3A6-8EC7-76BD29A3716D}"/>
                </a:ext>
              </a:extLst>
            </p:cNvPr>
            <p:cNvSpPr/>
            <p:nvPr/>
          </p:nvSpPr>
          <p:spPr>
            <a:xfrm>
              <a:off x="3488837" y="289004"/>
              <a:ext cx="1620000" cy="320056"/>
            </a:xfrm>
            <a:prstGeom prst="roundRect">
              <a:avLst>
                <a:gd name="adj" fmla="val 50000"/>
              </a:avLst>
            </a:prstGeom>
            <a:solidFill>
              <a:srgbClr val="DDEAF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Priorisierung</a:t>
              </a:r>
            </a:p>
          </p:txBody>
        </p:sp>
        <p:sp>
          <p:nvSpPr>
            <p:cNvPr id="18" name="Rounded Rectangle 13">
              <a:extLst>
                <a:ext uri="{FF2B5EF4-FFF2-40B4-BE49-F238E27FC236}">
                  <a16:creationId xmlns:a16="http://schemas.microsoft.com/office/drawing/2014/main" id="{6027E558-BE73-D06C-FC89-67B454B8E101}"/>
                </a:ext>
              </a:extLst>
            </p:cNvPr>
            <p:cNvSpPr/>
            <p:nvPr/>
          </p:nvSpPr>
          <p:spPr>
            <a:xfrm>
              <a:off x="5113770"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rgbClr val="2167AE"/>
                  </a:solidFill>
                </a:rPr>
                <a:t>Standortebene</a:t>
              </a:r>
            </a:p>
          </p:txBody>
        </p:sp>
        <p:sp>
          <p:nvSpPr>
            <p:cNvPr id="20" name="Rounded Rectangle 17">
              <a:extLst>
                <a:ext uri="{FF2B5EF4-FFF2-40B4-BE49-F238E27FC236}">
                  <a16:creationId xmlns:a16="http://schemas.microsoft.com/office/drawing/2014/main" id="{11470281-DEEF-DA10-6F26-9E10A8EAB7DF}"/>
                </a:ext>
              </a:extLst>
            </p:cNvPr>
            <p:cNvSpPr/>
            <p:nvPr/>
          </p:nvSpPr>
          <p:spPr>
            <a:xfrm>
              <a:off x="6732879"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Quantifizierung</a:t>
              </a:r>
            </a:p>
          </p:txBody>
        </p:sp>
        <p:sp>
          <p:nvSpPr>
            <p:cNvPr id="21" name="Rounded Rectangle 18">
              <a:extLst>
                <a:ext uri="{FF2B5EF4-FFF2-40B4-BE49-F238E27FC236}">
                  <a16:creationId xmlns:a16="http://schemas.microsoft.com/office/drawing/2014/main" id="{7B907924-581D-9ED5-3459-39A97E3461EE}"/>
                </a:ext>
              </a:extLst>
            </p:cNvPr>
            <p:cNvSpPr/>
            <p:nvPr/>
          </p:nvSpPr>
          <p:spPr>
            <a:xfrm>
              <a:off x="8355125"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Adaption</a:t>
              </a:r>
            </a:p>
          </p:txBody>
        </p:sp>
      </p:grpSp>
      <p:sp>
        <p:nvSpPr>
          <p:cNvPr id="11" name="Foliennummernplatzhalter 7">
            <a:extLst>
              <a:ext uri="{FF2B5EF4-FFF2-40B4-BE49-F238E27FC236}">
                <a16:creationId xmlns:a16="http://schemas.microsoft.com/office/drawing/2014/main" id="{23C9A517-02E7-562F-2B80-5E895CEF9EB3}"/>
              </a:ext>
            </a:extLst>
          </p:cNvPr>
          <p:cNvSpPr txBox="1">
            <a:spLocks/>
          </p:cNvSpPr>
          <p:nvPr/>
        </p:nvSpPr>
        <p:spPr>
          <a:xfrm>
            <a:off x="10778721" y="6622650"/>
            <a:ext cx="551115" cy="181960"/>
          </a:xfrm>
          <a:prstGeom prst="rect">
            <a:avLst/>
          </a:prstGeom>
        </p:spPr>
        <p:txBody>
          <a:bodyPr vert="horz" lIns="91440" tIns="45720" rIns="0" bIns="45720" rtlCol="0" anchor="t"/>
          <a:lstStyle>
            <a:defPPr>
              <a:defRPr lang="LID4096"/>
            </a:defPPr>
            <a:lvl1pPr algn="r" defTabSz="914196">
              <a:buNone/>
              <a:defRPr sz="900" b="0">
                <a:solidFill>
                  <a:srgbClr val="2167AE"/>
                </a:solidFill>
                <a:latin typeface="Zurich Sans Light" panose="020000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58F0B4-6BC7-4BFB-804F-EE9B892902C7}" type="slidenum">
              <a:rPr lang="en-US" smtClean="0"/>
              <a:pPr/>
              <a:t>12</a:t>
            </a:fld>
            <a:endParaRPr lang="en-US"/>
          </a:p>
        </p:txBody>
      </p:sp>
      <p:sp>
        <p:nvSpPr>
          <p:cNvPr id="12" name="TextBox 1">
            <a:extLst>
              <a:ext uri="{FF2B5EF4-FFF2-40B4-BE49-F238E27FC236}">
                <a16:creationId xmlns:a16="http://schemas.microsoft.com/office/drawing/2014/main" id="{3018D39B-8DB8-0C5F-D0B9-4A7F7B74AD93}"/>
              </a:ext>
            </a:extLst>
          </p:cNvPr>
          <p:cNvSpPr txBox="1"/>
          <p:nvPr/>
        </p:nvSpPr>
        <p:spPr>
          <a:xfrm>
            <a:off x="11159323" y="6628326"/>
            <a:ext cx="69924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67AE"/>
                </a:solidFill>
                <a:effectLst/>
                <a:uLnTx/>
                <a:uFillTx/>
                <a:latin typeface="Zurich Sans Light"/>
                <a:ea typeface="+mn-ea"/>
                <a:cs typeface="+mn-cs"/>
              </a:rPr>
              <a:t>© Zurich</a:t>
            </a:r>
          </a:p>
        </p:txBody>
      </p:sp>
      <p:pic>
        <p:nvPicPr>
          <p:cNvPr id="13" name="ZRS Logo Horozontal">
            <a:extLst>
              <a:ext uri="{FF2B5EF4-FFF2-40B4-BE49-F238E27FC236}">
                <a16:creationId xmlns:a16="http://schemas.microsoft.com/office/drawing/2014/main" id="{62A8C28E-6110-D5B8-4128-DA0FFEC8AC89}"/>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194" t="5628" b="28088"/>
          <a:stretch/>
        </p:blipFill>
        <p:spPr>
          <a:xfrm>
            <a:off x="10342650" y="317500"/>
            <a:ext cx="1510791" cy="520700"/>
          </a:xfrm>
          <a:prstGeom prst="rect">
            <a:avLst/>
          </a:prstGeom>
        </p:spPr>
      </p:pic>
      <p:sp>
        <p:nvSpPr>
          <p:cNvPr id="3" name="Rounded Rectangle 11">
            <a:extLst>
              <a:ext uri="{FF2B5EF4-FFF2-40B4-BE49-F238E27FC236}">
                <a16:creationId xmlns:a16="http://schemas.microsoft.com/office/drawing/2014/main" id="{7C5E3571-F8F0-2476-D7D4-28CA54BB2450}"/>
              </a:ext>
            </a:extLst>
          </p:cNvPr>
          <p:cNvSpPr/>
          <p:nvPr/>
        </p:nvSpPr>
        <p:spPr>
          <a:xfrm>
            <a:off x="3491844" y="289004"/>
            <a:ext cx="1620000" cy="32005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5"/>
                </a:solidFill>
              </a:rPr>
              <a:t>Priorisierung</a:t>
            </a:r>
          </a:p>
        </p:txBody>
      </p:sp>
    </p:spTree>
    <p:extLst>
      <p:ext uri="{BB962C8B-B14F-4D97-AF65-F5344CB8AC3E}">
        <p14:creationId xmlns:p14="http://schemas.microsoft.com/office/powerpoint/2010/main" val="16990529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C40EED-C166-0F90-103D-3A86E8FEFE2C}"/>
            </a:ext>
          </a:extLst>
        </p:cNvPr>
        <p:cNvGrpSpPr/>
        <p:nvPr/>
      </p:nvGrpSpPr>
      <p:grpSpPr>
        <a:xfrm>
          <a:off x="0" y="0"/>
          <a:ext cx="0" cy="0"/>
          <a:chOff x="0" y="0"/>
          <a:chExt cx="0" cy="0"/>
        </a:xfrm>
      </p:grpSpPr>
      <p:sp>
        <p:nvSpPr>
          <p:cNvPr id="42" name="Rectangle 41">
            <a:extLst>
              <a:ext uri="{FF2B5EF4-FFF2-40B4-BE49-F238E27FC236}">
                <a16:creationId xmlns:a16="http://schemas.microsoft.com/office/drawing/2014/main" id="{EEA7A48A-405B-50EA-836A-B8E2ABB36704}"/>
              </a:ext>
            </a:extLst>
          </p:cNvPr>
          <p:cNvSpPr>
            <a:spLocks noGrp="1" noRot="1" noMove="1" noResize="1" noEditPoints="1" noAdjustHandles="1" noChangeArrowheads="1" noChangeShapeType="1"/>
          </p:cNvSpPr>
          <p:nvPr/>
        </p:nvSpPr>
        <p:spPr>
          <a:xfrm>
            <a:off x="795" y="2187239"/>
            <a:ext cx="12190413" cy="46703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ES" sz="1000" b="0" i="0" u="none" strike="noStrike" kern="1200" cap="none" spc="0" normalizeH="0" baseline="0" noProof="0">
              <a:ln>
                <a:noFill/>
              </a:ln>
              <a:solidFill>
                <a:srgbClr val="FFFFFF"/>
              </a:solidFill>
              <a:effectLst/>
              <a:uLnTx/>
              <a:uFillTx/>
              <a:latin typeface="Zurich Sans Light"/>
              <a:ea typeface="+mn-ea"/>
              <a:cs typeface="+mn-cs"/>
            </a:endParaRPr>
          </a:p>
        </p:txBody>
      </p:sp>
      <p:sp>
        <p:nvSpPr>
          <p:cNvPr id="65" name="Rectangle 64">
            <a:extLst>
              <a:ext uri="{FF2B5EF4-FFF2-40B4-BE49-F238E27FC236}">
                <a16:creationId xmlns:a16="http://schemas.microsoft.com/office/drawing/2014/main" id="{83F1482C-A478-70CE-3D14-7F61121A37CB}"/>
              </a:ext>
            </a:extLst>
          </p:cNvPr>
          <p:cNvSpPr/>
          <p:nvPr/>
        </p:nvSpPr>
        <p:spPr>
          <a:xfrm>
            <a:off x="6067549" y="1966853"/>
            <a:ext cx="5982171" cy="4169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359953" bIns="107987" rtlCol="0" anchor="t"/>
          <a:lstStyle/>
          <a:p>
            <a:pPr marL="666666" marR="0" lvl="0" indent="0" algn="l" defTabSz="914286" rtl="0" eaLnBrk="1" fontAlgn="auto" latinLnBrk="0" hangingPunct="1">
              <a:lnSpc>
                <a:spcPct val="100000"/>
              </a:lnSpc>
              <a:spcBef>
                <a:spcPts val="600"/>
              </a:spcBef>
              <a:spcAft>
                <a:spcPts val="600"/>
              </a:spcAft>
              <a:buClrTx/>
              <a:buSzTx/>
              <a:buFontTx/>
              <a:buNone/>
              <a:tabLst/>
              <a:defRPr/>
            </a:pPr>
            <a:br>
              <a:rPr kumimoji="0" lang="en-US" sz="1400" b="1" i="0" u="none" strike="noStrike" kern="1200" cap="none" spc="0" normalizeH="0" baseline="0" noProof="0">
                <a:ln>
                  <a:noFill/>
                </a:ln>
                <a:solidFill>
                  <a:srgbClr val="2167AE"/>
                </a:solidFill>
                <a:effectLst/>
                <a:uLnTx/>
                <a:uFillTx/>
                <a:latin typeface="Zurich Sans Light"/>
                <a:ea typeface="+mn-ea"/>
                <a:cs typeface="+mn-cs"/>
              </a:rPr>
            </a:br>
            <a:r>
              <a:rPr kumimoji="0" lang="en-US" sz="1600" b="1" i="0" u="none" strike="noStrike" kern="1200" cap="none" spc="0" normalizeH="0" baseline="0" noProof="0">
                <a:ln>
                  <a:noFill/>
                </a:ln>
                <a:solidFill>
                  <a:srgbClr val="2167AE"/>
                </a:solidFill>
                <a:effectLst/>
                <a:uLnTx/>
                <a:uFillTx/>
                <a:latin typeface="Zurich Sans Light"/>
                <a:ea typeface="+mn-ea"/>
                <a:cs typeface="+mn-cs"/>
              </a:rPr>
              <a:t>EXPERT: </a:t>
            </a:r>
            <a:r>
              <a:rPr kumimoji="0" lang="de-DE" sz="1600" b="1" i="0" u="none" strike="noStrike" kern="1200" cap="none" spc="0" normalizeH="0" baseline="0" noProof="0">
                <a:ln>
                  <a:noFill/>
                </a:ln>
                <a:solidFill>
                  <a:srgbClr val="2167AE"/>
                </a:solidFill>
                <a:effectLst/>
                <a:uLnTx/>
                <a:uFillTx/>
                <a:latin typeface="Zurich Sans Light"/>
                <a:ea typeface="+mn-ea"/>
                <a:cs typeface="+mn-cs"/>
              </a:rPr>
              <a:t>Ein Bericht</a:t>
            </a:r>
            <a:r>
              <a:rPr kumimoji="0" lang="de-DE" sz="1600" b="0" i="0" u="none" strike="noStrike" kern="1200" cap="none" spc="0" normalizeH="0" baseline="0" noProof="0">
                <a:ln>
                  <a:noFill/>
                </a:ln>
                <a:solidFill>
                  <a:srgbClr val="2167AE"/>
                </a:solidFill>
                <a:effectLst/>
                <a:uLnTx/>
                <a:uFillTx/>
                <a:latin typeface="Zurich Sans Light"/>
                <a:ea typeface="+mn-ea"/>
                <a:cs typeface="+mn-cs"/>
              </a:rPr>
              <a:t>, der für jedes Klimaszenario und jeden Zeithorizont Folgendes enthält:</a:t>
            </a:r>
            <a:endParaRPr kumimoji="0" lang="en-US" sz="1600" b="0" i="0" u="none" strike="noStrike" kern="1200" cap="none" spc="0" normalizeH="0" baseline="0" noProof="0">
              <a:ln>
                <a:noFill/>
              </a:ln>
              <a:solidFill>
                <a:srgbClr val="FFFFFF"/>
              </a:solidFill>
              <a:effectLst/>
              <a:uLnTx/>
              <a:uFillTx/>
              <a:latin typeface="Zurich Sans Light"/>
              <a:ea typeface="+mn-ea"/>
              <a:cs typeface="+mn-cs"/>
            </a:endParaRPr>
          </a:p>
          <a:p>
            <a:pPr marL="985714" marR="0" lvl="0" indent="-274604" algn="l" defTabSz="914286"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de-DE" sz="1400" b="1" i="0" u="none" strike="noStrike" kern="1200" cap="none" spc="0" normalizeH="0" baseline="0" noProof="0">
                <a:ln>
                  <a:noFill/>
                </a:ln>
                <a:solidFill>
                  <a:srgbClr val="2167AE"/>
                </a:solidFill>
                <a:effectLst/>
                <a:uLnTx/>
                <a:uFillTx/>
                <a:latin typeface="Zurich Sans Light"/>
                <a:ea typeface="+mn-ea"/>
                <a:cs typeface="+mn-cs"/>
              </a:rPr>
              <a:t>Sachwerte die den definierten Gefahren ausgesetzt sind.</a:t>
            </a:r>
          </a:p>
          <a:p>
            <a:pPr marL="985714" marR="0" lvl="0" indent="-274604" algn="l" defTabSz="914286"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de-DE" sz="1400" b="1" i="0" u="none" strike="noStrike" kern="1200" cap="none" spc="0" normalizeH="0" baseline="0" noProof="0">
                <a:ln>
                  <a:noFill/>
                </a:ln>
                <a:solidFill>
                  <a:srgbClr val="2167AE"/>
                </a:solidFill>
                <a:effectLst/>
                <a:uLnTx/>
                <a:uFillTx/>
                <a:latin typeface="Zurich Sans Light"/>
                <a:ea typeface="+mn-ea"/>
                <a:cs typeface="+mn-cs"/>
              </a:rPr>
              <a:t>Ranking der Standorte </a:t>
            </a:r>
            <a:r>
              <a:rPr kumimoji="0" lang="de-DE" sz="1400" b="0" i="0" u="none" strike="noStrike" kern="1200" cap="none" spc="0" normalizeH="0" baseline="0" noProof="0">
                <a:ln>
                  <a:noFill/>
                </a:ln>
                <a:solidFill>
                  <a:srgbClr val="2167AE"/>
                </a:solidFill>
                <a:effectLst/>
                <a:uLnTx/>
                <a:uFillTx/>
                <a:latin typeface="Zurich Sans Light"/>
                <a:ea typeface="+mn-ea"/>
                <a:cs typeface="+mn-cs"/>
              </a:rPr>
              <a:t>mit dem höchsten Risiko.</a:t>
            </a:r>
          </a:p>
          <a:p>
            <a:pPr marL="985714" marR="0" lvl="0" indent="-274604" algn="l" defTabSz="914286"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de-DE" sz="1400" b="1" i="0" u="none" strike="noStrike" kern="1200" cap="none" spc="0" normalizeH="0" baseline="0" noProof="0">
                <a:ln>
                  <a:noFill/>
                </a:ln>
                <a:solidFill>
                  <a:srgbClr val="2167AE"/>
                </a:solidFill>
                <a:effectLst/>
                <a:uLnTx/>
                <a:uFillTx/>
                <a:latin typeface="Zurich Sans Light"/>
                <a:ea typeface="+mn-ea"/>
                <a:cs typeface="+mn-cs"/>
              </a:rPr>
              <a:t>Vorgeschlagene Anpassungslösungen </a:t>
            </a:r>
            <a:r>
              <a:rPr kumimoji="0" lang="de-DE" sz="1400" b="0" i="0" u="none" strike="noStrike" kern="1200" cap="none" spc="0" normalizeH="0" baseline="0" noProof="0">
                <a:ln>
                  <a:noFill/>
                </a:ln>
                <a:solidFill>
                  <a:srgbClr val="2167AE"/>
                </a:solidFill>
                <a:effectLst/>
                <a:uLnTx/>
                <a:uFillTx/>
                <a:latin typeface="Zurich Sans Light"/>
                <a:ea typeface="+mn-ea"/>
                <a:cs typeface="+mn-cs"/>
              </a:rPr>
              <a:t>pro Gefahr, </a:t>
            </a:r>
            <a:r>
              <a:rPr kumimoji="0" lang="de-DE" sz="1400" b="1" i="0" u="none" strike="noStrike" kern="1200" cap="none" spc="0" normalizeH="0" baseline="0" noProof="0">
                <a:ln>
                  <a:noFill/>
                </a:ln>
                <a:solidFill>
                  <a:srgbClr val="2167AE"/>
                </a:solidFill>
                <a:effectLst/>
                <a:uLnTx/>
                <a:uFillTx/>
                <a:latin typeface="Zurich Sans Light"/>
                <a:ea typeface="+mn-ea"/>
                <a:cs typeface="+mn-cs"/>
              </a:rPr>
              <a:t>die als Anpassungsmaßnahmen in den Nachhaltigkeitsbericht aufgenommen </a:t>
            </a:r>
            <a:r>
              <a:rPr kumimoji="0" lang="de-DE" sz="1400" b="0" i="0" u="none" strike="noStrike" kern="1200" cap="none" spc="0" normalizeH="0" baseline="0" noProof="0">
                <a:ln>
                  <a:noFill/>
                </a:ln>
                <a:solidFill>
                  <a:srgbClr val="2167AE"/>
                </a:solidFill>
                <a:effectLst/>
                <a:uLnTx/>
                <a:uFillTx/>
                <a:latin typeface="Zurich Sans Light"/>
                <a:ea typeface="+mn-ea"/>
                <a:cs typeface="+mn-cs"/>
              </a:rPr>
              <a:t>werden können.</a:t>
            </a:r>
            <a:endParaRPr kumimoji="0" lang="en-ES" sz="1100" b="0" i="0" u="none" strike="noStrike" kern="1200" cap="none" spc="0" normalizeH="0" baseline="0" noProof="0">
              <a:ln>
                <a:noFill/>
              </a:ln>
              <a:solidFill>
                <a:srgbClr val="FFFFFF"/>
              </a:solidFill>
              <a:effectLst/>
              <a:uLnTx/>
              <a:uFillTx/>
              <a:latin typeface="Zurich Sans Light"/>
              <a:ea typeface="+mn-ea"/>
              <a:cs typeface="+mn-cs"/>
            </a:endParaRPr>
          </a:p>
        </p:txBody>
      </p:sp>
      <p:sp>
        <p:nvSpPr>
          <p:cNvPr id="62" name="Rectangle 61">
            <a:extLst>
              <a:ext uri="{FF2B5EF4-FFF2-40B4-BE49-F238E27FC236}">
                <a16:creationId xmlns:a16="http://schemas.microsoft.com/office/drawing/2014/main" id="{AC0C1DF9-7616-DEE9-CDA3-F4FA32D9F878}"/>
              </a:ext>
            </a:extLst>
          </p:cNvPr>
          <p:cNvSpPr/>
          <p:nvPr/>
        </p:nvSpPr>
        <p:spPr>
          <a:xfrm>
            <a:off x="66481" y="2030571"/>
            <a:ext cx="6177301" cy="20668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359953" bIns="107987" rtlCol="0" anchor="t"/>
          <a:lstStyle/>
          <a:p>
            <a:pPr marL="666666" marR="0" lvl="0" indent="-265080" algn="l" defTabSz="914286" rtl="0" eaLnBrk="1" fontAlgn="auto" latinLnBrk="0" hangingPunct="1">
              <a:lnSpc>
                <a:spcPct val="100000"/>
              </a:lnSpc>
              <a:spcBef>
                <a:spcPts val="600"/>
              </a:spcBef>
              <a:spcAft>
                <a:spcPts val="600"/>
              </a:spcAft>
              <a:buClrTx/>
              <a:buSzTx/>
              <a:buFontTx/>
              <a:buNone/>
              <a:tabLst/>
              <a:defRPr/>
            </a:pPr>
            <a:br>
              <a:rPr kumimoji="0" lang="en-US" sz="1050" b="1" i="0" u="none" strike="noStrike" kern="1200" cap="none" spc="0" normalizeH="0" baseline="0" noProof="0">
                <a:ln>
                  <a:noFill/>
                </a:ln>
                <a:solidFill>
                  <a:srgbClr val="2167AE"/>
                </a:solidFill>
                <a:effectLst/>
                <a:uLnTx/>
                <a:uFillTx/>
                <a:latin typeface="Zurich Sans Light"/>
                <a:ea typeface="+mn-ea"/>
                <a:cs typeface="+mn-cs"/>
              </a:rPr>
            </a:br>
            <a:r>
              <a:rPr kumimoji="0" lang="en-US" sz="1600" b="1" i="0" u="none" strike="noStrike" kern="1200" cap="none" spc="0" normalizeH="0" baseline="0" noProof="0">
                <a:ln>
                  <a:noFill/>
                </a:ln>
                <a:solidFill>
                  <a:srgbClr val="2167AE"/>
                </a:solidFill>
                <a:effectLst/>
                <a:uLnTx/>
                <a:uFillTx/>
                <a:latin typeface="Zurich Sans Light"/>
                <a:ea typeface="+mn-ea"/>
                <a:cs typeface="+mn-cs"/>
              </a:rPr>
              <a:t>CORE &amp; EXPERT: Climate Resilience Portal</a:t>
            </a:r>
            <a:endParaRPr kumimoji="0" lang="en-US" sz="1400" b="0" i="0" u="none" strike="noStrike" kern="1200" cap="none" spc="0" normalizeH="0" baseline="0" noProof="0">
              <a:ln>
                <a:noFill/>
              </a:ln>
              <a:solidFill>
                <a:srgbClr val="2167AE"/>
              </a:solidFill>
              <a:effectLst/>
              <a:uLnTx/>
              <a:uFillTx/>
              <a:latin typeface="Zurich Sans Light"/>
              <a:ea typeface="+mn-ea"/>
              <a:cs typeface="+mn-cs"/>
            </a:endParaRPr>
          </a:p>
          <a:p>
            <a:pPr marL="985714" marR="0" lvl="1" indent="-274604" algn="l" defTabSz="914286"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de-DE" sz="1400" b="0" i="0" u="none" strike="noStrike" kern="1200" cap="none" spc="0" normalizeH="0" baseline="0" noProof="0">
                <a:ln>
                  <a:noFill/>
                </a:ln>
                <a:solidFill>
                  <a:srgbClr val="2167AE"/>
                </a:solidFill>
                <a:effectLst/>
                <a:uLnTx/>
                <a:uFillTx/>
                <a:latin typeface="Zurich Sans Light"/>
                <a:ea typeface="+mn-ea"/>
                <a:cs typeface="+mn-cs"/>
              </a:rPr>
              <a:t>Ein </a:t>
            </a:r>
            <a:r>
              <a:rPr kumimoji="0" lang="de-DE" sz="1400" b="1" i="0" u="none" strike="noStrike" kern="1200" cap="none" spc="0" normalizeH="0" baseline="0" noProof="0">
                <a:ln>
                  <a:noFill/>
                </a:ln>
                <a:solidFill>
                  <a:srgbClr val="2167AE"/>
                </a:solidFill>
                <a:effectLst/>
                <a:uLnTx/>
                <a:uFillTx/>
                <a:latin typeface="Zurich Sans Light"/>
                <a:ea typeface="+mn-ea"/>
                <a:cs typeface="+mn-cs"/>
              </a:rPr>
              <a:t>Visualisierungstool zur einfachen und effektiven Kommunikation unserer Analyseergebnisse </a:t>
            </a:r>
          </a:p>
          <a:p>
            <a:pPr marL="985714" marR="0" lvl="1" indent="-274604" algn="l" defTabSz="914286"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de-DE" sz="1400" b="0" i="0" u="none" strike="noStrike" kern="1200" cap="none" spc="0" normalizeH="0" baseline="0" noProof="0">
                <a:ln>
                  <a:noFill/>
                </a:ln>
                <a:solidFill>
                  <a:srgbClr val="2167AE"/>
                </a:solidFill>
                <a:effectLst/>
                <a:uLnTx/>
                <a:uFillTx/>
                <a:latin typeface="Zurich Sans Light"/>
                <a:ea typeface="+mn-ea"/>
                <a:cs typeface="+mn-cs"/>
              </a:rPr>
              <a:t>Es umfasst </a:t>
            </a:r>
            <a:r>
              <a:rPr kumimoji="0" lang="de-DE" sz="1400" b="1" i="0" u="none" strike="noStrike" kern="1200" cap="none" spc="0" normalizeH="0" baseline="0" noProof="0">
                <a:ln>
                  <a:noFill/>
                </a:ln>
                <a:solidFill>
                  <a:srgbClr val="2167AE"/>
                </a:solidFill>
                <a:effectLst/>
                <a:uLnTx/>
                <a:uFillTx/>
                <a:latin typeface="Zurich Sans Light"/>
                <a:ea typeface="+mn-ea"/>
                <a:cs typeface="+mn-cs"/>
              </a:rPr>
              <a:t>mehrere Risikoansichten und eine maßgeschneiderte Risikoeinstufung des Standorts, zugeschnitten auf die auf die Bedürfnisse des Kunden.</a:t>
            </a:r>
          </a:p>
          <a:p>
            <a:pPr marL="985714" marR="0" lvl="1" indent="-274604" algn="l" defTabSz="914286"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de-DE" sz="1400" b="0" i="0" u="none" strike="noStrike" kern="1200" cap="none" spc="0" normalizeH="0" baseline="0" noProof="0">
                <a:ln>
                  <a:noFill/>
                </a:ln>
                <a:solidFill>
                  <a:srgbClr val="2167AE"/>
                </a:solidFill>
                <a:effectLst/>
                <a:uLnTx/>
                <a:uFillTx/>
                <a:latin typeface="Zurich Sans Light"/>
                <a:ea typeface="+mn-ea"/>
                <a:cs typeface="+mn-cs"/>
              </a:rPr>
              <a:t>Die </a:t>
            </a:r>
            <a:r>
              <a:rPr kumimoji="0" lang="de-DE" sz="1400" b="1" i="0" u="none" strike="noStrike" kern="1200" cap="none" spc="0" normalizeH="0" baseline="0" noProof="0">
                <a:ln>
                  <a:noFill/>
                </a:ln>
                <a:solidFill>
                  <a:srgbClr val="2167AE"/>
                </a:solidFill>
                <a:effectLst/>
                <a:uLnTx/>
                <a:uFillTx/>
                <a:latin typeface="Zurich Sans Light"/>
                <a:ea typeface="+mn-ea"/>
                <a:cs typeface="+mn-cs"/>
              </a:rPr>
              <a:t>Struktur des Tools wird während des Projekts aufgebaut </a:t>
            </a:r>
            <a:r>
              <a:rPr kumimoji="0" lang="de-DE" sz="1400" b="0" i="0" u="none" strike="noStrike" kern="1200" cap="none" spc="0" normalizeH="0" baseline="0" noProof="0">
                <a:ln>
                  <a:noFill/>
                </a:ln>
                <a:solidFill>
                  <a:srgbClr val="2167AE"/>
                </a:solidFill>
                <a:effectLst/>
                <a:uLnTx/>
                <a:uFillTx/>
                <a:latin typeface="Zurich Sans Light"/>
                <a:ea typeface="+mn-ea"/>
                <a:cs typeface="+mn-cs"/>
              </a:rPr>
              <a:t>und </a:t>
            </a:r>
            <a:r>
              <a:rPr kumimoji="0" lang="de-DE" sz="1400" b="1" i="0" u="none" strike="noStrike" kern="1200" cap="none" spc="0" normalizeH="0" baseline="0" noProof="0">
                <a:ln>
                  <a:noFill/>
                </a:ln>
                <a:solidFill>
                  <a:srgbClr val="2167AE"/>
                </a:solidFill>
                <a:effectLst/>
                <a:uLnTx/>
                <a:uFillTx/>
                <a:latin typeface="Zurich Sans Light"/>
                <a:ea typeface="+mn-ea"/>
                <a:cs typeface="+mn-cs"/>
              </a:rPr>
              <a:t>anhand der Anforderungen des Kunden kontinuierlich verfeinert</a:t>
            </a:r>
            <a:r>
              <a:rPr kumimoji="0" lang="de-DE" sz="1400" b="0" i="0" u="none" strike="noStrike" kern="1200" cap="none" spc="0" normalizeH="0" baseline="0" noProof="0">
                <a:ln>
                  <a:noFill/>
                </a:ln>
                <a:solidFill>
                  <a:srgbClr val="2167AE"/>
                </a:solidFill>
                <a:effectLst/>
                <a:uLnTx/>
                <a:uFillTx/>
                <a:latin typeface="Zurich Sans Light"/>
                <a:ea typeface="+mn-ea"/>
                <a:cs typeface="+mn-cs"/>
              </a:rPr>
              <a:t>.. </a:t>
            </a:r>
            <a:endParaRPr kumimoji="0" lang="en-US" sz="1400" b="0" i="0" u="none" strike="noStrike" kern="1200" cap="none" spc="0" normalizeH="0" baseline="0" noProof="0">
              <a:ln>
                <a:noFill/>
              </a:ln>
              <a:solidFill>
                <a:srgbClr val="2167AE"/>
              </a:solidFill>
              <a:effectLst/>
              <a:uLnTx/>
              <a:uFillTx/>
              <a:latin typeface="Zurich Sans Light"/>
              <a:ea typeface="+mn-ea"/>
              <a:cs typeface="+mn-cs"/>
            </a:endParaRPr>
          </a:p>
        </p:txBody>
      </p:sp>
      <p:sp>
        <p:nvSpPr>
          <p:cNvPr id="58" name="TextBox 57">
            <a:extLst>
              <a:ext uri="{FF2B5EF4-FFF2-40B4-BE49-F238E27FC236}">
                <a16:creationId xmlns:a16="http://schemas.microsoft.com/office/drawing/2014/main" id="{AB822D17-E98E-C4C4-A4F6-2098D18653BB}"/>
              </a:ext>
            </a:extLst>
          </p:cNvPr>
          <p:cNvSpPr txBox="1"/>
          <p:nvPr/>
        </p:nvSpPr>
        <p:spPr>
          <a:xfrm>
            <a:off x="333835" y="830149"/>
            <a:ext cx="10823740" cy="830987"/>
          </a:xfrm>
          <a:prstGeom prst="rect">
            <a:avLst/>
          </a:prstGeom>
          <a:noFill/>
        </p:spPr>
        <p:txBody>
          <a:bodyPr wrap="square" lIns="91428" tIns="45715" rIns="91428" bIns="45715" anchor="t">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167AE"/>
                </a:solidFill>
                <a:effectLst/>
                <a:uLnTx/>
                <a:uFillTx/>
                <a:latin typeface="Zurich Sans Light" panose="02000000000000000000" pitchFamily="2" charset="0"/>
                <a:ea typeface="+mn-ea"/>
                <a:cs typeface="+mn-cs"/>
              </a:rPr>
              <a:t>Climate Spotlight </a:t>
            </a:r>
            <a:br>
              <a:rPr kumimoji="0" lang="en-US" sz="2400" b="0" i="0" u="none" strike="noStrike" kern="1200" cap="none" spc="0" normalizeH="0" baseline="0" noProof="0">
                <a:ln>
                  <a:noFill/>
                </a:ln>
                <a:solidFill>
                  <a:srgbClr val="23366F"/>
                </a:solidFill>
                <a:effectLst/>
                <a:uLnTx/>
                <a:uFillTx/>
                <a:latin typeface="Zurich Sans Light"/>
                <a:ea typeface="+mn-ea"/>
                <a:cs typeface="+mn-cs"/>
              </a:rPr>
            </a:br>
            <a:endParaRPr kumimoji="0" lang="pl-PL" sz="2400" b="0" i="0" u="none" strike="noStrike" kern="1200" cap="none" spc="0" normalizeH="0" baseline="0" noProof="0">
              <a:ln>
                <a:noFill/>
              </a:ln>
              <a:solidFill>
                <a:srgbClr val="2167AE"/>
              </a:solidFill>
              <a:effectLst/>
              <a:uLnTx/>
              <a:uFillTx/>
              <a:latin typeface="Zurich Sans Light"/>
              <a:ea typeface="+mn-ea"/>
              <a:cs typeface="+mn-cs"/>
            </a:endParaRPr>
          </a:p>
        </p:txBody>
      </p:sp>
      <p:sp>
        <p:nvSpPr>
          <p:cNvPr id="60" name="TextBox 59">
            <a:extLst>
              <a:ext uri="{FF2B5EF4-FFF2-40B4-BE49-F238E27FC236}">
                <a16:creationId xmlns:a16="http://schemas.microsoft.com/office/drawing/2014/main" id="{006459D1-149D-F6D8-A3B9-D3B37BA04D89}"/>
              </a:ext>
            </a:extLst>
          </p:cNvPr>
          <p:cNvSpPr txBox="1"/>
          <p:nvPr/>
        </p:nvSpPr>
        <p:spPr>
          <a:xfrm>
            <a:off x="358815" y="1276367"/>
            <a:ext cx="9668201" cy="369332"/>
          </a:xfrm>
          <a:prstGeom prst="rect">
            <a:avLst/>
          </a:prstGeom>
          <a:noFill/>
        </p:spPr>
        <p:txBody>
          <a:bodyPr wrap="square">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de-DE" b="0" i="0" u="none" strike="noStrike" kern="1200" cap="none" spc="0" normalizeH="0" baseline="0" noProof="0">
                <a:ln>
                  <a:noFill/>
                </a:ln>
                <a:solidFill>
                  <a:srgbClr val="2167AE"/>
                </a:solidFill>
                <a:effectLst/>
                <a:uLnTx/>
                <a:uFillTx/>
                <a:latin typeface="Zurich Sans Light"/>
                <a:ea typeface="+mn-ea"/>
                <a:cs typeface="+mn-cs"/>
              </a:rPr>
              <a:t>Ihre individuelle Ansicht des physischen Klimarisikos kann in zwei Formaten geliefert werden:</a:t>
            </a:r>
            <a:endParaRPr kumimoji="0" lang="en-ES"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3" name="TextBox 2">
            <a:extLst>
              <a:ext uri="{FF2B5EF4-FFF2-40B4-BE49-F238E27FC236}">
                <a16:creationId xmlns:a16="http://schemas.microsoft.com/office/drawing/2014/main" id="{92E80172-1C28-AA33-07B7-C1B57D323D29}"/>
              </a:ext>
            </a:extLst>
          </p:cNvPr>
          <p:cNvSpPr txBox="1"/>
          <p:nvPr/>
        </p:nvSpPr>
        <p:spPr>
          <a:xfrm>
            <a:off x="6170234" y="4708627"/>
            <a:ext cx="2623081" cy="2031325"/>
          </a:xfrm>
          <a:prstGeom prst="rect">
            <a:avLst/>
          </a:prstGeom>
          <a:noFill/>
        </p:spPr>
        <p:txBody>
          <a:bodyPr wrap="square">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2167AE"/>
                </a:solidFill>
                <a:effectLst/>
                <a:uLnTx/>
                <a:uFillTx/>
                <a:latin typeface="Zurich Sans Medium"/>
                <a:ea typeface="+mn-ea"/>
                <a:cs typeface="+mn-cs"/>
              </a:rPr>
              <a:t>Maßgeschneiderte Ansichten für alle Stakeholder </a:t>
            </a:r>
            <a:endParaRPr kumimoji="0" lang="en-US" sz="1400" b="0" i="0" u="none" strike="noStrike" kern="1200" cap="none" spc="0" normalizeH="0" baseline="0" noProof="0">
              <a:ln>
                <a:noFill/>
              </a:ln>
              <a:solidFill>
                <a:srgbClr val="2167AE"/>
              </a:solidFill>
              <a:effectLst/>
              <a:uLnTx/>
              <a:uFillTx/>
              <a:latin typeface="Zurich Sans Light"/>
              <a:ea typeface="+mn-ea"/>
              <a:cs typeface="+mn-cs"/>
            </a:endParaRPr>
          </a:p>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167AE"/>
              </a:solidFill>
              <a:effectLst/>
              <a:uLnTx/>
              <a:uFillTx/>
              <a:latin typeface="Zurich Sans Light"/>
              <a:ea typeface="+mn-ea"/>
              <a:cs typeface="+mn-cs"/>
            </a:endParaRP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167AE"/>
                </a:solidFill>
                <a:effectLst/>
                <a:uLnTx/>
                <a:uFillTx/>
                <a:latin typeface="Zurich Sans Light"/>
                <a:ea typeface="+mn-ea"/>
                <a:cs typeface="+mn-cs"/>
              </a:rPr>
              <a:t>Das ZRS Climate Resilience Portal </a:t>
            </a:r>
            <a:r>
              <a:rPr kumimoji="0" lang="de-DE" sz="1400" b="0" i="0" u="none" strike="noStrike" kern="1200" cap="none" spc="0" normalizeH="0" baseline="0" noProof="0">
                <a:ln>
                  <a:noFill/>
                </a:ln>
                <a:solidFill>
                  <a:srgbClr val="2167AE"/>
                </a:solidFill>
                <a:effectLst/>
                <a:uLnTx/>
                <a:uFillTx/>
                <a:latin typeface="Zurich Sans Light"/>
                <a:ea typeface="+mn-ea"/>
                <a:cs typeface="+mn-cs"/>
              </a:rPr>
              <a:t>gibt Ihnen die Flexibilität, </a:t>
            </a:r>
            <a:r>
              <a:rPr kumimoji="0" lang="de-DE" sz="1400" b="0" i="0" u="none" strike="noStrike" kern="1200" cap="none" spc="0" normalizeH="0" baseline="0" noProof="0" err="1">
                <a:ln>
                  <a:noFill/>
                </a:ln>
                <a:solidFill>
                  <a:srgbClr val="2167AE"/>
                </a:solidFill>
                <a:effectLst/>
                <a:uLnTx/>
                <a:uFillTx/>
                <a:latin typeface="Zurich Sans Light"/>
                <a:ea typeface="+mn-ea"/>
                <a:cs typeface="+mn-cs"/>
              </a:rPr>
              <a:t>Klimaresilienz</a:t>
            </a:r>
            <a:r>
              <a:rPr kumimoji="0" lang="de-DE" sz="1400" b="0" i="0" u="none" strike="noStrike" kern="1200" cap="none" spc="0" normalizeH="0" baseline="0" noProof="0">
                <a:ln>
                  <a:noFill/>
                </a:ln>
                <a:solidFill>
                  <a:srgbClr val="2167AE"/>
                </a:solidFill>
                <a:effectLst/>
                <a:uLnTx/>
                <a:uFillTx/>
                <a:latin typeface="Zurich Sans Light"/>
                <a:ea typeface="+mn-ea"/>
                <a:cs typeface="+mn-cs"/>
              </a:rPr>
              <a:t> in allen Bereichen Ihres Unternehmens relevant und umsetzbar zu machen. </a:t>
            </a:r>
            <a:endParaRPr kumimoji="0" lang="en-US" sz="1400" b="0" i="0" u="none" strike="noStrike" kern="1200" cap="none" spc="0" normalizeH="0" baseline="0" noProof="0">
              <a:ln>
                <a:noFill/>
              </a:ln>
              <a:solidFill>
                <a:srgbClr val="2167AE"/>
              </a:solidFill>
              <a:effectLst/>
              <a:uLnTx/>
              <a:uFillTx/>
              <a:latin typeface="Zurich Sans Light"/>
              <a:ea typeface="+mn-ea"/>
              <a:cs typeface="+mn-cs"/>
            </a:endParaRPr>
          </a:p>
        </p:txBody>
      </p:sp>
      <p:cxnSp>
        <p:nvCxnSpPr>
          <p:cNvPr id="25" name="Straight Connector 24">
            <a:extLst>
              <a:ext uri="{FF2B5EF4-FFF2-40B4-BE49-F238E27FC236}">
                <a16:creationId xmlns:a16="http://schemas.microsoft.com/office/drawing/2014/main" id="{35B391FF-1472-D501-E31C-C7D7ECAAC002}"/>
              </a:ext>
            </a:extLst>
          </p:cNvPr>
          <p:cNvCxnSpPr/>
          <p:nvPr/>
        </p:nvCxnSpPr>
        <p:spPr>
          <a:xfrm>
            <a:off x="6073891" y="2390941"/>
            <a:ext cx="0" cy="4181939"/>
          </a:xfrm>
          <a:prstGeom prst="line">
            <a:avLst/>
          </a:prstGeom>
          <a:ln>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2D915FCA-C982-6394-A37D-BDF762EE514A}"/>
              </a:ext>
            </a:extLst>
          </p:cNvPr>
          <p:cNvPicPr>
            <a:picLocks noChangeAspect="1"/>
          </p:cNvPicPr>
          <p:nvPr/>
        </p:nvPicPr>
        <p:blipFill>
          <a:blip r:embed="rId3"/>
          <a:stretch>
            <a:fillRect/>
          </a:stretch>
        </p:blipFill>
        <p:spPr>
          <a:xfrm>
            <a:off x="314693" y="2239181"/>
            <a:ext cx="362093" cy="303519"/>
          </a:xfrm>
          <a:prstGeom prst="rect">
            <a:avLst/>
          </a:prstGeom>
        </p:spPr>
      </p:pic>
      <p:pic>
        <p:nvPicPr>
          <p:cNvPr id="17" name="Picture 16">
            <a:extLst>
              <a:ext uri="{FF2B5EF4-FFF2-40B4-BE49-F238E27FC236}">
                <a16:creationId xmlns:a16="http://schemas.microsoft.com/office/drawing/2014/main" id="{F51F73E4-CA83-D78E-EFC8-43CFF8527B90}"/>
              </a:ext>
            </a:extLst>
          </p:cNvPr>
          <p:cNvPicPr>
            <a:picLocks noChangeAspect="1"/>
          </p:cNvPicPr>
          <p:nvPr/>
        </p:nvPicPr>
        <p:blipFill>
          <a:blip r:embed="rId4"/>
          <a:stretch>
            <a:fillRect/>
          </a:stretch>
        </p:blipFill>
        <p:spPr>
          <a:xfrm>
            <a:off x="6309253" y="2239181"/>
            <a:ext cx="369815" cy="337184"/>
          </a:xfrm>
          <a:prstGeom prst="rect">
            <a:avLst/>
          </a:prstGeom>
        </p:spPr>
      </p:pic>
      <p:sp>
        <p:nvSpPr>
          <p:cNvPr id="2" name="TextBox 1">
            <a:extLst>
              <a:ext uri="{FF2B5EF4-FFF2-40B4-BE49-F238E27FC236}">
                <a16:creationId xmlns:a16="http://schemas.microsoft.com/office/drawing/2014/main" id="{8558260A-CA97-7F2D-60C6-246EA5ABBF60}"/>
              </a:ext>
            </a:extLst>
          </p:cNvPr>
          <p:cNvSpPr txBox="1"/>
          <p:nvPr/>
        </p:nvSpPr>
        <p:spPr>
          <a:xfrm>
            <a:off x="11159323" y="6628326"/>
            <a:ext cx="69924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67AE"/>
                </a:solidFill>
                <a:effectLst/>
                <a:uLnTx/>
                <a:uFillTx/>
                <a:latin typeface="Zurich Sans Light"/>
                <a:ea typeface="+mn-ea"/>
                <a:cs typeface="+mn-cs"/>
              </a:rPr>
              <a:t>© Zurich</a:t>
            </a:r>
          </a:p>
        </p:txBody>
      </p:sp>
      <p:sp>
        <p:nvSpPr>
          <p:cNvPr id="38" name="Rectangle 37">
            <a:extLst>
              <a:ext uri="{FF2B5EF4-FFF2-40B4-BE49-F238E27FC236}">
                <a16:creationId xmlns:a16="http://schemas.microsoft.com/office/drawing/2014/main" id="{7C5773F3-76A8-70E3-4180-524E5FC99E69}"/>
              </a:ext>
            </a:extLst>
          </p:cNvPr>
          <p:cNvSpPr>
            <a:spLocks noChangeAspect="1"/>
          </p:cNvSpPr>
          <p:nvPr/>
        </p:nvSpPr>
        <p:spPr>
          <a:xfrm>
            <a:off x="9166879" y="4684508"/>
            <a:ext cx="2691693" cy="3816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ES" sz="1000" b="0" i="0" u="none" strike="noStrike" kern="1200" cap="none" spc="0" normalizeH="0" baseline="0" noProof="0">
              <a:ln>
                <a:noFill/>
              </a:ln>
              <a:solidFill>
                <a:srgbClr val="FFFFFF"/>
              </a:solidFill>
              <a:effectLst/>
              <a:uLnTx/>
              <a:uFillTx/>
              <a:latin typeface="Zurich Sans Light"/>
              <a:ea typeface="+mn-ea"/>
              <a:cs typeface="+mn-cs"/>
            </a:endParaRPr>
          </a:p>
        </p:txBody>
      </p:sp>
      <p:sp>
        <p:nvSpPr>
          <p:cNvPr id="40" name="TextBox 39">
            <a:extLst>
              <a:ext uri="{FF2B5EF4-FFF2-40B4-BE49-F238E27FC236}">
                <a16:creationId xmlns:a16="http://schemas.microsoft.com/office/drawing/2014/main" id="{A0D32E33-CAAC-54B4-A173-890F8148FDC8}"/>
              </a:ext>
            </a:extLst>
          </p:cNvPr>
          <p:cNvSpPr txBox="1">
            <a:spLocks noChangeAspect="1"/>
          </p:cNvSpPr>
          <p:nvPr/>
        </p:nvSpPr>
        <p:spPr>
          <a:xfrm>
            <a:off x="9326577" y="4753659"/>
            <a:ext cx="1327232" cy="246221"/>
          </a:xfrm>
          <a:prstGeom prst="rect">
            <a:avLst/>
          </a:prstGeom>
          <a:noFill/>
        </p:spPr>
        <p:txBody>
          <a:bodyPr wrap="square">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2167AE"/>
                </a:solidFill>
                <a:effectLst/>
                <a:uLnTx/>
                <a:uFillTx/>
                <a:latin typeface="Zurich Sans Medium"/>
                <a:ea typeface="+mn-ea"/>
                <a:cs typeface="+mn-cs"/>
              </a:rPr>
              <a:t>Risiko</a:t>
            </a:r>
            <a:r>
              <a:rPr kumimoji="0" lang="en-US" sz="1000" b="0" i="0" u="none" strike="noStrike" kern="1200" cap="none" spc="0" normalizeH="0" baseline="0" noProof="0">
                <a:ln>
                  <a:noFill/>
                </a:ln>
                <a:solidFill>
                  <a:srgbClr val="2167AE"/>
                </a:solidFill>
                <a:effectLst/>
                <a:uLnTx/>
                <a:uFillTx/>
                <a:latin typeface="Zurich Sans Medium"/>
                <a:ea typeface="+mn-ea"/>
                <a:cs typeface="+mn-cs"/>
              </a:rPr>
              <a:t> Manager</a:t>
            </a:r>
            <a:endParaRPr kumimoji="0" lang="en-US" sz="1000" b="0" i="0" u="none" strike="noStrike" kern="1200" cap="none" spc="0" normalizeH="0" baseline="0" noProof="0">
              <a:ln>
                <a:noFill/>
              </a:ln>
              <a:solidFill>
                <a:srgbClr val="2167AE"/>
              </a:solidFill>
              <a:effectLst/>
              <a:uLnTx/>
              <a:uFillTx/>
              <a:latin typeface="Zurich Sans Light"/>
              <a:ea typeface="+mn-ea"/>
              <a:cs typeface="+mn-cs"/>
            </a:endParaRPr>
          </a:p>
        </p:txBody>
      </p:sp>
      <p:pic>
        <p:nvPicPr>
          <p:cNvPr id="41" name="Picture 40">
            <a:extLst>
              <a:ext uri="{FF2B5EF4-FFF2-40B4-BE49-F238E27FC236}">
                <a16:creationId xmlns:a16="http://schemas.microsoft.com/office/drawing/2014/main" id="{C5359C55-F143-2CE1-F701-E093871E7499}"/>
              </a:ext>
            </a:extLst>
          </p:cNvPr>
          <p:cNvPicPr>
            <a:picLocks noChangeAspect="1"/>
          </p:cNvPicPr>
          <p:nvPr/>
        </p:nvPicPr>
        <p:blipFill rotWithShape="1">
          <a:blip r:embed="rId5">
            <a:extLst>
              <a:ext uri="{28A0092B-C50C-407E-A947-70E740481C1C}">
                <a14:useLocalDpi xmlns:a14="http://schemas.microsoft.com/office/drawing/2010/main" val="0"/>
              </a:ext>
            </a:extLst>
          </a:blip>
          <a:srcRect l="18119" t="2025" r="51853" b="30039"/>
          <a:stretch/>
        </p:blipFill>
        <p:spPr>
          <a:xfrm>
            <a:off x="8726086" y="4500250"/>
            <a:ext cx="730968" cy="730968"/>
          </a:xfrm>
          <a:prstGeom prst="ellipse">
            <a:avLst/>
          </a:prstGeom>
        </p:spPr>
      </p:pic>
      <p:sp>
        <p:nvSpPr>
          <p:cNvPr id="43" name="Rectangle 42">
            <a:extLst>
              <a:ext uri="{FF2B5EF4-FFF2-40B4-BE49-F238E27FC236}">
                <a16:creationId xmlns:a16="http://schemas.microsoft.com/office/drawing/2014/main" id="{82938919-91E9-B503-23E3-7FF184B130AC}"/>
              </a:ext>
            </a:extLst>
          </p:cNvPr>
          <p:cNvSpPr>
            <a:spLocks noChangeAspect="1"/>
          </p:cNvSpPr>
          <p:nvPr/>
        </p:nvSpPr>
        <p:spPr>
          <a:xfrm>
            <a:off x="9166878" y="5631055"/>
            <a:ext cx="2691691" cy="3816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ES" sz="1000" b="0" i="0" u="none" strike="noStrike" kern="1200" cap="none" spc="0" normalizeH="0" baseline="0" noProof="0">
              <a:ln>
                <a:noFill/>
              </a:ln>
              <a:solidFill>
                <a:srgbClr val="FFFFFF"/>
              </a:solidFill>
              <a:effectLst/>
              <a:uLnTx/>
              <a:uFillTx/>
              <a:latin typeface="Zurich Sans Light"/>
              <a:ea typeface="+mn-ea"/>
              <a:cs typeface="+mn-cs"/>
            </a:endParaRPr>
          </a:p>
        </p:txBody>
      </p:sp>
      <p:sp>
        <p:nvSpPr>
          <p:cNvPr id="44" name="TextBox 43">
            <a:extLst>
              <a:ext uri="{FF2B5EF4-FFF2-40B4-BE49-F238E27FC236}">
                <a16:creationId xmlns:a16="http://schemas.microsoft.com/office/drawing/2014/main" id="{E7109E2B-462E-155F-9222-54B41F663577}"/>
              </a:ext>
            </a:extLst>
          </p:cNvPr>
          <p:cNvSpPr txBox="1">
            <a:spLocks noChangeAspect="1"/>
          </p:cNvSpPr>
          <p:nvPr/>
        </p:nvSpPr>
        <p:spPr>
          <a:xfrm>
            <a:off x="9383943" y="5701541"/>
            <a:ext cx="1686521" cy="246221"/>
          </a:xfrm>
          <a:prstGeom prst="rect">
            <a:avLst/>
          </a:prstGeom>
          <a:noFill/>
        </p:spPr>
        <p:txBody>
          <a:bodyPr wrap="square">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67AE"/>
                </a:solidFill>
                <a:effectLst/>
                <a:uLnTx/>
                <a:uFillTx/>
                <a:latin typeface="Zurich Sans Medium"/>
                <a:ea typeface="+mn-ea"/>
                <a:cs typeface="+mn-cs"/>
              </a:rPr>
              <a:t>Sustainability Manager</a:t>
            </a:r>
            <a:endParaRPr kumimoji="0" lang="en-US" sz="1000" b="0" i="0" u="none" strike="noStrike" kern="1200" cap="none" spc="0" normalizeH="0" baseline="0" noProof="0">
              <a:ln>
                <a:noFill/>
              </a:ln>
              <a:solidFill>
                <a:srgbClr val="2167AE"/>
              </a:solidFill>
              <a:effectLst/>
              <a:uLnTx/>
              <a:uFillTx/>
              <a:latin typeface="Zurich Sans Light"/>
              <a:ea typeface="+mn-ea"/>
              <a:cs typeface="+mn-cs"/>
            </a:endParaRPr>
          </a:p>
        </p:txBody>
      </p:sp>
      <p:pic>
        <p:nvPicPr>
          <p:cNvPr id="45" name="Picture 44" descr="A group of people sitting in chairs&#10;&#10;Description automatically generated">
            <a:extLst>
              <a:ext uri="{FF2B5EF4-FFF2-40B4-BE49-F238E27FC236}">
                <a16:creationId xmlns:a16="http://schemas.microsoft.com/office/drawing/2014/main" id="{D49D0CF3-4911-D590-6664-F3E9EF803AC2}"/>
              </a:ext>
            </a:extLst>
          </p:cNvPr>
          <p:cNvPicPr>
            <a:picLocks noChangeAspect="1"/>
          </p:cNvPicPr>
          <p:nvPr/>
        </p:nvPicPr>
        <p:blipFill rotWithShape="1">
          <a:blip r:embed="rId6">
            <a:extLst>
              <a:ext uri="{28A0092B-C50C-407E-A947-70E740481C1C}">
                <a14:useLocalDpi xmlns:a14="http://schemas.microsoft.com/office/drawing/2010/main" val="0"/>
              </a:ext>
            </a:extLst>
          </a:blip>
          <a:srcRect l="24254" t="8373" r="43271" b="37390"/>
          <a:stretch/>
        </p:blipFill>
        <p:spPr>
          <a:xfrm>
            <a:off x="8739709" y="5443127"/>
            <a:ext cx="730968" cy="730968"/>
          </a:xfrm>
          <a:prstGeom prst="ellipse">
            <a:avLst/>
          </a:prstGeom>
        </p:spPr>
      </p:pic>
      <p:sp>
        <p:nvSpPr>
          <p:cNvPr id="51" name="Rectangle 50">
            <a:extLst>
              <a:ext uri="{FF2B5EF4-FFF2-40B4-BE49-F238E27FC236}">
                <a16:creationId xmlns:a16="http://schemas.microsoft.com/office/drawing/2014/main" id="{DCCD4F8E-4BB2-C6D8-B75C-8CE47CD84A1B}"/>
              </a:ext>
            </a:extLst>
          </p:cNvPr>
          <p:cNvSpPr>
            <a:spLocks noChangeAspect="1"/>
          </p:cNvSpPr>
          <p:nvPr/>
        </p:nvSpPr>
        <p:spPr>
          <a:xfrm>
            <a:off x="9967867" y="6123948"/>
            <a:ext cx="1890703" cy="3816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ES" sz="1000" b="0" i="0" u="none" strike="noStrike" kern="1200" cap="none" spc="0" normalizeH="0" baseline="0" noProof="0">
              <a:ln>
                <a:noFill/>
              </a:ln>
              <a:solidFill>
                <a:srgbClr val="FFFFFF"/>
              </a:solidFill>
              <a:effectLst/>
              <a:uLnTx/>
              <a:uFillTx/>
              <a:latin typeface="Zurich Sans Light"/>
              <a:ea typeface="+mn-ea"/>
              <a:cs typeface="+mn-cs"/>
            </a:endParaRPr>
          </a:p>
        </p:txBody>
      </p:sp>
      <p:sp>
        <p:nvSpPr>
          <p:cNvPr id="52" name="TextBox 51">
            <a:extLst>
              <a:ext uri="{FF2B5EF4-FFF2-40B4-BE49-F238E27FC236}">
                <a16:creationId xmlns:a16="http://schemas.microsoft.com/office/drawing/2014/main" id="{1D096189-F8FA-3F12-F9A2-1EBB05252F90}"/>
              </a:ext>
            </a:extLst>
          </p:cNvPr>
          <p:cNvSpPr txBox="1">
            <a:spLocks noChangeAspect="1"/>
          </p:cNvSpPr>
          <p:nvPr/>
        </p:nvSpPr>
        <p:spPr>
          <a:xfrm>
            <a:off x="10028765" y="6183285"/>
            <a:ext cx="1327232" cy="246221"/>
          </a:xfrm>
          <a:prstGeom prst="rect">
            <a:avLst/>
          </a:prstGeom>
          <a:noFill/>
        </p:spPr>
        <p:txBody>
          <a:bodyPr wrap="square">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2167AE"/>
                </a:solidFill>
                <a:effectLst/>
                <a:uLnTx/>
                <a:uFillTx/>
                <a:latin typeface="Zurich Sans Medium"/>
                <a:ea typeface="+mn-ea"/>
                <a:cs typeface="+mn-cs"/>
              </a:rPr>
              <a:t>Standortleiter</a:t>
            </a:r>
            <a:endParaRPr kumimoji="0" lang="en-US" sz="1000" b="0" i="0" u="none" strike="noStrike" kern="1200" cap="none" spc="0" normalizeH="0" baseline="0" noProof="0">
              <a:ln>
                <a:noFill/>
              </a:ln>
              <a:solidFill>
                <a:srgbClr val="2167AE"/>
              </a:solidFill>
              <a:effectLst/>
              <a:uLnTx/>
              <a:uFillTx/>
              <a:latin typeface="Zurich Sans Light"/>
              <a:ea typeface="+mn-ea"/>
              <a:cs typeface="+mn-cs"/>
            </a:endParaRPr>
          </a:p>
        </p:txBody>
      </p:sp>
      <p:pic>
        <p:nvPicPr>
          <p:cNvPr id="53" name="Picture 52">
            <a:extLst>
              <a:ext uri="{FF2B5EF4-FFF2-40B4-BE49-F238E27FC236}">
                <a16:creationId xmlns:a16="http://schemas.microsoft.com/office/drawing/2014/main" id="{35E7B873-E6A0-6FA1-DC02-E55AB1864A32}"/>
              </a:ext>
            </a:extLst>
          </p:cNvPr>
          <p:cNvPicPr>
            <a:picLocks noChangeAspect="1"/>
          </p:cNvPicPr>
          <p:nvPr/>
        </p:nvPicPr>
        <p:blipFill rotWithShape="1">
          <a:blip r:embed="rId7">
            <a:extLst>
              <a:ext uri="{28A0092B-C50C-407E-A947-70E740481C1C}">
                <a14:useLocalDpi xmlns:a14="http://schemas.microsoft.com/office/drawing/2010/main" val="0"/>
              </a:ext>
            </a:extLst>
          </a:blip>
          <a:srcRect l="17675" t="12480" r="45507" b="32256"/>
          <a:stretch/>
        </p:blipFill>
        <p:spPr>
          <a:xfrm>
            <a:off x="9384278" y="5947530"/>
            <a:ext cx="730968" cy="730968"/>
          </a:xfrm>
          <a:prstGeom prst="ellipse">
            <a:avLst/>
          </a:prstGeom>
        </p:spPr>
      </p:pic>
      <p:sp>
        <p:nvSpPr>
          <p:cNvPr id="46" name="Rectangle 45">
            <a:extLst>
              <a:ext uri="{FF2B5EF4-FFF2-40B4-BE49-F238E27FC236}">
                <a16:creationId xmlns:a16="http://schemas.microsoft.com/office/drawing/2014/main" id="{3099F228-9ECB-706C-6B4D-AB1C223D30C4}"/>
              </a:ext>
            </a:extLst>
          </p:cNvPr>
          <p:cNvSpPr>
            <a:spLocks noChangeAspect="1"/>
          </p:cNvSpPr>
          <p:nvPr/>
        </p:nvSpPr>
        <p:spPr>
          <a:xfrm>
            <a:off x="9950320" y="5157783"/>
            <a:ext cx="1908252" cy="3816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ES" sz="1000" b="0" i="0" u="none" strike="noStrike" kern="1200" cap="none" spc="0" normalizeH="0" baseline="0" noProof="0">
              <a:ln>
                <a:noFill/>
              </a:ln>
              <a:solidFill>
                <a:srgbClr val="FFFFFF"/>
              </a:solidFill>
              <a:effectLst/>
              <a:uLnTx/>
              <a:uFillTx/>
              <a:latin typeface="Zurich Sans Light"/>
              <a:ea typeface="+mn-ea"/>
              <a:cs typeface="+mn-cs"/>
            </a:endParaRPr>
          </a:p>
        </p:txBody>
      </p:sp>
      <p:sp>
        <p:nvSpPr>
          <p:cNvPr id="47" name="TextBox 46">
            <a:extLst>
              <a:ext uri="{FF2B5EF4-FFF2-40B4-BE49-F238E27FC236}">
                <a16:creationId xmlns:a16="http://schemas.microsoft.com/office/drawing/2014/main" id="{97A62828-4739-242C-8EAA-7C2BD9BD69CA}"/>
              </a:ext>
            </a:extLst>
          </p:cNvPr>
          <p:cNvSpPr txBox="1">
            <a:spLocks noChangeAspect="1"/>
          </p:cNvSpPr>
          <p:nvPr/>
        </p:nvSpPr>
        <p:spPr>
          <a:xfrm>
            <a:off x="10114908" y="5239418"/>
            <a:ext cx="1492451" cy="246221"/>
          </a:xfrm>
          <a:prstGeom prst="rect">
            <a:avLst/>
          </a:prstGeom>
          <a:noFill/>
        </p:spPr>
        <p:txBody>
          <a:bodyPr wrap="square">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67AE"/>
                </a:solidFill>
                <a:effectLst/>
                <a:uLnTx/>
                <a:uFillTx/>
                <a:latin typeface="Zurich Sans Medium"/>
                <a:ea typeface="+mn-ea"/>
                <a:cs typeface="+mn-cs"/>
              </a:rPr>
              <a:t>Chief Financial Officer</a:t>
            </a:r>
            <a:endParaRPr kumimoji="0" lang="en-US" sz="1000" b="0" i="0" u="none" strike="noStrike" kern="1200" cap="none" spc="0" normalizeH="0" baseline="0" noProof="0">
              <a:ln>
                <a:noFill/>
              </a:ln>
              <a:solidFill>
                <a:srgbClr val="2167AE"/>
              </a:solidFill>
              <a:effectLst/>
              <a:uLnTx/>
              <a:uFillTx/>
              <a:latin typeface="Zurich Sans Light"/>
              <a:ea typeface="+mn-ea"/>
              <a:cs typeface="+mn-cs"/>
            </a:endParaRPr>
          </a:p>
        </p:txBody>
      </p:sp>
      <p:pic>
        <p:nvPicPr>
          <p:cNvPr id="56" name="Picture 55">
            <a:extLst>
              <a:ext uri="{FF2B5EF4-FFF2-40B4-BE49-F238E27FC236}">
                <a16:creationId xmlns:a16="http://schemas.microsoft.com/office/drawing/2014/main" id="{9A635B48-A55F-F275-FB90-1051D4A9BDFF}"/>
              </a:ext>
            </a:extLst>
          </p:cNvPr>
          <p:cNvPicPr>
            <a:picLocks noChangeAspect="1"/>
          </p:cNvPicPr>
          <p:nvPr/>
        </p:nvPicPr>
        <p:blipFill rotWithShape="1">
          <a:blip r:embed="rId8">
            <a:extLst>
              <a:ext uri="{28A0092B-C50C-407E-A947-70E740481C1C}">
                <a14:useLocalDpi xmlns:a14="http://schemas.microsoft.com/office/drawing/2010/main" val="0"/>
              </a:ext>
            </a:extLst>
          </a:blip>
          <a:srcRect l="38563" t="21340" r="37874" b="43294"/>
          <a:stretch/>
        </p:blipFill>
        <p:spPr>
          <a:xfrm>
            <a:off x="9383942" y="4970575"/>
            <a:ext cx="730968" cy="730968"/>
          </a:xfrm>
          <a:prstGeom prst="ellipse">
            <a:avLst/>
          </a:prstGeom>
        </p:spPr>
      </p:pic>
      <p:grpSp>
        <p:nvGrpSpPr>
          <p:cNvPr id="4" name="Group 67">
            <a:extLst>
              <a:ext uri="{FF2B5EF4-FFF2-40B4-BE49-F238E27FC236}">
                <a16:creationId xmlns:a16="http://schemas.microsoft.com/office/drawing/2014/main" id="{DAD19E00-97B6-C211-8544-944F9A551173}"/>
              </a:ext>
            </a:extLst>
          </p:cNvPr>
          <p:cNvGrpSpPr/>
          <p:nvPr/>
        </p:nvGrpSpPr>
        <p:grpSpPr>
          <a:xfrm>
            <a:off x="330867" y="4097416"/>
            <a:ext cx="5507663" cy="2952486"/>
            <a:chOff x="221682" y="3984397"/>
            <a:chExt cx="5718495" cy="3065506"/>
          </a:xfrm>
        </p:grpSpPr>
        <p:grpSp>
          <p:nvGrpSpPr>
            <p:cNvPr id="9" name="Group 63">
              <a:extLst>
                <a:ext uri="{FF2B5EF4-FFF2-40B4-BE49-F238E27FC236}">
                  <a16:creationId xmlns:a16="http://schemas.microsoft.com/office/drawing/2014/main" id="{4E51AB53-0C39-2152-E45C-736D4A2F84BB}"/>
                </a:ext>
              </a:extLst>
            </p:cNvPr>
            <p:cNvGrpSpPr/>
            <p:nvPr/>
          </p:nvGrpSpPr>
          <p:grpSpPr>
            <a:xfrm>
              <a:off x="3061194" y="4170921"/>
              <a:ext cx="2878983" cy="2878982"/>
              <a:chOff x="8493780" y="3932354"/>
              <a:chExt cx="2675178" cy="2675178"/>
            </a:xfrm>
          </p:grpSpPr>
          <p:pic>
            <p:nvPicPr>
              <p:cNvPr id="11" name="Picture 58" descr="A computer monitor with a blank screen&#10;&#10;Description automatically generated">
                <a:extLst>
                  <a:ext uri="{FF2B5EF4-FFF2-40B4-BE49-F238E27FC236}">
                    <a16:creationId xmlns:a16="http://schemas.microsoft.com/office/drawing/2014/main" id="{8782B0CD-89EC-1F3B-DDC9-360DE4BAC68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493780" y="3932354"/>
                <a:ext cx="2675178" cy="2675178"/>
              </a:xfrm>
              <a:prstGeom prst="rect">
                <a:avLst/>
              </a:prstGeom>
            </p:spPr>
          </p:pic>
          <p:pic>
            <p:nvPicPr>
              <p:cNvPr id="12" name="Picture 62">
                <a:extLst>
                  <a:ext uri="{FF2B5EF4-FFF2-40B4-BE49-F238E27FC236}">
                    <a16:creationId xmlns:a16="http://schemas.microsoft.com/office/drawing/2014/main" id="{5F0E2BD9-355E-E0A7-9888-10FB31956421}"/>
                  </a:ext>
                </a:extLst>
              </p:cNvPr>
              <p:cNvPicPr>
                <a:picLocks noChangeAspect="1"/>
              </p:cNvPicPr>
              <p:nvPr/>
            </p:nvPicPr>
            <p:blipFill rotWithShape="1">
              <a:blip r:embed="rId10">
                <a:clrChange>
                  <a:clrFrom>
                    <a:srgbClr val="B6B8B8"/>
                  </a:clrFrom>
                  <a:clrTo>
                    <a:srgbClr val="B6B8B8">
                      <a:alpha val="0"/>
                    </a:srgbClr>
                  </a:clrTo>
                </a:clrChange>
              </a:blip>
              <a:srcRect l="438" t="2065" r="1190" b="2103"/>
              <a:stretch/>
            </p:blipFill>
            <p:spPr>
              <a:xfrm>
                <a:off x="8813801" y="4371975"/>
                <a:ext cx="2070100" cy="1216025"/>
              </a:xfrm>
              <a:prstGeom prst="rect">
                <a:avLst/>
              </a:prstGeom>
            </p:spPr>
          </p:pic>
        </p:grpSp>
        <p:pic>
          <p:nvPicPr>
            <p:cNvPr id="10" name="Picture 65" descr="Hands holding a tablet with a map and graphs&#10;&#10;Description automatically generated">
              <a:extLst>
                <a:ext uri="{FF2B5EF4-FFF2-40B4-BE49-F238E27FC236}">
                  <a16:creationId xmlns:a16="http://schemas.microsoft.com/office/drawing/2014/main" id="{5BF5162B-B7F0-7927-2CE3-8FB9FF04366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21682" y="3984397"/>
              <a:ext cx="3458839" cy="2882365"/>
            </a:xfrm>
            <a:prstGeom prst="rect">
              <a:avLst/>
            </a:prstGeom>
          </p:spPr>
        </p:pic>
      </p:grpSp>
      <p:grpSp>
        <p:nvGrpSpPr>
          <p:cNvPr id="6" name="Group 1">
            <a:extLst>
              <a:ext uri="{FF2B5EF4-FFF2-40B4-BE49-F238E27FC236}">
                <a16:creationId xmlns:a16="http://schemas.microsoft.com/office/drawing/2014/main" id="{349B6ED8-EB0E-5A26-B6B2-D048228B34E7}"/>
              </a:ext>
            </a:extLst>
          </p:cNvPr>
          <p:cNvGrpSpPr/>
          <p:nvPr/>
        </p:nvGrpSpPr>
        <p:grpSpPr>
          <a:xfrm>
            <a:off x="250823" y="289004"/>
            <a:ext cx="9724302" cy="320056"/>
            <a:chOff x="250823" y="289004"/>
            <a:chExt cx="9724302" cy="320056"/>
          </a:xfrm>
        </p:grpSpPr>
        <p:sp>
          <p:nvSpPr>
            <p:cNvPr id="7" name="Rounded Rectangle 5">
              <a:extLst>
                <a:ext uri="{FF2B5EF4-FFF2-40B4-BE49-F238E27FC236}">
                  <a16:creationId xmlns:a16="http://schemas.microsoft.com/office/drawing/2014/main" id="{ADE2EEB9-BE76-0BE5-582E-AED486DD6469}"/>
                </a:ext>
              </a:extLst>
            </p:cNvPr>
            <p:cNvSpPr/>
            <p:nvPr/>
          </p:nvSpPr>
          <p:spPr>
            <a:xfrm>
              <a:off x="250823" y="289004"/>
              <a:ext cx="1620000" cy="32005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chemeClr val="accent5"/>
                  </a:solidFill>
                </a:rPr>
                <a:t>Portfolioebene</a:t>
              </a:r>
            </a:p>
          </p:txBody>
        </p:sp>
        <p:sp>
          <p:nvSpPr>
            <p:cNvPr id="13" name="Rounded Rectangle 6">
              <a:extLst>
                <a:ext uri="{FF2B5EF4-FFF2-40B4-BE49-F238E27FC236}">
                  <a16:creationId xmlns:a16="http://schemas.microsoft.com/office/drawing/2014/main" id="{1DC47B64-CFDE-B507-5F9F-3E5AA3EDD983}"/>
                </a:ext>
              </a:extLst>
            </p:cNvPr>
            <p:cNvSpPr/>
            <p:nvPr/>
          </p:nvSpPr>
          <p:spPr>
            <a:xfrm>
              <a:off x="1873116" y="289004"/>
              <a:ext cx="1620000" cy="320056"/>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Identifikation</a:t>
              </a:r>
            </a:p>
          </p:txBody>
        </p:sp>
        <p:sp>
          <p:nvSpPr>
            <p:cNvPr id="14" name="Rounded Rectangle 11">
              <a:extLst>
                <a:ext uri="{FF2B5EF4-FFF2-40B4-BE49-F238E27FC236}">
                  <a16:creationId xmlns:a16="http://schemas.microsoft.com/office/drawing/2014/main" id="{E345092F-4B1B-5FE1-98D2-A831646B7661}"/>
                </a:ext>
              </a:extLst>
            </p:cNvPr>
            <p:cNvSpPr/>
            <p:nvPr/>
          </p:nvSpPr>
          <p:spPr>
            <a:xfrm>
              <a:off x="3490425" y="289004"/>
              <a:ext cx="1620000" cy="32005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5"/>
                  </a:solidFill>
                </a:rPr>
                <a:t>Priorisierung</a:t>
              </a:r>
            </a:p>
          </p:txBody>
        </p:sp>
        <p:sp>
          <p:nvSpPr>
            <p:cNvPr id="15" name="Rounded Rectangle 13">
              <a:extLst>
                <a:ext uri="{FF2B5EF4-FFF2-40B4-BE49-F238E27FC236}">
                  <a16:creationId xmlns:a16="http://schemas.microsoft.com/office/drawing/2014/main" id="{B76A731C-6CAC-E58A-ECEC-17C635BFB3D7}"/>
                </a:ext>
              </a:extLst>
            </p:cNvPr>
            <p:cNvSpPr/>
            <p:nvPr/>
          </p:nvSpPr>
          <p:spPr>
            <a:xfrm>
              <a:off x="5113770"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rgbClr val="2167AE"/>
                  </a:solidFill>
                </a:rPr>
                <a:t>Standortebene</a:t>
              </a:r>
            </a:p>
          </p:txBody>
        </p:sp>
        <p:sp>
          <p:nvSpPr>
            <p:cNvPr id="18" name="Rounded Rectangle 17">
              <a:extLst>
                <a:ext uri="{FF2B5EF4-FFF2-40B4-BE49-F238E27FC236}">
                  <a16:creationId xmlns:a16="http://schemas.microsoft.com/office/drawing/2014/main" id="{47CAD672-33B7-4F41-BE2C-90A684960B05}"/>
                </a:ext>
              </a:extLst>
            </p:cNvPr>
            <p:cNvSpPr/>
            <p:nvPr/>
          </p:nvSpPr>
          <p:spPr>
            <a:xfrm>
              <a:off x="6732879"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Quantifizierung</a:t>
              </a:r>
            </a:p>
          </p:txBody>
        </p:sp>
        <p:sp>
          <p:nvSpPr>
            <p:cNvPr id="19" name="Rounded Rectangle 18">
              <a:extLst>
                <a:ext uri="{FF2B5EF4-FFF2-40B4-BE49-F238E27FC236}">
                  <a16:creationId xmlns:a16="http://schemas.microsoft.com/office/drawing/2014/main" id="{5549F49E-CE8F-3299-5818-B767D8B13A10}"/>
                </a:ext>
              </a:extLst>
            </p:cNvPr>
            <p:cNvSpPr/>
            <p:nvPr/>
          </p:nvSpPr>
          <p:spPr>
            <a:xfrm>
              <a:off x="8355125"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Adaption</a:t>
              </a:r>
            </a:p>
          </p:txBody>
        </p:sp>
      </p:grpSp>
      <p:sp>
        <p:nvSpPr>
          <p:cNvPr id="8" name="Foliennummernplatzhalter 7">
            <a:extLst>
              <a:ext uri="{FF2B5EF4-FFF2-40B4-BE49-F238E27FC236}">
                <a16:creationId xmlns:a16="http://schemas.microsoft.com/office/drawing/2014/main" id="{9D06DFA7-5BFE-C216-0685-1E0B5E788A44}"/>
              </a:ext>
            </a:extLst>
          </p:cNvPr>
          <p:cNvSpPr>
            <a:spLocks noGrp="1"/>
          </p:cNvSpPr>
          <p:nvPr>
            <p:ph type="sldNum" sz="quarter" idx="4"/>
          </p:nvPr>
        </p:nvSpPr>
        <p:spPr>
          <a:xfrm>
            <a:off x="10778721" y="6622650"/>
            <a:ext cx="551115" cy="181960"/>
          </a:xfrm>
        </p:spPr>
        <p:txBody>
          <a:bodyPr/>
          <a:lstStyle/>
          <a:p>
            <a:fld id="{FA58F0B4-6BC7-4BFB-804F-EE9B892902C7}" type="slidenum">
              <a:rPr lang="en-US" smtClean="0"/>
              <a:pPr/>
              <a:t>13</a:t>
            </a:fld>
            <a:endParaRPr lang="en-US"/>
          </a:p>
        </p:txBody>
      </p:sp>
    </p:spTree>
    <p:extLst>
      <p:ext uri="{BB962C8B-B14F-4D97-AF65-F5344CB8AC3E}">
        <p14:creationId xmlns:p14="http://schemas.microsoft.com/office/powerpoint/2010/main" val="16421255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A4C292-515A-4118-D3CD-2A0ACA43BF68}"/>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DA479B02-7EB2-9623-9722-47BB5817FC4F}"/>
              </a:ext>
            </a:extLst>
          </p:cNvPr>
          <p:cNvSpPr txBox="1"/>
          <p:nvPr/>
        </p:nvSpPr>
        <p:spPr>
          <a:xfrm>
            <a:off x="250823" y="940223"/>
            <a:ext cx="11515838" cy="116955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2167AE"/>
                </a:solidFill>
                <a:effectLst/>
                <a:uLnTx/>
                <a:uFillTx/>
                <a:latin typeface="Zurich Sans Light"/>
                <a:ea typeface="+mn-ea"/>
                <a:cs typeface="+mn-cs"/>
              </a:rPr>
              <a:t>Für eine umfassende Risikoeinschätzung empfiehlt sich ergänzend zu der Klimarisikoanalyse eine Standortbewertung. Diese kann als Desktop- oder Vor-Ort-Analyse durchgeführt werden. Sie kann auch unabhängig erfolgen und basiert auf den zur Verfügung stehenden bzw. öffentlich verfügbaren Informationen. Das Ergebnis ist ein detaillierter Bericht mit konkreten Handlungsempfehlung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10" normalizeH="0" baseline="0" noProof="0">
              <a:ln>
                <a:noFill/>
              </a:ln>
              <a:solidFill>
                <a:srgbClr val="2167AE"/>
              </a:solidFill>
              <a:effectLst/>
              <a:uLnTx/>
              <a:uFillTx/>
              <a:latin typeface="Zurich Sans Light" panose="02000000000000000000" pitchFamily="2" charset="0"/>
              <a:ea typeface="+mn-ea"/>
              <a:cs typeface="Arial" panose="020B0604020202020204" pitchFamily="34" charset="0"/>
            </a:endParaRPr>
          </a:p>
        </p:txBody>
      </p:sp>
      <p:sp>
        <p:nvSpPr>
          <p:cNvPr id="5" name="Rectangle 4">
            <a:extLst>
              <a:ext uri="{FF2B5EF4-FFF2-40B4-BE49-F238E27FC236}">
                <a16:creationId xmlns:a16="http://schemas.microsoft.com/office/drawing/2014/main" id="{2DA058C7-7282-FFF0-C3BB-51D197BC8517}"/>
              </a:ext>
            </a:extLst>
          </p:cNvPr>
          <p:cNvSpPr/>
          <p:nvPr/>
        </p:nvSpPr>
        <p:spPr>
          <a:xfrm>
            <a:off x="0" y="2024062"/>
            <a:ext cx="5917768" cy="4389120"/>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Zurich Sans Light"/>
              <a:ea typeface="+mn-ea"/>
              <a:cs typeface="+mn-cs"/>
            </a:endParaRPr>
          </a:p>
        </p:txBody>
      </p:sp>
      <p:pic>
        <p:nvPicPr>
          <p:cNvPr id="2" name="Picture 1">
            <a:extLst>
              <a:ext uri="{FF2B5EF4-FFF2-40B4-BE49-F238E27FC236}">
                <a16:creationId xmlns:a16="http://schemas.microsoft.com/office/drawing/2014/main" id="{D27C244F-BE2E-CA6A-D433-65DB0156135A}"/>
              </a:ext>
            </a:extLst>
          </p:cNvPr>
          <p:cNvPicPr>
            <a:picLocks noGrp="1" noRot="1" noChangeAspect="1" noMove="1" noResize="1" noEditPoints="1" noAdjustHandles="1" noChangeArrowheads="1" noChangeShapeType="1" noCrop="1"/>
          </p:cNvPicPr>
          <p:nvPr/>
        </p:nvPicPr>
        <p:blipFill>
          <a:blip r:embed="rId4"/>
          <a:stretch>
            <a:fillRect/>
          </a:stretch>
        </p:blipFill>
        <p:spPr>
          <a:xfrm>
            <a:off x="418448" y="2272498"/>
            <a:ext cx="685800" cy="685800"/>
          </a:xfrm>
          <a:prstGeom prst="rect">
            <a:avLst/>
          </a:prstGeom>
        </p:spPr>
      </p:pic>
      <p:graphicFrame>
        <p:nvGraphicFramePr>
          <p:cNvPr id="12" name="think-cell data - do not delete" hidden="1">
            <a:extLst>
              <a:ext uri="{FF2B5EF4-FFF2-40B4-BE49-F238E27FC236}">
                <a16:creationId xmlns:a16="http://schemas.microsoft.com/office/drawing/2014/main" id="{4171511D-ECA6-D284-F382-CE08625014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0" progId="TCLayout.ActiveDocument.1">
                  <p:embed/>
                </p:oleObj>
              </mc:Choice>
              <mc:Fallback>
                <p:oleObj name="think-cell Slide" r:id="rId5" imgW="421" imgH="420" progId="TCLayout.ActiveDocument.1">
                  <p:embed/>
                  <p:pic>
                    <p:nvPicPr>
                      <p:cNvPr id="12" name="think-cell data - do not delete" hidden="1">
                        <a:extLst>
                          <a:ext uri="{FF2B5EF4-FFF2-40B4-BE49-F238E27FC236}">
                            <a16:creationId xmlns:a16="http://schemas.microsoft.com/office/drawing/2014/main" id="{4171511D-ECA6-D284-F382-CE08625014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4025400-3AA4-36D6-97C6-EBDAA063161B}"/>
              </a:ext>
            </a:extLst>
          </p:cNvPr>
          <p:cNvSpPr/>
          <p:nvPr/>
        </p:nvSpPr>
        <p:spPr>
          <a:xfrm>
            <a:off x="1215168" y="2426744"/>
            <a:ext cx="2037417" cy="312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167AE"/>
                </a:solidFill>
                <a:effectLst/>
                <a:uLnTx/>
                <a:uFillTx/>
                <a:latin typeface="Zurich Sans Medium"/>
                <a:ea typeface="+mn-ea"/>
                <a:cs typeface="+mn-cs"/>
              </a:rPr>
              <a:t>Desktop-</a:t>
            </a:r>
            <a:r>
              <a:rPr kumimoji="0" lang="en-US" sz="2000" b="0" i="0" u="none" strike="noStrike" kern="1200" cap="none" spc="0" normalizeH="0" baseline="0" noProof="0" err="1">
                <a:ln>
                  <a:noFill/>
                </a:ln>
                <a:solidFill>
                  <a:srgbClr val="2167AE"/>
                </a:solidFill>
                <a:effectLst/>
                <a:uLnTx/>
                <a:uFillTx/>
                <a:latin typeface="Zurich Sans Medium"/>
                <a:ea typeface="+mn-ea"/>
                <a:cs typeface="+mn-cs"/>
              </a:rPr>
              <a:t>Analyse</a:t>
            </a:r>
            <a:endParaRPr kumimoji="0" lang="en-ES" sz="1400" b="0" i="0" u="none" strike="noStrike" kern="1200" cap="none" spc="0" normalizeH="0" baseline="0" noProof="0">
              <a:ln>
                <a:noFill/>
              </a:ln>
              <a:solidFill>
                <a:srgbClr val="FFFFFF"/>
              </a:solidFill>
              <a:effectLst/>
              <a:uLnTx/>
              <a:uFillTx/>
              <a:latin typeface="Zurich Sans Light"/>
              <a:ea typeface="+mn-ea"/>
              <a:cs typeface="+mn-cs"/>
            </a:endParaRPr>
          </a:p>
        </p:txBody>
      </p:sp>
      <p:sp>
        <p:nvSpPr>
          <p:cNvPr id="22" name="Rectangle 21">
            <a:extLst>
              <a:ext uri="{FF2B5EF4-FFF2-40B4-BE49-F238E27FC236}">
                <a16:creationId xmlns:a16="http://schemas.microsoft.com/office/drawing/2014/main" id="{A283DF74-E995-409A-7CE7-724721E053E4}"/>
              </a:ext>
            </a:extLst>
          </p:cNvPr>
          <p:cNvSpPr/>
          <p:nvPr/>
        </p:nvSpPr>
        <p:spPr>
          <a:xfrm>
            <a:off x="418448" y="3170333"/>
            <a:ext cx="5033118" cy="3108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182880" marR="0" lvl="0" indent="-18288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de-DE" sz="1400" b="0" i="0" u="none" strike="noStrike" kern="1200" cap="none" spc="-10" normalizeH="0" baseline="0" noProof="0">
                <a:ln>
                  <a:noFill/>
                </a:ln>
                <a:solidFill>
                  <a:srgbClr val="2167AE"/>
                </a:solidFill>
                <a:effectLst/>
                <a:uLnTx/>
                <a:uFillTx/>
                <a:latin typeface="Zurich Sans Light (Body)"/>
                <a:ea typeface="+mn-ea"/>
                <a:cs typeface="Arial" panose="020B0604020202020204" pitchFamily="34" charset="0"/>
              </a:rPr>
              <a:t>Analyse eines bestimmten Standorts „aus der Ferne“, bei der die höchsten Gefährdungsstufen und deren Auswirkungen auf standortspezifische kritische Punkte untersucht werden. </a:t>
            </a:r>
          </a:p>
          <a:p>
            <a:pPr marL="182880" marR="0" lvl="0" indent="-18288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de-DE" sz="1400" b="0" i="0" u="none" strike="noStrike" kern="1200" cap="none" spc="-10" normalizeH="0" baseline="0" noProof="0">
                <a:ln>
                  <a:noFill/>
                </a:ln>
                <a:solidFill>
                  <a:srgbClr val="2167AE"/>
                </a:solidFill>
                <a:effectLst/>
                <a:uLnTx/>
                <a:uFillTx/>
                <a:latin typeface="Zurich Sans Light (Body)"/>
                <a:ea typeface="+mn-ea"/>
                <a:cs typeface="Arial" panose="020B0604020202020204" pitchFamily="34" charset="0"/>
              </a:rPr>
              <a:t>Dies ist der Ausgangspunkt, um die Gefährdungslage und die Eignung der bestehenden Kontrollen zu ermitteln und festzustellen, welche Anpassungen ggf. erforderlich sind.</a:t>
            </a:r>
          </a:p>
          <a:p>
            <a:pPr marL="182880" marR="0" lvl="0" indent="-18288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de-DE" sz="1400" b="0" i="0" u="none" strike="noStrike" kern="1200" cap="none" spc="-10" normalizeH="0" baseline="0" noProof="0">
                <a:ln>
                  <a:noFill/>
                </a:ln>
                <a:solidFill>
                  <a:srgbClr val="2167AE"/>
                </a:solidFill>
                <a:effectLst/>
                <a:uLnTx/>
                <a:uFillTx/>
                <a:latin typeface="Zurich Sans Light (Body)"/>
                <a:ea typeface="+mn-ea"/>
                <a:cs typeface="Arial" panose="020B0604020202020204" pitchFamily="34" charset="0"/>
              </a:rPr>
              <a:t>Schadensszenarien und -kalkulationen, um Sie bei der Entscheidungsfindung und Priorisierung von Klimaanpassungs- und </a:t>
            </a:r>
            <a:r>
              <a:rPr kumimoji="0" lang="de-DE" sz="1400" b="0" i="0" u="none" strike="noStrike" kern="1200" cap="none" spc="-10" normalizeH="0" baseline="0" noProof="0" err="1">
                <a:ln>
                  <a:noFill/>
                </a:ln>
                <a:solidFill>
                  <a:srgbClr val="2167AE"/>
                </a:solidFill>
                <a:effectLst/>
                <a:uLnTx/>
                <a:uFillTx/>
                <a:latin typeface="Zurich Sans Light (Body)"/>
                <a:ea typeface="+mn-ea"/>
                <a:cs typeface="Arial" panose="020B0604020202020204" pitchFamily="34" charset="0"/>
              </a:rPr>
              <a:t>Resilienzmaßnahmen</a:t>
            </a:r>
            <a:r>
              <a:rPr kumimoji="0" lang="de-DE" sz="1400" b="0" i="0" u="none" strike="noStrike" kern="1200" cap="none" spc="-10" normalizeH="0" baseline="0" noProof="0">
                <a:ln>
                  <a:noFill/>
                </a:ln>
                <a:solidFill>
                  <a:srgbClr val="2167AE"/>
                </a:solidFill>
                <a:effectLst/>
                <a:uLnTx/>
                <a:uFillTx/>
                <a:latin typeface="Zurich Sans Light (Body)"/>
                <a:ea typeface="+mn-ea"/>
                <a:cs typeface="Arial" panose="020B0604020202020204" pitchFamily="34" charset="0"/>
              </a:rPr>
              <a:t> zu unterstützen.</a:t>
            </a:r>
          </a:p>
        </p:txBody>
      </p:sp>
      <p:sp>
        <p:nvSpPr>
          <p:cNvPr id="4" name="Rectangle 3">
            <a:extLst>
              <a:ext uri="{FF2B5EF4-FFF2-40B4-BE49-F238E27FC236}">
                <a16:creationId xmlns:a16="http://schemas.microsoft.com/office/drawing/2014/main" id="{373D9104-1057-D063-F075-80F7AE82CF0F}"/>
              </a:ext>
            </a:extLst>
          </p:cNvPr>
          <p:cNvSpPr/>
          <p:nvPr/>
        </p:nvSpPr>
        <p:spPr>
          <a:xfrm>
            <a:off x="5917768" y="2024062"/>
            <a:ext cx="5854144" cy="438912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6" tIns="107986" rIns="107986" bIns="10798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Zurich Sans Light"/>
              <a:ea typeface="+mn-ea"/>
              <a:cs typeface="+mn-cs"/>
            </a:endParaRPr>
          </a:p>
        </p:txBody>
      </p:sp>
      <p:sp>
        <p:nvSpPr>
          <p:cNvPr id="6" name="Rectangle 5">
            <a:extLst>
              <a:ext uri="{FF2B5EF4-FFF2-40B4-BE49-F238E27FC236}">
                <a16:creationId xmlns:a16="http://schemas.microsoft.com/office/drawing/2014/main" id="{58944531-E1B9-EBDC-7C35-E9BA960A672F}"/>
              </a:ext>
            </a:extLst>
          </p:cNvPr>
          <p:cNvSpPr/>
          <p:nvPr/>
        </p:nvSpPr>
        <p:spPr>
          <a:xfrm>
            <a:off x="7114817" y="2426744"/>
            <a:ext cx="2301912" cy="312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cap="none" spc="0" normalizeH="0" baseline="0" noProof="0" err="1">
                <a:ln>
                  <a:noFill/>
                </a:ln>
                <a:solidFill>
                  <a:srgbClr val="2167AE"/>
                </a:solidFill>
                <a:effectLst/>
                <a:uLnTx/>
                <a:uFillTx/>
                <a:latin typeface="Zurich Sans Medium"/>
                <a:ea typeface="+mn-ea"/>
                <a:cs typeface="+mn-cs"/>
              </a:rPr>
              <a:t>Vor</a:t>
            </a:r>
            <a:r>
              <a:rPr kumimoji="0" lang="en-US" sz="2000" b="0" i="0" u="none" strike="noStrike" kern="1200" cap="none" spc="0" normalizeH="0" baseline="0" noProof="0">
                <a:ln>
                  <a:noFill/>
                </a:ln>
                <a:solidFill>
                  <a:srgbClr val="2167AE"/>
                </a:solidFill>
                <a:effectLst/>
                <a:uLnTx/>
                <a:uFillTx/>
                <a:latin typeface="Zurich Sans Medium"/>
                <a:ea typeface="+mn-ea"/>
                <a:cs typeface="+mn-cs"/>
              </a:rPr>
              <a:t>-Ort-</a:t>
            </a:r>
            <a:r>
              <a:rPr kumimoji="0" lang="en-US" sz="2000" b="0" i="0" u="none" strike="noStrike" kern="1200" cap="none" spc="0" normalizeH="0" baseline="0" noProof="0" err="1">
                <a:ln>
                  <a:noFill/>
                </a:ln>
                <a:solidFill>
                  <a:srgbClr val="2167AE"/>
                </a:solidFill>
                <a:effectLst/>
                <a:uLnTx/>
                <a:uFillTx/>
                <a:latin typeface="Zurich Sans Medium"/>
                <a:ea typeface="+mn-ea"/>
                <a:cs typeface="+mn-cs"/>
              </a:rPr>
              <a:t>Bewertung</a:t>
            </a:r>
            <a:endParaRPr kumimoji="0" lang="en-ES" sz="1400" b="0" i="0" u="none" strike="noStrike" kern="1200" cap="none" spc="0" normalizeH="0" baseline="0" noProof="0">
              <a:ln>
                <a:noFill/>
              </a:ln>
              <a:solidFill>
                <a:srgbClr val="FFFFFF"/>
              </a:solidFill>
              <a:effectLst/>
              <a:uLnTx/>
              <a:uFillTx/>
              <a:latin typeface="Zurich Sans Medium"/>
              <a:ea typeface="+mn-ea"/>
              <a:cs typeface="+mn-cs"/>
            </a:endParaRPr>
          </a:p>
        </p:txBody>
      </p:sp>
      <p:sp>
        <p:nvSpPr>
          <p:cNvPr id="11" name="Rectangle 10">
            <a:extLst>
              <a:ext uri="{FF2B5EF4-FFF2-40B4-BE49-F238E27FC236}">
                <a16:creationId xmlns:a16="http://schemas.microsoft.com/office/drawing/2014/main" id="{665A6BAC-15CD-779E-9952-17BD3015C9E7}"/>
              </a:ext>
            </a:extLst>
          </p:cNvPr>
          <p:cNvSpPr/>
          <p:nvPr/>
        </p:nvSpPr>
        <p:spPr>
          <a:xfrm>
            <a:off x="6096000" y="3164294"/>
            <a:ext cx="5675912" cy="3108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182880" marR="0" lvl="0" indent="-18288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de-DE" sz="1400" b="0" i="0" u="none" strike="noStrike" kern="1200" cap="none" spc="0" normalizeH="0" baseline="0" noProof="0">
                <a:ln>
                  <a:noFill/>
                </a:ln>
                <a:solidFill>
                  <a:srgbClr val="2167AE"/>
                </a:solidFill>
                <a:effectLst/>
                <a:uLnTx/>
                <a:uFillTx/>
                <a:latin typeface="Zurich Sans Light (Body)"/>
                <a:ea typeface="+mn-ea"/>
                <a:cs typeface="Arial" panose="020B0604020202020204" pitchFamily="34" charset="0"/>
              </a:rPr>
              <a:t>Alle Merkmale aus der Desktop-Analyse werden berücksichtigt.</a:t>
            </a:r>
          </a:p>
          <a:p>
            <a:pPr marL="182880" marR="0" lvl="0" indent="-18288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de-DE" sz="1400" b="0" i="0" u="none" strike="noStrike" kern="1200" cap="none" spc="0" normalizeH="0" baseline="0" noProof="0">
                <a:ln>
                  <a:noFill/>
                </a:ln>
                <a:solidFill>
                  <a:srgbClr val="2167AE"/>
                </a:solidFill>
                <a:effectLst/>
                <a:uLnTx/>
                <a:uFillTx/>
                <a:latin typeface="Zurich Sans Light (Body)"/>
                <a:ea typeface="+mn-ea"/>
                <a:cs typeface="Arial" panose="020B0604020202020204" pitchFamily="34" charset="0"/>
              </a:rPr>
              <a:t>Bewertung der Auswirkungen aktueller und zukünftiger Naturgefahren auf die gesamte Wertschöpfungskette.</a:t>
            </a:r>
          </a:p>
          <a:p>
            <a:pPr marL="182880" marR="0" lvl="0" indent="-18288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de-DE" sz="1400" b="0" i="0" u="none" strike="noStrike" kern="1200" cap="none" spc="0" normalizeH="0" baseline="0" noProof="0">
                <a:ln>
                  <a:noFill/>
                </a:ln>
                <a:solidFill>
                  <a:srgbClr val="2167AE"/>
                </a:solidFill>
                <a:effectLst/>
                <a:uLnTx/>
                <a:uFillTx/>
                <a:latin typeface="Zurich Sans Light (Body)"/>
                <a:ea typeface="+mn-ea"/>
                <a:cs typeface="Arial" panose="020B0604020202020204" pitchFamily="34" charset="0"/>
              </a:rPr>
              <a:t>Begehung durch einen fachkundigen Risikoingenieur inkl. Vorbereitungstermin, detaillierte vor Ort Analyse und Abschlusspräsentation.</a:t>
            </a:r>
          </a:p>
          <a:p>
            <a:pPr marL="182880" marR="0" lvl="0" indent="-18288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de-DE" sz="1400" b="0" i="0" u="none" strike="noStrike" kern="1200" cap="none" spc="0" normalizeH="0" baseline="0" noProof="0">
                <a:ln>
                  <a:noFill/>
                </a:ln>
                <a:solidFill>
                  <a:srgbClr val="2167AE"/>
                </a:solidFill>
                <a:effectLst/>
                <a:uLnTx/>
                <a:uFillTx/>
                <a:latin typeface="Zurich Sans Light (Body)"/>
                <a:ea typeface="+mn-ea"/>
                <a:cs typeface="Arial" panose="020B0604020202020204" pitchFamily="34" charset="0"/>
              </a:rPr>
              <a:t>Identifikation zusätzlicher Schwachstellen, die in der Dokumentation nicht ersichtlich sind. </a:t>
            </a:r>
          </a:p>
          <a:p>
            <a:pPr marL="182880" marR="0" lvl="0" indent="-18288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de-DE" sz="1400" b="0" i="0" u="none" strike="noStrike" kern="1200" cap="none" spc="0" normalizeH="0" baseline="0" noProof="0">
                <a:ln>
                  <a:noFill/>
                </a:ln>
                <a:solidFill>
                  <a:srgbClr val="2167AE"/>
                </a:solidFill>
                <a:effectLst/>
                <a:uLnTx/>
                <a:uFillTx/>
                <a:latin typeface="Zurich Sans Light (Body)"/>
                <a:ea typeface="+mn-ea"/>
                <a:cs typeface="Arial" panose="020B0604020202020204" pitchFamily="34" charset="0"/>
              </a:rPr>
              <a:t>Einbindung standortspezifischer Schadensszenarien und –</a:t>
            </a:r>
            <a:r>
              <a:rPr kumimoji="0" lang="de-DE" sz="1400" b="0" i="0" u="none" strike="noStrike" kern="1200" cap="none" spc="0" normalizeH="0" baseline="0" noProof="0" err="1">
                <a:ln>
                  <a:noFill/>
                </a:ln>
                <a:solidFill>
                  <a:srgbClr val="2167AE"/>
                </a:solidFill>
                <a:effectLst/>
                <a:uLnTx/>
                <a:uFillTx/>
                <a:latin typeface="Zurich Sans Light (Body)"/>
                <a:ea typeface="+mn-ea"/>
                <a:cs typeface="Arial" panose="020B0604020202020204" pitchFamily="34" charset="0"/>
              </a:rPr>
              <a:t>schätzungen</a:t>
            </a:r>
            <a:r>
              <a:rPr kumimoji="0" lang="de-DE" sz="1400" b="0" i="0" u="none" strike="noStrike" kern="1200" cap="none" spc="0" normalizeH="0" baseline="0" noProof="0">
                <a:ln>
                  <a:noFill/>
                </a:ln>
                <a:solidFill>
                  <a:srgbClr val="2167AE"/>
                </a:solidFill>
                <a:effectLst/>
                <a:uLnTx/>
                <a:uFillTx/>
                <a:latin typeface="Zurich Sans Light (Body)"/>
                <a:ea typeface="+mn-ea"/>
                <a:cs typeface="Arial" panose="020B0604020202020204" pitchFamily="34" charset="0"/>
              </a:rPr>
              <a:t>.</a:t>
            </a:r>
          </a:p>
        </p:txBody>
      </p:sp>
      <p:grpSp>
        <p:nvGrpSpPr>
          <p:cNvPr id="15" name="Group 14">
            <a:extLst>
              <a:ext uri="{FF2B5EF4-FFF2-40B4-BE49-F238E27FC236}">
                <a16:creationId xmlns:a16="http://schemas.microsoft.com/office/drawing/2014/main" id="{33F83373-C198-1AD3-057C-9FB80F75F1FD}"/>
              </a:ext>
            </a:extLst>
          </p:cNvPr>
          <p:cNvGrpSpPr>
            <a:grpSpLocks noChangeAspect="1"/>
          </p:cNvGrpSpPr>
          <p:nvPr/>
        </p:nvGrpSpPr>
        <p:grpSpPr>
          <a:xfrm>
            <a:off x="6336216" y="2365065"/>
            <a:ext cx="685800" cy="685754"/>
            <a:chOff x="6503668" y="795646"/>
            <a:chExt cx="1333590" cy="1333500"/>
          </a:xfrm>
        </p:grpSpPr>
        <p:sp>
          <p:nvSpPr>
            <p:cNvPr id="16" name="Freeform: Shape 15">
              <a:extLst>
                <a:ext uri="{FF2B5EF4-FFF2-40B4-BE49-F238E27FC236}">
                  <a16:creationId xmlns:a16="http://schemas.microsoft.com/office/drawing/2014/main" id="{C25450CA-3F30-D42D-A2CD-AFCB7F9F04E1}"/>
                </a:ext>
              </a:extLst>
            </p:cNvPr>
            <p:cNvSpPr/>
            <p:nvPr/>
          </p:nvSpPr>
          <p:spPr>
            <a:xfrm>
              <a:off x="6503758" y="795646"/>
              <a:ext cx="1333500" cy="1333500"/>
            </a:xfrm>
            <a:custGeom>
              <a:avLst/>
              <a:gdLst>
                <a:gd name="connsiteX0" fmla="*/ 1333500 w 1333500"/>
                <a:gd name="connsiteY0" fmla="*/ 666750 h 1333500"/>
                <a:gd name="connsiteX1" fmla="*/ 666750 w 1333500"/>
                <a:gd name="connsiteY1" fmla="*/ 1333500 h 1333500"/>
                <a:gd name="connsiteX2" fmla="*/ 0 w 1333500"/>
                <a:gd name="connsiteY2" fmla="*/ 666750 h 1333500"/>
                <a:gd name="connsiteX3" fmla="*/ 666750 w 1333500"/>
                <a:gd name="connsiteY3" fmla="*/ 0 h 1333500"/>
                <a:gd name="connsiteX4" fmla="*/ 1333500 w 1333500"/>
                <a:gd name="connsiteY4" fmla="*/ 66675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0" h="1333500">
                  <a:moveTo>
                    <a:pt x="1333500" y="666750"/>
                  </a:moveTo>
                  <a:cubicBezTo>
                    <a:pt x="1333500" y="1034987"/>
                    <a:pt x="1034987" y="1333500"/>
                    <a:pt x="666750" y="1333500"/>
                  </a:cubicBezTo>
                  <a:cubicBezTo>
                    <a:pt x="298514" y="1333500"/>
                    <a:pt x="0" y="1034987"/>
                    <a:pt x="0" y="666750"/>
                  </a:cubicBezTo>
                  <a:cubicBezTo>
                    <a:pt x="0" y="298514"/>
                    <a:pt x="298514" y="0"/>
                    <a:pt x="666750" y="0"/>
                  </a:cubicBezTo>
                  <a:cubicBezTo>
                    <a:pt x="1034987" y="0"/>
                    <a:pt x="1333500" y="298514"/>
                    <a:pt x="1333500" y="666750"/>
                  </a:cubicBezTo>
                </a:path>
              </a:pathLst>
            </a:custGeom>
            <a:solidFill>
              <a:srgbClr val="DDE4E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grpSp>
          <p:nvGrpSpPr>
            <p:cNvPr id="19" name="Group 18">
              <a:extLst>
                <a:ext uri="{FF2B5EF4-FFF2-40B4-BE49-F238E27FC236}">
                  <a16:creationId xmlns:a16="http://schemas.microsoft.com/office/drawing/2014/main" id="{179D369C-689D-AD4C-EE16-183894CCA418}"/>
                </a:ext>
              </a:extLst>
            </p:cNvPr>
            <p:cNvGrpSpPr/>
            <p:nvPr/>
          </p:nvGrpSpPr>
          <p:grpSpPr>
            <a:xfrm>
              <a:off x="6503668" y="1125591"/>
              <a:ext cx="1094901" cy="780904"/>
              <a:chOff x="6503668" y="1125591"/>
              <a:chExt cx="1094901" cy="780904"/>
            </a:xfrm>
          </p:grpSpPr>
          <p:sp>
            <p:nvSpPr>
              <p:cNvPr id="20" name="Freeform: Shape 19">
                <a:extLst>
                  <a:ext uri="{FF2B5EF4-FFF2-40B4-BE49-F238E27FC236}">
                    <a16:creationId xmlns:a16="http://schemas.microsoft.com/office/drawing/2014/main" id="{583DCF7D-0096-8939-96E1-DE73D9F06239}"/>
                  </a:ext>
                </a:extLst>
              </p:cNvPr>
              <p:cNvSpPr/>
              <p:nvPr/>
            </p:nvSpPr>
            <p:spPr>
              <a:xfrm>
                <a:off x="6755607" y="1554070"/>
                <a:ext cx="842962" cy="352425"/>
              </a:xfrm>
              <a:custGeom>
                <a:avLst/>
                <a:gdLst>
                  <a:gd name="connsiteX0" fmla="*/ 735806 w 735806"/>
                  <a:gd name="connsiteY0" fmla="*/ 0 h 326231"/>
                  <a:gd name="connsiteX1" fmla="*/ 735806 w 735806"/>
                  <a:gd name="connsiteY1" fmla="*/ 326231 h 326231"/>
                  <a:gd name="connsiteX2" fmla="*/ 0 w 735806"/>
                  <a:gd name="connsiteY2" fmla="*/ 326231 h 326231"/>
                  <a:gd name="connsiteX3" fmla="*/ 0 w 735806"/>
                  <a:gd name="connsiteY3" fmla="*/ 21431 h 326231"/>
                  <a:gd name="connsiteX4" fmla="*/ 735806 w 735806"/>
                  <a:gd name="connsiteY4" fmla="*/ 0 h 326231"/>
                  <a:gd name="connsiteX0" fmla="*/ 735806 w 735806"/>
                  <a:gd name="connsiteY0" fmla="*/ 0 h 326231"/>
                  <a:gd name="connsiteX1" fmla="*/ 735806 w 735806"/>
                  <a:gd name="connsiteY1" fmla="*/ 326231 h 326231"/>
                  <a:gd name="connsiteX2" fmla="*/ 0 w 735806"/>
                  <a:gd name="connsiteY2" fmla="*/ 326231 h 326231"/>
                  <a:gd name="connsiteX3" fmla="*/ 0 w 735806"/>
                  <a:gd name="connsiteY3" fmla="*/ 2381 h 326231"/>
                  <a:gd name="connsiteX4" fmla="*/ 735806 w 735806"/>
                  <a:gd name="connsiteY4" fmla="*/ 0 h 326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806" h="326231">
                    <a:moveTo>
                      <a:pt x="735806" y="0"/>
                    </a:moveTo>
                    <a:lnTo>
                      <a:pt x="735806" y="326231"/>
                    </a:lnTo>
                    <a:lnTo>
                      <a:pt x="0" y="326231"/>
                    </a:lnTo>
                    <a:lnTo>
                      <a:pt x="0" y="2381"/>
                    </a:lnTo>
                    <a:lnTo>
                      <a:pt x="73580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Zurich Sans Light"/>
                  <a:ea typeface="+mn-ea"/>
                  <a:cs typeface="+mn-cs"/>
                </a:endParaRPr>
              </a:p>
            </p:txBody>
          </p:sp>
          <p:grpSp>
            <p:nvGrpSpPr>
              <p:cNvPr id="21" name="Graphic 23">
                <a:extLst>
                  <a:ext uri="{FF2B5EF4-FFF2-40B4-BE49-F238E27FC236}">
                    <a16:creationId xmlns:a16="http://schemas.microsoft.com/office/drawing/2014/main" id="{441AB358-A1B3-6D2A-BE36-925E610A6187}"/>
                  </a:ext>
                </a:extLst>
              </p:cNvPr>
              <p:cNvGrpSpPr/>
              <p:nvPr/>
            </p:nvGrpSpPr>
            <p:grpSpPr>
              <a:xfrm>
                <a:off x="6503668" y="1125591"/>
                <a:ext cx="998690" cy="656939"/>
                <a:chOff x="6503668" y="1125591"/>
                <a:chExt cx="998690" cy="656939"/>
              </a:xfrm>
            </p:grpSpPr>
            <p:sp>
              <p:nvSpPr>
                <p:cNvPr id="23" name="Freeform: Shape 22">
                  <a:extLst>
                    <a:ext uri="{FF2B5EF4-FFF2-40B4-BE49-F238E27FC236}">
                      <a16:creationId xmlns:a16="http://schemas.microsoft.com/office/drawing/2014/main" id="{6D288CBC-0E33-BB6E-A24B-F7981693D90F}"/>
                    </a:ext>
                  </a:extLst>
                </p:cNvPr>
                <p:cNvSpPr/>
                <p:nvPr/>
              </p:nvSpPr>
              <p:spPr>
                <a:xfrm>
                  <a:off x="7306143" y="1313300"/>
                  <a:ext cx="179730" cy="351121"/>
                </a:xfrm>
                <a:custGeom>
                  <a:avLst/>
                  <a:gdLst>
                    <a:gd name="connsiteX0" fmla="*/ 145923 w 179730"/>
                    <a:gd name="connsiteY0" fmla="*/ 197578 h 351121"/>
                    <a:gd name="connsiteX1" fmla="*/ 177641 w 179730"/>
                    <a:gd name="connsiteY1" fmla="*/ 284446 h 351121"/>
                    <a:gd name="connsiteX2" fmla="*/ 148495 w 179730"/>
                    <a:gd name="connsiteY2" fmla="*/ 351121 h 351121"/>
                    <a:gd name="connsiteX3" fmla="*/ 129445 w 179730"/>
                    <a:gd name="connsiteY3" fmla="*/ 302067 h 351121"/>
                    <a:gd name="connsiteX4" fmla="*/ 89916 w 179730"/>
                    <a:gd name="connsiteY4" fmla="*/ 262348 h 351121"/>
                    <a:gd name="connsiteX5" fmla="*/ 0 w 179730"/>
                    <a:gd name="connsiteY5" fmla="*/ 30 h 351121"/>
                    <a:gd name="connsiteX6" fmla="*/ 57150 w 179730"/>
                    <a:gd name="connsiteY6" fmla="*/ 12317 h 351121"/>
                    <a:gd name="connsiteX7" fmla="*/ 91916 w 179730"/>
                    <a:gd name="connsiteY7" fmla="*/ 50417 h 351121"/>
                    <a:gd name="connsiteX8" fmla="*/ 145923 w 179730"/>
                    <a:gd name="connsiteY8" fmla="*/ 197578 h 351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730" h="351121">
                      <a:moveTo>
                        <a:pt x="145923" y="197578"/>
                      </a:moveTo>
                      <a:lnTo>
                        <a:pt x="177641" y="284446"/>
                      </a:lnTo>
                      <a:cubicBezTo>
                        <a:pt x="177641" y="284446"/>
                        <a:pt x="191357" y="333119"/>
                        <a:pt x="148495" y="351121"/>
                      </a:cubicBezTo>
                      <a:lnTo>
                        <a:pt x="129445" y="302067"/>
                      </a:lnTo>
                      <a:lnTo>
                        <a:pt x="89916" y="262348"/>
                      </a:lnTo>
                      <a:lnTo>
                        <a:pt x="0" y="30"/>
                      </a:lnTo>
                      <a:cubicBezTo>
                        <a:pt x="0" y="30"/>
                        <a:pt x="34766" y="-1209"/>
                        <a:pt x="57150" y="12317"/>
                      </a:cubicBezTo>
                      <a:cubicBezTo>
                        <a:pt x="71991" y="21615"/>
                        <a:pt x="84011" y="34789"/>
                        <a:pt x="91916" y="50417"/>
                      </a:cubicBezTo>
                      <a:cubicBezTo>
                        <a:pt x="92964" y="54417"/>
                        <a:pt x="145923" y="197578"/>
                        <a:pt x="145923" y="197578"/>
                      </a:cubicBezTo>
                      <a:close/>
                    </a:path>
                  </a:pathLst>
                </a:custGeom>
                <a:solidFill>
                  <a:srgbClr val="C4BDA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24" name="Freeform: Shape 23">
                  <a:extLst>
                    <a:ext uri="{FF2B5EF4-FFF2-40B4-BE49-F238E27FC236}">
                      <a16:creationId xmlns:a16="http://schemas.microsoft.com/office/drawing/2014/main" id="{01572DB6-3AF3-FEEE-85BA-F1792FADAA75}"/>
                    </a:ext>
                  </a:extLst>
                </p:cNvPr>
                <p:cNvSpPr/>
                <p:nvPr/>
              </p:nvSpPr>
              <p:spPr>
                <a:xfrm>
                  <a:off x="7421068" y="1510878"/>
                  <a:ext cx="62716" cy="89820"/>
                </a:xfrm>
                <a:custGeom>
                  <a:avLst/>
                  <a:gdLst>
                    <a:gd name="connsiteX0" fmla="*/ 30998 w 62716"/>
                    <a:gd name="connsiteY0" fmla="*/ 0 h 89820"/>
                    <a:gd name="connsiteX1" fmla="*/ 62717 w 62716"/>
                    <a:gd name="connsiteY1" fmla="*/ 86868 h 89820"/>
                    <a:gd name="connsiteX2" fmla="*/ 46334 w 62716"/>
                    <a:gd name="connsiteY2" fmla="*/ 89821 h 89820"/>
                    <a:gd name="connsiteX3" fmla="*/ 0 w 62716"/>
                    <a:gd name="connsiteY3" fmla="*/ 43762 h 89820"/>
                    <a:gd name="connsiteX4" fmla="*/ 30998 w 62716"/>
                    <a:gd name="connsiteY4" fmla="*/ 0 h 89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6" h="89820">
                      <a:moveTo>
                        <a:pt x="30998" y="0"/>
                      </a:moveTo>
                      <a:lnTo>
                        <a:pt x="62717" y="86868"/>
                      </a:lnTo>
                      <a:cubicBezTo>
                        <a:pt x="57478" y="88826"/>
                        <a:pt x="51925" y="89826"/>
                        <a:pt x="46334" y="89821"/>
                      </a:cubicBezTo>
                      <a:cubicBezTo>
                        <a:pt x="20820" y="89897"/>
                        <a:pt x="76" y="69275"/>
                        <a:pt x="0" y="43762"/>
                      </a:cubicBezTo>
                      <a:cubicBezTo>
                        <a:pt x="-58" y="24056"/>
                        <a:pt x="12389" y="6483"/>
                        <a:pt x="30998" y="0"/>
                      </a:cubicBezTo>
                      <a:close/>
                    </a:path>
                  </a:pathLst>
                </a:custGeom>
                <a:solidFill>
                  <a:srgbClr val="ECEEE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25" name="Freeform: Shape 24">
                  <a:extLst>
                    <a:ext uri="{FF2B5EF4-FFF2-40B4-BE49-F238E27FC236}">
                      <a16:creationId xmlns:a16="http://schemas.microsoft.com/office/drawing/2014/main" id="{FDD2DAEE-3276-7AA6-F1CF-2DAF999B5B02}"/>
                    </a:ext>
                  </a:extLst>
                </p:cNvPr>
                <p:cNvSpPr/>
                <p:nvPr/>
              </p:nvSpPr>
              <p:spPr>
                <a:xfrm>
                  <a:off x="7090021" y="1227102"/>
                  <a:ext cx="329077" cy="349593"/>
                </a:xfrm>
                <a:custGeom>
                  <a:avLst/>
                  <a:gdLst>
                    <a:gd name="connsiteX0" fmla="*/ 0 w 329077"/>
                    <a:gd name="connsiteY0" fmla="*/ 41746 h 349593"/>
                    <a:gd name="connsiteX1" fmla="*/ 50482 w 329077"/>
                    <a:gd name="connsiteY1" fmla="*/ 14028 h 349593"/>
                    <a:gd name="connsiteX2" fmla="*/ 53435 w 329077"/>
                    <a:gd name="connsiteY2" fmla="*/ 12504 h 349593"/>
                    <a:gd name="connsiteX3" fmla="*/ 53435 w 329077"/>
                    <a:gd name="connsiteY3" fmla="*/ 12504 h 349593"/>
                    <a:gd name="connsiteX4" fmla="*/ 53435 w 329077"/>
                    <a:gd name="connsiteY4" fmla="*/ 12504 h 349593"/>
                    <a:gd name="connsiteX5" fmla="*/ 200084 w 329077"/>
                    <a:gd name="connsiteY5" fmla="*/ 58061 h 349593"/>
                    <a:gd name="connsiteX6" fmla="*/ 200120 w 329077"/>
                    <a:gd name="connsiteY6" fmla="*/ 58129 h 349593"/>
                    <a:gd name="connsiteX7" fmla="*/ 200120 w 329077"/>
                    <a:gd name="connsiteY7" fmla="*/ 58129 h 349593"/>
                    <a:gd name="connsiteX8" fmla="*/ 279273 w 329077"/>
                    <a:gd name="connsiteY8" fmla="*/ 201004 h 349593"/>
                    <a:gd name="connsiteX9" fmla="*/ 323374 w 329077"/>
                    <a:gd name="connsiteY9" fmla="*/ 282919 h 349593"/>
                    <a:gd name="connsiteX10" fmla="*/ 305753 w 329077"/>
                    <a:gd name="connsiteY10" fmla="*/ 349594 h 349593"/>
                    <a:gd name="connsiteX11" fmla="*/ 159639 w 329077"/>
                    <a:gd name="connsiteY11" fmla="*/ 202147 h 349593"/>
                    <a:gd name="connsiteX12" fmla="*/ 10954 w 329077"/>
                    <a:gd name="connsiteY12" fmla="*/ 52795 h 349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9077" h="349593">
                      <a:moveTo>
                        <a:pt x="0" y="41746"/>
                      </a:moveTo>
                      <a:lnTo>
                        <a:pt x="50482" y="14028"/>
                      </a:lnTo>
                      <a:lnTo>
                        <a:pt x="53435" y="12504"/>
                      </a:lnTo>
                      <a:lnTo>
                        <a:pt x="53435" y="12504"/>
                      </a:lnTo>
                      <a:lnTo>
                        <a:pt x="53435" y="12504"/>
                      </a:lnTo>
                      <a:cubicBezTo>
                        <a:pt x="106511" y="-15412"/>
                        <a:pt x="172168" y="4984"/>
                        <a:pt x="200084" y="58061"/>
                      </a:cubicBezTo>
                      <a:cubicBezTo>
                        <a:pt x="200096" y="58083"/>
                        <a:pt x="200108" y="58106"/>
                        <a:pt x="200120" y="58129"/>
                      </a:cubicBezTo>
                      <a:lnTo>
                        <a:pt x="200120" y="58129"/>
                      </a:lnTo>
                      <a:lnTo>
                        <a:pt x="279273" y="201004"/>
                      </a:lnTo>
                      <a:lnTo>
                        <a:pt x="323374" y="282919"/>
                      </a:lnTo>
                      <a:cubicBezTo>
                        <a:pt x="335430" y="306378"/>
                        <a:pt x="327825" y="335154"/>
                        <a:pt x="305753" y="349594"/>
                      </a:cubicBezTo>
                      <a:lnTo>
                        <a:pt x="159639" y="202147"/>
                      </a:lnTo>
                      <a:lnTo>
                        <a:pt x="10954" y="52795"/>
                      </a:lnTo>
                      <a:close/>
                    </a:path>
                  </a:pathLst>
                </a:custGeom>
                <a:solidFill>
                  <a:srgbClr val="DAD2B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26" name="Freeform: Shape 25">
                  <a:extLst>
                    <a:ext uri="{FF2B5EF4-FFF2-40B4-BE49-F238E27FC236}">
                      <a16:creationId xmlns:a16="http://schemas.microsoft.com/office/drawing/2014/main" id="{4F993831-AB58-2FF9-7121-4DD5AAE4A82B}"/>
                    </a:ext>
                  </a:extLst>
                </p:cNvPr>
                <p:cNvSpPr/>
                <p:nvPr/>
              </p:nvSpPr>
              <p:spPr>
                <a:xfrm>
                  <a:off x="6846769" y="1126869"/>
                  <a:ext cx="588533" cy="588224"/>
                </a:xfrm>
                <a:custGeom>
                  <a:avLst/>
                  <a:gdLst>
                    <a:gd name="connsiteX0" fmla="*/ 7413 w 588533"/>
                    <a:gd name="connsiteY0" fmla="*/ 71398 h 588224"/>
                    <a:gd name="connsiteX1" fmla="*/ 33130 w 588533"/>
                    <a:gd name="connsiteY1" fmla="*/ 45680 h 588224"/>
                    <a:gd name="connsiteX2" fmla="*/ 33130 w 588533"/>
                    <a:gd name="connsiteY2" fmla="*/ 45680 h 588224"/>
                    <a:gd name="connsiteX3" fmla="*/ 71230 w 588533"/>
                    <a:gd name="connsiteY3" fmla="*/ 7580 h 588224"/>
                    <a:gd name="connsiteX4" fmla="*/ 112283 w 588533"/>
                    <a:gd name="connsiteY4" fmla="*/ 11390 h 588224"/>
                    <a:gd name="connsiteX5" fmla="*/ 588533 w 588533"/>
                    <a:gd name="connsiteY5" fmla="*/ 488879 h 588224"/>
                    <a:gd name="connsiteX6" fmla="*/ 548814 w 588533"/>
                    <a:gd name="connsiteY6" fmla="*/ 528503 h 588224"/>
                    <a:gd name="connsiteX7" fmla="*/ 548814 w 588533"/>
                    <a:gd name="connsiteY7" fmla="*/ 528503 h 588224"/>
                    <a:gd name="connsiteX8" fmla="*/ 489188 w 588533"/>
                    <a:gd name="connsiteY8" fmla="*/ 588224 h 588224"/>
                    <a:gd name="connsiteX9" fmla="*/ 310689 w 588533"/>
                    <a:gd name="connsiteY9" fmla="*/ 410583 h 588224"/>
                    <a:gd name="connsiteX10" fmla="*/ 226297 w 588533"/>
                    <a:gd name="connsiteY10" fmla="*/ 326573 h 588224"/>
                    <a:gd name="connsiteX11" fmla="*/ 222868 w 588533"/>
                    <a:gd name="connsiteY11" fmla="*/ 323048 h 588224"/>
                    <a:gd name="connsiteX12" fmla="*/ 115331 w 588533"/>
                    <a:gd name="connsiteY12" fmla="*/ 215987 h 588224"/>
                    <a:gd name="connsiteX13" fmla="*/ 11223 w 588533"/>
                    <a:gd name="connsiteY13" fmla="*/ 112451 h 588224"/>
                    <a:gd name="connsiteX14" fmla="*/ 7413 w 588533"/>
                    <a:gd name="connsiteY14" fmla="*/ 71398 h 58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8533" h="588224">
                      <a:moveTo>
                        <a:pt x="7413" y="71398"/>
                      </a:moveTo>
                      <a:lnTo>
                        <a:pt x="33130" y="45680"/>
                      </a:lnTo>
                      <a:lnTo>
                        <a:pt x="33130" y="45680"/>
                      </a:lnTo>
                      <a:lnTo>
                        <a:pt x="71230" y="7580"/>
                      </a:lnTo>
                      <a:cubicBezTo>
                        <a:pt x="90280" y="-11470"/>
                        <a:pt x="112283" y="11390"/>
                        <a:pt x="112283" y="11390"/>
                      </a:cubicBezTo>
                      <a:lnTo>
                        <a:pt x="588533" y="488879"/>
                      </a:lnTo>
                      <a:lnTo>
                        <a:pt x="548814" y="528503"/>
                      </a:lnTo>
                      <a:lnTo>
                        <a:pt x="548814" y="528503"/>
                      </a:lnTo>
                      <a:lnTo>
                        <a:pt x="489188" y="588224"/>
                      </a:lnTo>
                      <a:lnTo>
                        <a:pt x="310689" y="410583"/>
                      </a:lnTo>
                      <a:lnTo>
                        <a:pt x="226297" y="326573"/>
                      </a:lnTo>
                      <a:lnTo>
                        <a:pt x="222868" y="323048"/>
                      </a:lnTo>
                      <a:lnTo>
                        <a:pt x="115331" y="215987"/>
                      </a:lnTo>
                      <a:lnTo>
                        <a:pt x="11223" y="112451"/>
                      </a:lnTo>
                      <a:cubicBezTo>
                        <a:pt x="11223" y="112451"/>
                        <a:pt x="-11256" y="90067"/>
                        <a:pt x="7413" y="71398"/>
                      </a:cubicBezTo>
                      <a:close/>
                    </a:path>
                  </a:pathLst>
                </a:custGeom>
                <a:solidFill>
                  <a:srgbClr val="2167A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27" name="Freeform: Shape 26">
                  <a:extLst>
                    <a:ext uri="{FF2B5EF4-FFF2-40B4-BE49-F238E27FC236}">
                      <a16:creationId xmlns:a16="http://schemas.microsoft.com/office/drawing/2014/main" id="{9E606ED6-21B1-BE08-A900-72E13CC0B3A2}"/>
                    </a:ext>
                  </a:extLst>
                </p:cNvPr>
                <p:cNvSpPr/>
                <p:nvPr/>
              </p:nvSpPr>
              <p:spPr>
                <a:xfrm>
                  <a:off x="6846657" y="1125591"/>
                  <a:ext cx="589978" cy="590359"/>
                </a:xfrm>
                <a:custGeom>
                  <a:avLst/>
                  <a:gdLst>
                    <a:gd name="connsiteX0" fmla="*/ 489299 w 589978"/>
                    <a:gd name="connsiteY0" fmla="*/ 590360 h 590359"/>
                    <a:gd name="connsiteX1" fmla="*/ 10859 w 589978"/>
                    <a:gd name="connsiteY1" fmla="*/ 114109 h 590359"/>
                    <a:gd name="connsiteX2" fmla="*/ 0 w 589978"/>
                    <a:gd name="connsiteY2" fmla="*/ 89154 h 590359"/>
                    <a:gd name="connsiteX3" fmla="*/ 7525 w 589978"/>
                    <a:gd name="connsiteY3" fmla="*/ 71914 h 590359"/>
                    <a:gd name="connsiteX4" fmla="*/ 71819 w 589978"/>
                    <a:gd name="connsiteY4" fmla="*/ 7620 h 590359"/>
                    <a:gd name="connsiteX5" fmla="*/ 89059 w 589978"/>
                    <a:gd name="connsiteY5" fmla="*/ 0 h 590359"/>
                    <a:gd name="connsiteX6" fmla="*/ 89059 w 589978"/>
                    <a:gd name="connsiteY6" fmla="*/ 0 h 590359"/>
                    <a:gd name="connsiteX7" fmla="*/ 113729 w 589978"/>
                    <a:gd name="connsiteY7" fmla="*/ 11430 h 590359"/>
                    <a:gd name="connsiteX8" fmla="*/ 589979 w 589978"/>
                    <a:gd name="connsiteY8" fmla="*/ 489871 h 590359"/>
                    <a:gd name="connsiteX9" fmla="*/ 7525 w 589978"/>
                    <a:gd name="connsiteY9" fmla="*/ 72676 h 590359"/>
                    <a:gd name="connsiteX10" fmla="*/ 8001 w 589978"/>
                    <a:gd name="connsiteY10" fmla="*/ 72676 h 590359"/>
                    <a:gd name="connsiteX11" fmla="*/ 762 w 589978"/>
                    <a:gd name="connsiteY11" fmla="*/ 89154 h 590359"/>
                    <a:gd name="connsiteX12" fmla="*/ 11811 w 589978"/>
                    <a:gd name="connsiteY12" fmla="*/ 112967 h 590359"/>
                    <a:gd name="connsiteX13" fmla="*/ 489299 w 589978"/>
                    <a:gd name="connsiteY13" fmla="*/ 588264 h 590359"/>
                    <a:gd name="connsiteX14" fmla="*/ 587693 w 589978"/>
                    <a:gd name="connsiteY14" fmla="*/ 490061 h 590359"/>
                    <a:gd name="connsiteX15" fmla="*/ 112395 w 589978"/>
                    <a:gd name="connsiteY15" fmla="*/ 12954 h 590359"/>
                    <a:gd name="connsiteX16" fmla="*/ 88583 w 589978"/>
                    <a:gd name="connsiteY16" fmla="*/ 1905 h 590359"/>
                    <a:gd name="connsiteX17" fmla="*/ 88583 w 589978"/>
                    <a:gd name="connsiteY17" fmla="*/ 1905 h 590359"/>
                    <a:gd name="connsiteX18" fmla="*/ 72295 w 589978"/>
                    <a:gd name="connsiteY18" fmla="*/ 9144 h 590359"/>
                    <a:gd name="connsiteX19" fmla="*/ 8001 w 589978"/>
                    <a:gd name="connsiteY19" fmla="*/ 73438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9978" h="590359">
                      <a:moveTo>
                        <a:pt x="489299" y="590360"/>
                      </a:moveTo>
                      <a:lnTo>
                        <a:pt x="10859" y="114109"/>
                      </a:lnTo>
                      <a:cubicBezTo>
                        <a:pt x="4481" y="107285"/>
                        <a:pt x="647" y="98472"/>
                        <a:pt x="0" y="89154"/>
                      </a:cubicBezTo>
                      <a:cubicBezTo>
                        <a:pt x="-9" y="82608"/>
                        <a:pt x="2718" y="76357"/>
                        <a:pt x="7525" y="71914"/>
                      </a:cubicBezTo>
                      <a:lnTo>
                        <a:pt x="71819" y="7620"/>
                      </a:lnTo>
                      <a:cubicBezTo>
                        <a:pt x="76279" y="2826"/>
                        <a:pt x="82511" y="71"/>
                        <a:pt x="89059" y="0"/>
                      </a:cubicBezTo>
                      <a:lnTo>
                        <a:pt x="89059" y="0"/>
                      </a:lnTo>
                      <a:cubicBezTo>
                        <a:pt x="98356" y="844"/>
                        <a:pt x="107073" y="4883"/>
                        <a:pt x="113729" y="11430"/>
                      </a:cubicBezTo>
                      <a:lnTo>
                        <a:pt x="589979" y="489871"/>
                      </a:lnTo>
                      <a:close/>
                      <a:moveTo>
                        <a:pt x="7525" y="72676"/>
                      </a:moveTo>
                      <a:lnTo>
                        <a:pt x="8001" y="72676"/>
                      </a:lnTo>
                      <a:cubicBezTo>
                        <a:pt x="3418" y="76934"/>
                        <a:pt x="798" y="82898"/>
                        <a:pt x="762" y="89154"/>
                      </a:cubicBezTo>
                      <a:cubicBezTo>
                        <a:pt x="1617" y="98121"/>
                        <a:pt x="5517" y="106524"/>
                        <a:pt x="11811" y="112967"/>
                      </a:cubicBezTo>
                      <a:lnTo>
                        <a:pt x="489299" y="588264"/>
                      </a:lnTo>
                      <a:lnTo>
                        <a:pt x="587693" y="490061"/>
                      </a:lnTo>
                      <a:lnTo>
                        <a:pt x="112395" y="12954"/>
                      </a:lnTo>
                      <a:cubicBezTo>
                        <a:pt x="105952" y="6660"/>
                        <a:pt x="97549" y="2760"/>
                        <a:pt x="88583" y="1905"/>
                      </a:cubicBezTo>
                      <a:lnTo>
                        <a:pt x="88583" y="1905"/>
                      </a:lnTo>
                      <a:cubicBezTo>
                        <a:pt x="82392" y="1993"/>
                        <a:pt x="76508" y="4608"/>
                        <a:pt x="72295" y="9144"/>
                      </a:cubicBezTo>
                      <a:lnTo>
                        <a:pt x="8001" y="73438"/>
                      </a:lnTo>
                      <a:close/>
                    </a:path>
                  </a:pathLst>
                </a:custGeom>
                <a:solidFill>
                  <a:srgbClr val="2167A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28" name="Freeform: Shape 27">
                  <a:extLst>
                    <a:ext uri="{FF2B5EF4-FFF2-40B4-BE49-F238E27FC236}">
                      <a16:creationId xmlns:a16="http://schemas.microsoft.com/office/drawing/2014/main" id="{5A059135-3224-DF90-6824-BBFA437470AB}"/>
                    </a:ext>
                  </a:extLst>
                </p:cNvPr>
                <p:cNvSpPr/>
                <p:nvPr/>
              </p:nvSpPr>
              <p:spPr>
                <a:xfrm>
                  <a:off x="6836180" y="1515164"/>
                  <a:ext cx="493400" cy="199548"/>
                </a:xfrm>
                <a:custGeom>
                  <a:avLst/>
                  <a:gdLst>
                    <a:gd name="connsiteX0" fmla="*/ 413861 w 493400"/>
                    <a:gd name="connsiteY0" fmla="*/ 28670 h 199548"/>
                    <a:gd name="connsiteX1" fmla="*/ 493173 w 493400"/>
                    <a:gd name="connsiteY1" fmla="*/ 120361 h 199548"/>
                    <a:gd name="connsiteX2" fmla="*/ 415385 w 493400"/>
                    <a:gd name="connsiteY2" fmla="*/ 199549 h 199548"/>
                    <a:gd name="connsiteX3" fmla="*/ 0 w 493400"/>
                    <a:gd name="connsiteY3" fmla="*/ 167259 h 199548"/>
                    <a:gd name="connsiteX4" fmla="*/ 0 w 493400"/>
                    <a:gd name="connsiteY4" fmla="*/ 0 h 199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400" h="199548">
                      <a:moveTo>
                        <a:pt x="413861" y="28670"/>
                      </a:moveTo>
                      <a:cubicBezTo>
                        <a:pt x="461082" y="32089"/>
                        <a:pt x="496592" y="73141"/>
                        <a:pt x="493173" y="120361"/>
                      </a:cubicBezTo>
                      <a:cubicBezTo>
                        <a:pt x="490140" y="162248"/>
                        <a:pt x="457210" y="195770"/>
                        <a:pt x="415385" y="199549"/>
                      </a:cubicBezTo>
                      <a:lnTo>
                        <a:pt x="0" y="167259"/>
                      </a:lnTo>
                      <a:lnTo>
                        <a:pt x="0" y="0"/>
                      </a:lnTo>
                      <a:close/>
                    </a:path>
                  </a:pathLst>
                </a:custGeom>
                <a:solidFill>
                  <a:srgbClr val="DAD2B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29" name="Freeform: Shape 28">
                  <a:extLst>
                    <a:ext uri="{FF2B5EF4-FFF2-40B4-BE49-F238E27FC236}">
                      <a16:creationId xmlns:a16="http://schemas.microsoft.com/office/drawing/2014/main" id="{CDA5C9D7-9781-0C34-AF90-D7AACD727408}"/>
                    </a:ext>
                  </a:extLst>
                </p:cNvPr>
                <p:cNvSpPr/>
                <p:nvPr/>
              </p:nvSpPr>
              <p:spPr>
                <a:xfrm>
                  <a:off x="7335957" y="1615939"/>
                  <a:ext cx="146875" cy="147446"/>
                </a:xfrm>
                <a:custGeom>
                  <a:avLst/>
                  <a:gdLst>
                    <a:gd name="connsiteX0" fmla="*/ 99060 w 146875"/>
                    <a:gd name="connsiteY0" fmla="*/ 0 h 147446"/>
                    <a:gd name="connsiteX1" fmla="*/ 0 w 146875"/>
                    <a:gd name="connsiteY1" fmla="*/ 99155 h 147446"/>
                    <a:gd name="connsiteX2" fmla="*/ 118681 w 146875"/>
                    <a:gd name="connsiteY2" fmla="*/ 147447 h 147446"/>
                    <a:gd name="connsiteX3" fmla="*/ 146875 w 146875"/>
                    <a:gd name="connsiteY3" fmla="*/ 119253 h 147446"/>
                    <a:gd name="connsiteX4" fmla="*/ 99060 w 146875"/>
                    <a:gd name="connsiteY4" fmla="*/ 0 h 147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75" h="147446">
                      <a:moveTo>
                        <a:pt x="99060" y="0"/>
                      </a:moveTo>
                      <a:lnTo>
                        <a:pt x="0" y="99155"/>
                      </a:lnTo>
                      <a:lnTo>
                        <a:pt x="118681" y="147447"/>
                      </a:lnTo>
                      <a:lnTo>
                        <a:pt x="146875" y="119253"/>
                      </a:lnTo>
                      <a:lnTo>
                        <a:pt x="99060" y="0"/>
                      </a:lnTo>
                      <a:close/>
                    </a:path>
                  </a:pathLst>
                </a:custGeom>
                <a:solidFill>
                  <a:srgbClr val="ECEEE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30" name="Freeform: Shape 29">
                  <a:extLst>
                    <a:ext uri="{FF2B5EF4-FFF2-40B4-BE49-F238E27FC236}">
                      <a16:creationId xmlns:a16="http://schemas.microsoft.com/office/drawing/2014/main" id="{7E55EC5A-B7F5-DEC1-14B9-76CE4F028847}"/>
                    </a:ext>
                  </a:extLst>
                </p:cNvPr>
                <p:cNvSpPr/>
                <p:nvPr/>
              </p:nvSpPr>
              <p:spPr>
                <a:xfrm>
                  <a:off x="7454638" y="1735191"/>
                  <a:ext cx="47720" cy="47339"/>
                </a:xfrm>
                <a:custGeom>
                  <a:avLst/>
                  <a:gdLst>
                    <a:gd name="connsiteX0" fmla="*/ 47720 w 47720"/>
                    <a:gd name="connsiteY0" fmla="*/ 47339 h 47339"/>
                    <a:gd name="connsiteX1" fmla="*/ 0 w 47720"/>
                    <a:gd name="connsiteY1" fmla="*/ 28194 h 47339"/>
                    <a:gd name="connsiteX2" fmla="*/ 28194 w 47720"/>
                    <a:gd name="connsiteY2" fmla="*/ 0 h 47339"/>
                    <a:gd name="connsiteX3" fmla="*/ 47720 w 47720"/>
                    <a:gd name="connsiteY3" fmla="*/ 47339 h 47339"/>
                  </a:gdLst>
                  <a:ahLst/>
                  <a:cxnLst>
                    <a:cxn ang="0">
                      <a:pos x="connsiteX0" y="connsiteY0"/>
                    </a:cxn>
                    <a:cxn ang="0">
                      <a:pos x="connsiteX1" y="connsiteY1"/>
                    </a:cxn>
                    <a:cxn ang="0">
                      <a:pos x="connsiteX2" y="connsiteY2"/>
                    </a:cxn>
                    <a:cxn ang="0">
                      <a:pos x="connsiteX3" y="connsiteY3"/>
                    </a:cxn>
                  </a:cxnLst>
                  <a:rect l="l" t="t" r="r" b="b"/>
                  <a:pathLst>
                    <a:path w="47720" h="47339">
                      <a:moveTo>
                        <a:pt x="47720" y="47339"/>
                      </a:moveTo>
                      <a:lnTo>
                        <a:pt x="0" y="28194"/>
                      </a:lnTo>
                      <a:lnTo>
                        <a:pt x="28194" y="0"/>
                      </a:lnTo>
                      <a:lnTo>
                        <a:pt x="47720" y="47339"/>
                      </a:lnTo>
                      <a:close/>
                    </a:path>
                  </a:pathLst>
                </a:custGeom>
                <a:solidFill>
                  <a:srgbClr val="2167A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31" name="Freeform: Shape 30">
                  <a:extLst>
                    <a:ext uri="{FF2B5EF4-FFF2-40B4-BE49-F238E27FC236}">
                      <a16:creationId xmlns:a16="http://schemas.microsoft.com/office/drawing/2014/main" id="{05EC3F75-72CA-E774-9A3B-45CB8BE3B183}"/>
                    </a:ext>
                  </a:extLst>
                </p:cNvPr>
                <p:cNvSpPr/>
                <p:nvPr/>
              </p:nvSpPr>
              <p:spPr>
                <a:xfrm>
                  <a:off x="7183652" y="1562884"/>
                  <a:ext cx="132778" cy="132778"/>
                </a:xfrm>
                <a:custGeom>
                  <a:avLst/>
                  <a:gdLst>
                    <a:gd name="connsiteX0" fmla="*/ 132779 w 132778"/>
                    <a:gd name="connsiteY0" fmla="*/ 66389 h 132778"/>
                    <a:gd name="connsiteX1" fmla="*/ 66389 w 132778"/>
                    <a:gd name="connsiteY1" fmla="*/ 132778 h 132778"/>
                    <a:gd name="connsiteX2" fmla="*/ 0 w 132778"/>
                    <a:gd name="connsiteY2" fmla="*/ 66389 h 132778"/>
                    <a:gd name="connsiteX3" fmla="*/ 66389 w 132778"/>
                    <a:gd name="connsiteY3" fmla="*/ 0 h 132778"/>
                    <a:gd name="connsiteX4" fmla="*/ 132779 w 132778"/>
                    <a:gd name="connsiteY4" fmla="*/ 66389 h 132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778" h="132778">
                      <a:moveTo>
                        <a:pt x="132779" y="66389"/>
                      </a:moveTo>
                      <a:cubicBezTo>
                        <a:pt x="132779" y="103055"/>
                        <a:pt x="103055" y="132778"/>
                        <a:pt x="66389" y="132778"/>
                      </a:cubicBezTo>
                      <a:cubicBezTo>
                        <a:pt x="29723" y="132778"/>
                        <a:pt x="0" y="103055"/>
                        <a:pt x="0" y="66389"/>
                      </a:cubicBezTo>
                      <a:cubicBezTo>
                        <a:pt x="0" y="29723"/>
                        <a:pt x="29723" y="0"/>
                        <a:pt x="66389" y="0"/>
                      </a:cubicBezTo>
                      <a:cubicBezTo>
                        <a:pt x="103055" y="0"/>
                        <a:pt x="132779" y="29723"/>
                        <a:pt x="132779" y="66389"/>
                      </a:cubicBezTo>
                      <a:close/>
                    </a:path>
                  </a:pathLst>
                </a:custGeom>
                <a:solidFill>
                  <a:srgbClr val="ECEEE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32" name="Freeform: Shape 31">
                  <a:extLst>
                    <a:ext uri="{FF2B5EF4-FFF2-40B4-BE49-F238E27FC236}">
                      <a16:creationId xmlns:a16="http://schemas.microsoft.com/office/drawing/2014/main" id="{28BCBC84-F9CE-02B8-8355-99345B3CC51E}"/>
                    </a:ext>
                  </a:extLst>
                </p:cNvPr>
                <p:cNvSpPr/>
                <p:nvPr/>
              </p:nvSpPr>
              <p:spPr>
                <a:xfrm>
                  <a:off x="7345240" y="1428201"/>
                  <a:ext cx="68155" cy="87348"/>
                </a:xfrm>
                <a:custGeom>
                  <a:avLst/>
                  <a:gdLst>
                    <a:gd name="connsiteX0" fmla="*/ 24340 w 68155"/>
                    <a:gd name="connsiteY0" fmla="*/ 0 h 87348"/>
                    <a:gd name="connsiteX1" fmla="*/ 68155 w 68155"/>
                    <a:gd name="connsiteY1" fmla="*/ 81820 h 87348"/>
                    <a:gd name="connsiteX2" fmla="*/ 5528 w 68155"/>
                    <a:gd name="connsiteY2" fmla="*/ 63008 h 87348"/>
                    <a:gd name="connsiteX3" fmla="*/ 24340 w 68155"/>
                    <a:gd name="connsiteY3" fmla="*/ 381 h 87348"/>
                  </a:gdLst>
                  <a:ahLst/>
                  <a:cxnLst>
                    <a:cxn ang="0">
                      <a:pos x="connsiteX0" y="connsiteY0"/>
                    </a:cxn>
                    <a:cxn ang="0">
                      <a:pos x="connsiteX1" y="connsiteY1"/>
                    </a:cxn>
                    <a:cxn ang="0">
                      <a:pos x="connsiteX2" y="connsiteY2"/>
                    </a:cxn>
                    <a:cxn ang="0">
                      <a:pos x="connsiteX3" y="connsiteY3"/>
                    </a:cxn>
                  </a:cxnLst>
                  <a:rect l="l" t="t" r="r" b="b"/>
                  <a:pathLst>
                    <a:path w="68155" h="87348">
                      <a:moveTo>
                        <a:pt x="24340" y="0"/>
                      </a:moveTo>
                      <a:lnTo>
                        <a:pt x="68155" y="81820"/>
                      </a:lnTo>
                      <a:cubicBezTo>
                        <a:pt x="45667" y="93919"/>
                        <a:pt x="17628" y="85496"/>
                        <a:pt x="5528" y="63008"/>
                      </a:cubicBezTo>
                      <a:cubicBezTo>
                        <a:pt x="-6571" y="40519"/>
                        <a:pt x="1852" y="12481"/>
                        <a:pt x="24340" y="381"/>
                      </a:cubicBezTo>
                      <a:close/>
                    </a:path>
                  </a:pathLst>
                </a:custGeom>
                <a:solidFill>
                  <a:srgbClr val="ECEEE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33" name="Freeform: Shape 32">
                  <a:extLst>
                    <a:ext uri="{FF2B5EF4-FFF2-40B4-BE49-F238E27FC236}">
                      <a16:creationId xmlns:a16="http://schemas.microsoft.com/office/drawing/2014/main" id="{DDB42B33-098D-C2BB-83C0-9A80DE32F1B9}"/>
                    </a:ext>
                  </a:extLst>
                </p:cNvPr>
                <p:cNvSpPr/>
                <p:nvPr/>
              </p:nvSpPr>
              <p:spPr>
                <a:xfrm>
                  <a:off x="6836180" y="1342857"/>
                  <a:ext cx="233457" cy="182594"/>
                </a:xfrm>
                <a:custGeom>
                  <a:avLst/>
                  <a:gdLst>
                    <a:gd name="connsiteX0" fmla="*/ 57436 w 233457"/>
                    <a:gd name="connsiteY0" fmla="*/ 39815 h 182594"/>
                    <a:gd name="connsiteX1" fmla="*/ 125920 w 233457"/>
                    <a:gd name="connsiteY1" fmla="*/ 0 h 182594"/>
                    <a:gd name="connsiteX2" fmla="*/ 233458 w 233457"/>
                    <a:gd name="connsiteY2" fmla="*/ 107061 h 182594"/>
                    <a:gd name="connsiteX3" fmla="*/ 153352 w 233457"/>
                    <a:gd name="connsiteY3" fmla="*/ 167164 h 182594"/>
                    <a:gd name="connsiteX4" fmla="*/ 149288 w 233457"/>
                    <a:gd name="connsiteY4" fmla="*/ 180006 h 182594"/>
                    <a:gd name="connsiteX5" fmla="*/ 151257 w 233457"/>
                    <a:gd name="connsiteY5" fmla="*/ 182594 h 182594"/>
                    <a:gd name="connsiteX6" fmla="*/ 0 w 233457"/>
                    <a:gd name="connsiteY6" fmla="*/ 172307 h 182594"/>
                    <a:gd name="connsiteX7" fmla="*/ 0 w 233457"/>
                    <a:gd name="connsiteY7" fmla="*/ 38957 h 182594"/>
                    <a:gd name="connsiteX8" fmla="*/ 57436 w 233457"/>
                    <a:gd name="connsiteY8" fmla="*/ 39815 h 182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457" h="182594">
                      <a:moveTo>
                        <a:pt x="57436" y="39815"/>
                      </a:moveTo>
                      <a:lnTo>
                        <a:pt x="125920" y="0"/>
                      </a:lnTo>
                      <a:lnTo>
                        <a:pt x="233458" y="107061"/>
                      </a:lnTo>
                      <a:lnTo>
                        <a:pt x="153352" y="167164"/>
                      </a:lnTo>
                      <a:cubicBezTo>
                        <a:pt x="148683" y="169588"/>
                        <a:pt x="146864" y="175337"/>
                        <a:pt x="149288" y="180006"/>
                      </a:cubicBezTo>
                      <a:cubicBezTo>
                        <a:pt x="149791" y="180975"/>
                        <a:pt x="150457" y="181851"/>
                        <a:pt x="151257" y="182594"/>
                      </a:cubicBezTo>
                      <a:lnTo>
                        <a:pt x="0" y="172307"/>
                      </a:lnTo>
                      <a:lnTo>
                        <a:pt x="0" y="38957"/>
                      </a:lnTo>
                      <a:cubicBezTo>
                        <a:pt x="17600" y="49542"/>
                        <a:pt x="39528" y="49870"/>
                        <a:pt x="57436" y="39815"/>
                      </a:cubicBezTo>
                      <a:close/>
                    </a:path>
                  </a:pathLst>
                </a:custGeom>
                <a:solidFill>
                  <a:srgbClr val="DAD2B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34" name="Freeform: Shape 33">
                  <a:extLst>
                    <a:ext uri="{FF2B5EF4-FFF2-40B4-BE49-F238E27FC236}">
                      <a16:creationId xmlns:a16="http://schemas.microsoft.com/office/drawing/2014/main" id="{BF0250E2-04AB-F573-6523-A2775FD0CF8D}"/>
                    </a:ext>
                  </a:extLst>
                </p:cNvPr>
                <p:cNvSpPr/>
                <p:nvPr/>
              </p:nvSpPr>
              <p:spPr>
                <a:xfrm>
                  <a:off x="6984139" y="1449727"/>
                  <a:ext cx="173509" cy="87534"/>
                </a:xfrm>
                <a:custGeom>
                  <a:avLst/>
                  <a:gdLst>
                    <a:gd name="connsiteX0" fmla="*/ 5393 w 173509"/>
                    <a:gd name="connsiteY0" fmla="*/ 60293 h 87534"/>
                    <a:gd name="connsiteX1" fmla="*/ 85689 w 173509"/>
                    <a:gd name="connsiteY1" fmla="*/ 0 h 87534"/>
                    <a:gd name="connsiteX2" fmla="*/ 89118 w 173509"/>
                    <a:gd name="connsiteY2" fmla="*/ 3524 h 87534"/>
                    <a:gd name="connsiteX3" fmla="*/ 173510 w 173509"/>
                    <a:gd name="connsiteY3" fmla="*/ 87535 h 87534"/>
                    <a:gd name="connsiteX4" fmla="*/ 3107 w 173509"/>
                    <a:gd name="connsiteY4" fmla="*/ 75914 h 87534"/>
                    <a:gd name="connsiteX5" fmla="*/ 2486 w 173509"/>
                    <a:gd name="connsiteY5" fmla="*/ 62458 h 87534"/>
                    <a:gd name="connsiteX6" fmla="*/ 5393 w 173509"/>
                    <a:gd name="connsiteY6" fmla="*/ 60293 h 8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509" h="87534">
                      <a:moveTo>
                        <a:pt x="5393" y="60293"/>
                      </a:moveTo>
                      <a:lnTo>
                        <a:pt x="85689" y="0"/>
                      </a:lnTo>
                      <a:lnTo>
                        <a:pt x="89118" y="3524"/>
                      </a:lnTo>
                      <a:lnTo>
                        <a:pt x="173510" y="87535"/>
                      </a:lnTo>
                      <a:lnTo>
                        <a:pt x="3107" y="75914"/>
                      </a:lnTo>
                      <a:cubicBezTo>
                        <a:pt x="-780" y="72370"/>
                        <a:pt x="-1058" y="66345"/>
                        <a:pt x="2486" y="62458"/>
                      </a:cubicBezTo>
                      <a:cubicBezTo>
                        <a:pt x="3307" y="61557"/>
                        <a:pt x="4294" y="60822"/>
                        <a:pt x="5393" y="60293"/>
                      </a:cubicBezTo>
                      <a:close/>
                    </a:path>
                  </a:pathLst>
                </a:custGeom>
                <a:solidFill>
                  <a:srgbClr val="C4BDA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35" name="Freeform: Shape 34">
                  <a:extLst>
                    <a:ext uri="{FF2B5EF4-FFF2-40B4-BE49-F238E27FC236}">
                      <a16:creationId xmlns:a16="http://schemas.microsoft.com/office/drawing/2014/main" id="{997AE096-5B78-2EE4-889D-4D76CE534AB1}"/>
                    </a:ext>
                  </a:extLst>
                </p:cNvPr>
                <p:cNvSpPr/>
                <p:nvPr/>
              </p:nvSpPr>
              <p:spPr>
                <a:xfrm>
                  <a:off x="6503668" y="1280563"/>
                  <a:ext cx="332125" cy="495300"/>
                </a:xfrm>
                <a:custGeom>
                  <a:avLst/>
                  <a:gdLst>
                    <a:gd name="connsiteX0" fmla="*/ 302984 w 332125"/>
                    <a:gd name="connsiteY0" fmla="*/ 36195 h 495300"/>
                    <a:gd name="connsiteX1" fmla="*/ 25426 w 332125"/>
                    <a:gd name="connsiteY1" fmla="*/ 0 h 495300"/>
                    <a:gd name="connsiteX2" fmla="*/ 78099 w 332125"/>
                    <a:gd name="connsiteY2" fmla="*/ 495300 h 495300"/>
                    <a:gd name="connsiteX3" fmla="*/ 302984 w 332125"/>
                    <a:gd name="connsiteY3" fmla="*/ 478060 h 495300"/>
                    <a:gd name="connsiteX4" fmla="*/ 332035 w 332125"/>
                    <a:gd name="connsiteY4" fmla="*/ 442817 h 495300"/>
                    <a:gd name="connsiteX5" fmla="*/ 332035 w 332125"/>
                    <a:gd name="connsiteY5" fmla="*/ 71438 h 495300"/>
                    <a:gd name="connsiteX6" fmla="*/ 302984 w 332125"/>
                    <a:gd name="connsiteY6" fmla="*/ 36195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125" h="495300">
                      <a:moveTo>
                        <a:pt x="302984" y="36195"/>
                      </a:moveTo>
                      <a:lnTo>
                        <a:pt x="25426" y="0"/>
                      </a:lnTo>
                      <a:cubicBezTo>
                        <a:pt x="-21711" y="165701"/>
                        <a:pt x="-2832" y="343218"/>
                        <a:pt x="78099" y="495300"/>
                      </a:cubicBezTo>
                      <a:lnTo>
                        <a:pt x="302984" y="478060"/>
                      </a:lnTo>
                      <a:cubicBezTo>
                        <a:pt x="320533" y="475964"/>
                        <a:pt x="333331" y="460442"/>
                        <a:pt x="332035" y="442817"/>
                      </a:cubicBezTo>
                      <a:lnTo>
                        <a:pt x="332035" y="71438"/>
                      </a:lnTo>
                      <a:cubicBezTo>
                        <a:pt x="333331" y="53812"/>
                        <a:pt x="320533" y="38287"/>
                        <a:pt x="302984" y="36195"/>
                      </a:cubicBezTo>
                      <a:close/>
                    </a:path>
                  </a:pathLst>
                </a:custGeom>
                <a:solidFill>
                  <a:srgbClr val="5495C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grpSp>
        </p:grpSp>
      </p:grpSp>
      <p:grpSp>
        <p:nvGrpSpPr>
          <p:cNvPr id="7" name="Group 1">
            <a:extLst>
              <a:ext uri="{FF2B5EF4-FFF2-40B4-BE49-F238E27FC236}">
                <a16:creationId xmlns:a16="http://schemas.microsoft.com/office/drawing/2014/main" id="{BE22EA0E-AB18-DD2E-1D84-4831A420BCA7}"/>
              </a:ext>
            </a:extLst>
          </p:cNvPr>
          <p:cNvGrpSpPr/>
          <p:nvPr/>
        </p:nvGrpSpPr>
        <p:grpSpPr>
          <a:xfrm>
            <a:off x="250823" y="289004"/>
            <a:ext cx="9724302" cy="320056"/>
            <a:chOff x="250823" y="289004"/>
            <a:chExt cx="9724302" cy="320056"/>
          </a:xfrm>
        </p:grpSpPr>
        <p:sp>
          <p:nvSpPr>
            <p:cNvPr id="37" name="Rounded Rectangle 5">
              <a:extLst>
                <a:ext uri="{FF2B5EF4-FFF2-40B4-BE49-F238E27FC236}">
                  <a16:creationId xmlns:a16="http://schemas.microsoft.com/office/drawing/2014/main" id="{6273C6CE-486C-0152-AECE-0C63104AD208}"/>
                </a:ext>
              </a:extLst>
            </p:cNvPr>
            <p:cNvSpPr/>
            <p:nvPr/>
          </p:nvSpPr>
          <p:spPr>
            <a:xfrm>
              <a:off x="250823" y="289004"/>
              <a:ext cx="1620000" cy="320056"/>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2167AE"/>
                  </a:solidFill>
                  <a:effectLst/>
                  <a:uLnTx/>
                  <a:uFillTx/>
                  <a:latin typeface="Zurich Sans Light"/>
                  <a:ea typeface="+mn-ea"/>
                  <a:cs typeface="+mn-cs"/>
                </a:rPr>
                <a:t>Portfolioebene</a:t>
              </a:r>
            </a:p>
          </p:txBody>
        </p:sp>
        <p:sp>
          <p:nvSpPr>
            <p:cNvPr id="38" name="Rounded Rectangle 6">
              <a:extLst>
                <a:ext uri="{FF2B5EF4-FFF2-40B4-BE49-F238E27FC236}">
                  <a16:creationId xmlns:a16="http://schemas.microsoft.com/office/drawing/2014/main" id="{254C3F75-3360-D230-8551-A2E20E1A25AC}"/>
                </a:ext>
              </a:extLst>
            </p:cNvPr>
            <p:cNvSpPr/>
            <p:nvPr/>
          </p:nvSpPr>
          <p:spPr>
            <a:xfrm>
              <a:off x="1873116" y="289004"/>
              <a:ext cx="1620000" cy="320056"/>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2167AE"/>
                  </a:solidFill>
                  <a:effectLst/>
                  <a:uLnTx/>
                  <a:uFillTx/>
                  <a:latin typeface="Zurich Sans Light"/>
                  <a:ea typeface="+mn-ea"/>
                  <a:cs typeface="+mn-cs"/>
                </a:rPr>
                <a:t>Identifikation</a:t>
              </a:r>
            </a:p>
          </p:txBody>
        </p:sp>
        <p:sp>
          <p:nvSpPr>
            <p:cNvPr id="39" name="Rounded Rectangle 11">
              <a:extLst>
                <a:ext uri="{FF2B5EF4-FFF2-40B4-BE49-F238E27FC236}">
                  <a16:creationId xmlns:a16="http://schemas.microsoft.com/office/drawing/2014/main" id="{23CDBC05-8BC2-9FE3-6A8C-11C62C36F992}"/>
                </a:ext>
              </a:extLst>
            </p:cNvPr>
            <p:cNvSpPr/>
            <p:nvPr/>
          </p:nvSpPr>
          <p:spPr>
            <a:xfrm>
              <a:off x="3488837" y="289004"/>
              <a:ext cx="1620000" cy="320056"/>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2167AE"/>
                  </a:solidFill>
                  <a:effectLst/>
                  <a:uLnTx/>
                  <a:uFillTx/>
                  <a:latin typeface="Zurich Sans Light"/>
                  <a:ea typeface="+mn-ea"/>
                  <a:cs typeface="+mn-cs"/>
                </a:rPr>
                <a:t>Priorisierung</a:t>
              </a:r>
            </a:p>
          </p:txBody>
        </p:sp>
        <p:sp>
          <p:nvSpPr>
            <p:cNvPr id="40" name="Rounded Rectangle 13">
              <a:extLst>
                <a:ext uri="{FF2B5EF4-FFF2-40B4-BE49-F238E27FC236}">
                  <a16:creationId xmlns:a16="http://schemas.microsoft.com/office/drawing/2014/main" id="{79945EE4-BFA4-F7C8-5961-C85F2FF40A26}"/>
                </a:ext>
              </a:extLst>
            </p:cNvPr>
            <p:cNvSpPr/>
            <p:nvPr/>
          </p:nvSpPr>
          <p:spPr>
            <a:xfrm>
              <a:off x="5113770" y="289004"/>
              <a:ext cx="1620000" cy="320056"/>
            </a:xfrm>
            <a:prstGeom prst="roundRect">
              <a:avLst>
                <a:gd name="adj" fmla="val 50000"/>
              </a:avLst>
            </a:prstGeom>
            <a:solidFill>
              <a:srgbClr val="9EB2A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FFFFFF"/>
                  </a:solidFill>
                  <a:effectLst/>
                  <a:uLnTx/>
                  <a:uFillTx/>
                  <a:latin typeface="Zurich Sans Light"/>
                  <a:ea typeface="+mn-ea"/>
                  <a:cs typeface="+mn-cs"/>
                </a:rPr>
                <a:t>Standortebene</a:t>
              </a:r>
            </a:p>
          </p:txBody>
        </p:sp>
        <p:sp>
          <p:nvSpPr>
            <p:cNvPr id="41" name="Rounded Rectangle 17">
              <a:extLst>
                <a:ext uri="{FF2B5EF4-FFF2-40B4-BE49-F238E27FC236}">
                  <a16:creationId xmlns:a16="http://schemas.microsoft.com/office/drawing/2014/main" id="{19DADF9D-0662-7642-FD64-AD4B889C2176}"/>
                </a:ext>
              </a:extLst>
            </p:cNvPr>
            <p:cNvSpPr/>
            <p:nvPr/>
          </p:nvSpPr>
          <p:spPr>
            <a:xfrm>
              <a:off x="6732879" y="289004"/>
              <a:ext cx="1620000" cy="320056"/>
            </a:xfrm>
            <a:prstGeom prst="roundRect">
              <a:avLst>
                <a:gd name="adj" fmla="val 50000"/>
              </a:avLst>
            </a:prstGeom>
            <a:solidFill>
              <a:srgbClr val="9EB2A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Zurich Sans Light"/>
                  <a:ea typeface="+mn-ea"/>
                  <a:cs typeface="+mn-cs"/>
                </a:rPr>
                <a:t>Quantifizierung</a:t>
              </a:r>
            </a:p>
          </p:txBody>
        </p:sp>
        <p:sp>
          <p:nvSpPr>
            <p:cNvPr id="42" name="Rounded Rectangle 18">
              <a:extLst>
                <a:ext uri="{FF2B5EF4-FFF2-40B4-BE49-F238E27FC236}">
                  <a16:creationId xmlns:a16="http://schemas.microsoft.com/office/drawing/2014/main" id="{417E59D5-EE37-D687-7D64-CE6FB3A344D3}"/>
                </a:ext>
              </a:extLst>
            </p:cNvPr>
            <p:cNvSpPr/>
            <p:nvPr/>
          </p:nvSpPr>
          <p:spPr>
            <a:xfrm>
              <a:off x="8355125" y="289004"/>
              <a:ext cx="1620000" cy="320056"/>
            </a:xfrm>
            <a:prstGeom prst="roundRect">
              <a:avLst>
                <a:gd name="adj" fmla="val 50000"/>
              </a:avLst>
            </a:prstGeom>
            <a:solidFill>
              <a:srgbClr val="9EB2A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Zurich Sans Light"/>
                  <a:ea typeface="+mn-ea"/>
                  <a:cs typeface="+mn-cs"/>
                </a:rPr>
                <a:t>Adaption</a:t>
              </a:r>
            </a:p>
          </p:txBody>
        </p:sp>
      </p:grpSp>
      <p:sp>
        <p:nvSpPr>
          <p:cNvPr id="8" name="Foliennummernplatzhalter 7">
            <a:extLst>
              <a:ext uri="{FF2B5EF4-FFF2-40B4-BE49-F238E27FC236}">
                <a16:creationId xmlns:a16="http://schemas.microsoft.com/office/drawing/2014/main" id="{C4BE0FFB-7205-D511-8F7E-7240AD3EB4C1}"/>
              </a:ext>
            </a:extLst>
          </p:cNvPr>
          <p:cNvSpPr>
            <a:spLocks noGrp="1"/>
          </p:cNvSpPr>
          <p:nvPr>
            <p:ph type="sldNum" sz="quarter" idx="4"/>
          </p:nvPr>
        </p:nvSpPr>
        <p:spPr>
          <a:xfrm>
            <a:off x="10675937" y="6568404"/>
            <a:ext cx="551115" cy="181960"/>
          </a:xfrm>
        </p:spPr>
        <p:txBody>
          <a:bodyPr/>
          <a:lstStyle/>
          <a:p>
            <a:fld id="{FA58F0B4-6BC7-4BFB-804F-EE9B892902C7}" type="slidenum">
              <a:rPr lang="en-US" smtClean="0"/>
              <a:pPr/>
              <a:t>14</a:t>
            </a:fld>
            <a:endParaRPr lang="en-US"/>
          </a:p>
        </p:txBody>
      </p:sp>
    </p:spTree>
    <p:extLst>
      <p:ext uri="{BB962C8B-B14F-4D97-AF65-F5344CB8AC3E}">
        <p14:creationId xmlns:p14="http://schemas.microsoft.com/office/powerpoint/2010/main" val="40482937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8FA5C5-38D5-AEAA-5BC3-CC6E03FB78FE}"/>
            </a:ext>
          </a:extLst>
        </p:cNvPr>
        <p:cNvGrpSpPr/>
        <p:nvPr/>
      </p:nvGrpSpPr>
      <p:grpSpPr>
        <a:xfrm>
          <a:off x="0" y="0"/>
          <a:ext cx="0" cy="0"/>
          <a:chOff x="0" y="0"/>
          <a:chExt cx="0" cy="0"/>
        </a:xfrm>
      </p:grpSpPr>
      <p:grpSp>
        <p:nvGrpSpPr>
          <p:cNvPr id="19" name="Group 18">
            <a:extLst>
              <a:ext uri="{FF2B5EF4-FFF2-40B4-BE49-F238E27FC236}">
                <a16:creationId xmlns:a16="http://schemas.microsoft.com/office/drawing/2014/main" id="{0E0A0035-96D9-8C48-EFF6-856343841D60}"/>
              </a:ext>
            </a:extLst>
          </p:cNvPr>
          <p:cNvGrpSpPr/>
          <p:nvPr/>
        </p:nvGrpSpPr>
        <p:grpSpPr>
          <a:xfrm>
            <a:off x="6838681" y="1930558"/>
            <a:ext cx="4397500" cy="5047593"/>
            <a:chOff x="7020193" y="1752864"/>
            <a:chExt cx="4630625" cy="5315181"/>
          </a:xfrm>
        </p:grpSpPr>
        <p:grpSp>
          <p:nvGrpSpPr>
            <p:cNvPr id="18" name="Group 17">
              <a:extLst>
                <a:ext uri="{FF2B5EF4-FFF2-40B4-BE49-F238E27FC236}">
                  <a16:creationId xmlns:a16="http://schemas.microsoft.com/office/drawing/2014/main" id="{1564526F-A4FC-0615-B6AB-6FDBA89395C5}"/>
                </a:ext>
              </a:extLst>
            </p:cNvPr>
            <p:cNvGrpSpPr/>
            <p:nvPr/>
          </p:nvGrpSpPr>
          <p:grpSpPr>
            <a:xfrm>
              <a:off x="7020193" y="1752864"/>
              <a:ext cx="4630625" cy="5315181"/>
              <a:chOff x="7020193" y="1752864"/>
              <a:chExt cx="4630625" cy="5315181"/>
            </a:xfrm>
          </p:grpSpPr>
          <p:pic>
            <p:nvPicPr>
              <p:cNvPr id="9" name="Picture 8">
                <a:extLst>
                  <a:ext uri="{FF2B5EF4-FFF2-40B4-BE49-F238E27FC236}">
                    <a16:creationId xmlns:a16="http://schemas.microsoft.com/office/drawing/2014/main" id="{C199D5A5-7227-169C-76BE-58187025C90F}"/>
                  </a:ext>
                </a:extLst>
              </p:cNvPr>
              <p:cNvPicPr>
                <a:picLocks noChangeAspect="1"/>
              </p:cNvPicPr>
              <p:nvPr/>
            </p:nvPicPr>
            <p:blipFill rotWithShape="1">
              <a:blip r:embed="rId3">
                <a:extLst>
                  <a:ext uri="{28A0092B-C50C-407E-A947-70E740481C1C}">
                    <a14:useLocalDpi xmlns:a14="http://schemas.microsoft.com/office/drawing/2010/main" val="0"/>
                  </a:ext>
                </a:extLst>
              </a:blip>
              <a:srcRect l="14508" t="7842" r="10488" b="20413"/>
              <a:stretch/>
            </p:blipFill>
            <p:spPr>
              <a:xfrm>
                <a:off x="7020193" y="1752864"/>
                <a:ext cx="4630625" cy="5315181"/>
              </a:xfrm>
              <a:prstGeom prst="rect">
                <a:avLst/>
              </a:prstGeom>
            </p:spPr>
          </p:pic>
          <p:sp>
            <p:nvSpPr>
              <p:cNvPr id="14" name="Oval 13">
                <a:extLst>
                  <a:ext uri="{FF2B5EF4-FFF2-40B4-BE49-F238E27FC236}">
                    <a16:creationId xmlns:a16="http://schemas.microsoft.com/office/drawing/2014/main" id="{752F36F6-E876-6900-ED71-A4AB8E6738FE}"/>
                  </a:ext>
                </a:extLst>
              </p:cNvPr>
              <p:cNvSpPr/>
              <p:nvPr/>
            </p:nvSpPr>
            <p:spPr>
              <a:xfrm>
                <a:off x="9117581" y="1946706"/>
                <a:ext cx="262890" cy="262890"/>
              </a:xfrm>
              <a:prstGeom prst="ellipse">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ES" sz="1000" b="0" i="0" u="none" strike="noStrike" kern="1200" cap="none" spc="0" normalizeH="0" baseline="0" noProof="0">
                  <a:ln>
                    <a:noFill/>
                  </a:ln>
                  <a:solidFill>
                    <a:srgbClr val="FFFFFF"/>
                  </a:solidFill>
                  <a:effectLst/>
                  <a:uLnTx/>
                  <a:uFillTx/>
                  <a:latin typeface="Zurich Sans Light"/>
                  <a:ea typeface="+mn-ea"/>
                  <a:cs typeface="+mn-cs"/>
                </a:endParaRPr>
              </a:p>
            </p:txBody>
          </p:sp>
        </p:grpSp>
        <p:grpSp>
          <p:nvGrpSpPr>
            <p:cNvPr id="10" name="Group 9">
              <a:extLst>
                <a:ext uri="{FF2B5EF4-FFF2-40B4-BE49-F238E27FC236}">
                  <a16:creationId xmlns:a16="http://schemas.microsoft.com/office/drawing/2014/main" id="{327F5302-7433-F1D6-2FBE-6C187D45DFA2}"/>
                </a:ext>
              </a:extLst>
            </p:cNvPr>
            <p:cNvGrpSpPr/>
            <p:nvPr/>
          </p:nvGrpSpPr>
          <p:grpSpPr>
            <a:xfrm>
              <a:off x="7408514" y="2370377"/>
              <a:ext cx="3611963" cy="4503897"/>
              <a:chOff x="7639101" y="2499352"/>
              <a:chExt cx="3077236" cy="3837125"/>
            </a:xfrm>
          </p:grpSpPr>
          <p:pic>
            <p:nvPicPr>
              <p:cNvPr id="11" name="Picture 10">
                <a:extLst>
                  <a:ext uri="{FF2B5EF4-FFF2-40B4-BE49-F238E27FC236}">
                    <a16:creationId xmlns:a16="http://schemas.microsoft.com/office/drawing/2014/main" id="{3496FA4D-E9C9-6EEB-BD4C-874BEE3A2D7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769555" y="2499352"/>
                <a:ext cx="2837379" cy="2654041"/>
              </a:xfrm>
              <a:prstGeom prst="rect">
                <a:avLst/>
              </a:prstGeom>
            </p:spPr>
          </p:pic>
          <p:pic>
            <p:nvPicPr>
              <p:cNvPr id="12" name="Picture 11">
                <a:extLst>
                  <a:ext uri="{FF2B5EF4-FFF2-40B4-BE49-F238E27FC236}">
                    <a16:creationId xmlns:a16="http://schemas.microsoft.com/office/drawing/2014/main" id="{ABD6620D-8541-4016-8F82-2C7AD7625AC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639101" y="5192753"/>
                <a:ext cx="3077236" cy="1143724"/>
              </a:xfrm>
              <a:prstGeom prst="rect">
                <a:avLst/>
              </a:prstGeom>
            </p:spPr>
          </p:pic>
        </p:grpSp>
      </p:grpSp>
      <p:sp>
        <p:nvSpPr>
          <p:cNvPr id="65" name="Rectangle 64">
            <a:extLst>
              <a:ext uri="{FF2B5EF4-FFF2-40B4-BE49-F238E27FC236}">
                <a16:creationId xmlns:a16="http://schemas.microsoft.com/office/drawing/2014/main" id="{8012D3ED-6B01-FA87-B910-3F31E889EFF0}"/>
              </a:ext>
            </a:extLst>
          </p:cNvPr>
          <p:cNvSpPr/>
          <p:nvPr/>
        </p:nvSpPr>
        <p:spPr>
          <a:xfrm>
            <a:off x="6876815" y="1583640"/>
            <a:ext cx="4089018" cy="454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360000" bIns="108000" rtlCol="0" anchor="t"/>
          <a:lstStyle/>
          <a:p>
            <a:pPr marL="266700" marR="0" lvl="0" indent="0" algn="ctr" defTabSz="914400" rtl="0" eaLnBrk="1" fontAlgn="auto" latinLnBrk="0" hangingPunct="1">
              <a:lnSpc>
                <a:spcPct val="100000"/>
              </a:lnSpc>
              <a:spcBef>
                <a:spcPts val="600"/>
              </a:spcBef>
              <a:spcAft>
                <a:spcPts val="600"/>
              </a:spcAft>
              <a:buClrTx/>
              <a:buSzTx/>
              <a:buFontTx/>
              <a:buNone/>
              <a:tabLst/>
              <a:defRPr/>
            </a:pPr>
            <a:r>
              <a:rPr kumimoji="0" lang="de-DE" sz="1400" b="1" i="0" u="none" strike="noStrike" kern="1200" cap="none" spc="0" normalizeH="0" baseline="0">
                <a:ln>
                  <a:noFill/>
                </a:ln>
                <a:solidFill>
                  <a:srgbClr val="2167AE"/>
                </a:solidFill>
                <a:effectLst/>
                <a:uLnTx/>
                <a:uFillTx/>
                <a:latin typeface="Zurich Sans Medium" panose="02000000000000000000" pitchFamily="2" charset="0"/>
                <a:ea typeface="+mn-ea"/>
                <a:cs typeface="+mn-cs"/>
              </a:rPr>
              <a:t>Gefährdungs-Vulnerabilitäts-Matrix</a:t>
            </a:r>
          </a:p>
        </p:txBody>
      </p:sp>
      <p:sp>
        <p:nvSpPr>
          <p:cNvPr id="58" name="TextBox 57">
            <a:extLst>
              <a:ext uri="{FF2B5EF4-FFF2-40B4-BE49-F238E27FC236}">
                <a16:creationId xmlns:a16="http://schemas.microsoft.com/office/drawing/2014/main" id="{561FD80D-AE9B-C112-1F1D-B5E9539992AA}"/>
              </a:ext>
            </a:extLst>
          </p:cNvPr>
          <p:cNvSpPr txBox="1"/>
          <p:nvPr/>
        </p:nvSpPr>
        <p:spPr>
          <a:xfrm>
            <a:off x="311394" y="836117"/>
            <a:ext cx="9341665"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a:ln>
                  <a:noFill/>
                </a:ln>
                <a:solidFill>
                  <a:srgbClr val="2167AE"/>
                </a:solidFill>
                <a:effectLst/>
                <a:uLnTx/>
                <a:uFillTx/>
                <a:latin typeface="Zurich Sans Light" panose="02000000000000000000" pitchFamily="2" charset="0"/>
                <a:ea typeface="+mn-ea"/>
                <a:cs typeface="+mn-cs"/>
              </a:rPr>
              <a:t>Quantifizierung des Risikos: Von der Portfoliobetrachtung bis zur Standortebene</a:t>
            </a:r>
          </a:p>
        </p:txBody>
      </p:sp>
      <p:sp>
        <p:nvSpPr>
          <p:cNvPr id="30" name="TextBox 29">
            <a:extLst>
              <a:ext uri="{FF2B5EF4-FFF2-40B4-BE49-F238E27FC236}">
                <a16:creationId xmlns:a16="http://schemas.microsoft.com/office/drawing/2014/main" id="{B7E81CD4-10DC-73EC-BABE-3BA555DFFE0C}"/>
              </a:ext>
            </a:extLst>
          </p:cNvPr>
          <p:cNvSpPr txBox="1"/>
          <p:nvPr/>
        </p:nvSpPr>
        <p:spPr>
          <a:xfrm>
            <a:off x="910102" y="1550074"/>
            <a:ext cx="5822777" cy="1741603"/>
          </a:xfrm>
          <a:prstGeom prst="rect">
            <a:avLst/>
          </a:prstGeom>
          <a:noFill/>
        </p:spPr>
        <p:txBody>
          <a:bodyPr wrap="square" lIns="108000" tIns="108000" rIns="108000" bIns="108000" numCol="1" spcCol="18000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400" b="1" i="0" u="none" strike="noStrike" kern="1200" cap="none" spc="0" normalizeH="0" baseline="0">
                <a:ln>
                  <a:noFill/>
                </a:ln>
                <a:solidFill>
                  <a:srgbClr val="2167AE"/>
                </a:solidFill>
                <a:effectLst/>
                <a:uLnTx/>
                <a:uFillTx/>
                <a:latin typeface="Zurich Sans Medium" panose="02000000000000000000" pitchFamily="2" charset="0"/>
                <a:ea typeface="+mn-ea"/>
                <a:cs typeface="+mn-cs"/>
              </a:rPr>
              <a:t>Vorteile der Standortbewertungen</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de-DE" sz="1400" b="0" i="0" u="none" strike="noStrike" kern="1200" cap="none" spc="0" normalizeH="0" baseline="0">
                <a:ln>
                  <a:noFill/>
                </a:ln>
                <a:solidFill>
                  <a:srgbClr val="2167AE"/>
                </a:solidFill>
                <a:effectLst/>
                <a:uLnTx/>
                <a:uFillTx/>
                <a:latin typeface="Zurich Sans Light"/>
                <a:ea typeface="+mn-ea"/>
                <a:cs typeface="+mn-cs"/>
              </a:rPr>
              <a:t>Detaillierte Analyse auf Standortebene in einem entscheidungsnützlichen Format (erfordert vorhandene Informationen)</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de-DE" sz="1400" b="0" i="0" u="none" strike="noStrike" kern="1200" cap="none" spc="0" normalizeH="0" baseline="0">
                <a:ln>
                  <a:noFill/>
                </a:ln>
                <a:solidFill>
                  <a:srgbClr val="2167AE"/>
                </a:solidFill>
                <a:effectLst/>
                <a:uLnTx/>
                <a:uFillTx/>
                <a:latin typeface="Zurich Sans Light"/>
                <a:ea typeface="+mn-ea"/>
                <a:cs typeface="+mn-cs"/>
              </a:rPr>
              <a:t>Schadensszenarien </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de-DE" sz="1400" b="0" i="0" u="none" strike="noStrike" kern="1200" cap="none" spc="0" normalizeH="0" baseline="0">
                <a:ln>
                  <a:noFill/>
                </a:ln>
                <a:solidFill>
                  <a:srgbClr val="2167AE"/>
                </a:solidFill>
                <a:effectLst/>
                <a:uLnTx/>
                <a:uFillTx/>
                <a:latin typeface="Zurich Sans Light"/>
                <a:ea typeface="+mn-ea"/>
                <a:cs typeface="+mn-cs"/>
              </a:rPr>
              <a:t>Detaillierte Empfehlungen zur Risikoverbesserung</a:t>
            </a:r>
          </a:p>
        </p:txBody>
      </p:sp>
      <p:pic>
        <p:nvPicPr>
          <p:cNvPr id="46" name="Picture 45">
            <a:extLst>
              <a:ext uri="{FF2B5EF4-FFF2-40B4-BE49-F238E27FC236}">
                <a16:creationId xmlns:a16="http://schemas.microsoft.com/office/drawing/2014/main" id="{1851EF3A-1643-E85B-B21C-7A04F5230323}"/>
              </a:ext>
            </a:extLst>
          </p:cNvPr>
          <p:cNvPicPr>
            <a:picLocks noChangeAspect="1"/>
          </p:cNvPicPr>
          <p:nvPr/>
        </p:nvPicPr>
        <p:blipFill>
          <a:blip r:embed="rId6"/>
          <a:stretch>
            <a:fillRect/>
          </a:stretch>
        </p:blipFill>
        <p:spPr>
          <a:xfrm>
            <a:off x="403029" y="1752864"/>
            <a:ext cx="357796" cy="403963"/>
          </a:xfrm>
          <a:prstGeom prst="rect">
            <a:avLst/>
          </a:prstGeom>
        </p:spPr>
      </p:pic>
      <p:sp>
        <p:nvSpPr>
          <p:cNvPr id="16" name="Slide Number Placeholder 4">
            <a:extLst>
              <a:ext uri="{FF2B5EF4-FFF2-40B4-BE49-F238E27FC236}">
                <a16:creationId xmlns:a16="http://schemas.microsoft.com/office/drawing/2014/main" id="{1A3E0168-3491-58E9-8384-7FDD2C32D1AA}"/>
              </a:ext>
            </a:extLst>
          </p:cNvPr>
          <p:cNvSpPr txBox="1">
            <a:spLocks/>
          </p:cNvSpPr>
          <p:nvPr/>
        </p:nvSpPr>
        <p:spPr>
          <a:xfrm>
            <a:off x="10790940" y="6511668"/>
            <a:ext cx="551043" cy="18624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86" rtl="0" eaLnBrk="1" fontAlgn="auto" latinLnBrk="0" hangingPunct="1">
              <a:lnSpc>
                <a:spcPct val="100000"/>
              </a:lnSpc>
              <a:spcBef>
                <a:spcPts val="0"/>
              </a:spcBef>
              <a:spcAft>
                <a:spcPts val="0"/>
              </a:spcAft>
              <a:buClrTx/>
              <a:buSzTx/>
              <a:buFontTx/>
              <a:buNone/>
              <a:tabLst/>
              <a:defRPr/>
            </a:pPr>
            <a:fld id="{4EBA603D-D4C5-4269-8CA1-839418D3DEDC}" type="slidenum">
              <a:rPr kumimoji="0" lang="en-US" sz="900" b="0" i="0" u="none" strike="noStrike" kern="1200" cap="none" spc="0" normalizeH="0" baseline="0" noProof="0" smtClean="0">
                <a:ln>
                  <a:noFill/>
                </a:ln>
                <a:solidFill>
                  <a:srgbClr val="2167AE"/>
                </a:solidFill>
                <a:effectLst/>
                <a:uLnTx/>
                <a:uFillTx/>
                <a:latin typeface="Zurich Sans Light"/>
                <a:ea typeface="+mn-ea"/>
                <a:cs typeface="Arial" panose="020B0604020202020204" pitchFamily="34" charset="0"/>
              </a:rPr>
              <a:pPr marL="0" marR="0" lvl="0" indent="0" algn="r" defTabSz="914286"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srgbClr val="2167AE"/>
              </a:solidFill>
              <a:effectLst/>
              <a:uLnTx/>
              <a:uFillTx/>
              <a:latin typeface="Zurich Sans Light"/>
              <a:ea typeface="+mn-ea"/>
              <a:cs typeface="Arial" panose="020B0604020202020204" pitchFamily="34" charset="0"/>
            </a:endParaRPr>
          </a:p>
        </p:txBody>
      </p:sp>
      <p:pic>
        <p:nvPicPr>
          <p:cNvPr id="20" name="Grafik 19">
            <a:extLst>
              <a:ext uri="{FF2B5EF4-FFF2-40B4-BE49-F238E27FC236}">
                <a16:creationId xmlns:a16="http://schemas.microsoft.com/office/drawing/2014/main" id="{CBDFB185-3295-CD1E-F8D5-5899A4A10F4B}"/>
              </a:ext>
            </a:extLst>
          </p:cNvPr>
          <p:cNvPicPr>
            <a:picLocks noChangeAspect="1"/>
          </p:cNvPicPr>
          <p:nvPr/>
        </p:nvPicPr>
        <p:blipFill>
          <a:blip r:embed="rId7"/>
          <a:stretch>
            <a:fillRect/>
          </a:stretch>
        </p:blipFill>
        <p:spPr>
          <a:xfrm>
            <a:off x="403029" y="3283811"/>
            <a:ext cx="5721321" cy="3203579"/>
          </a:xfrm>
          <a:prstGeom prst="rect">
            <a:avLst/>
          </a:prstGeom>
        </p:spPr>
      </p:pic>
      <p:sp>
        <p:nvSpPr>
          <p:cNvPr id="41" name="Oval 40">
            <a:extLst>
              <a:ext uri="{FF2B5EF4-FFF2-40B4-BE49-F238E27FC236}">
                <a16:creationId xmlns:a16="http://schemas.microsoft.com/office/drawing/2014/main" id="{83FA308C-3DD7-2A2A-A87F-13558BBF3FF6}"/>
              </a:ext>
            </a:extLst>
          </p:cNvPr>
          <p:cNvSpPr/>
          <p:nvPr/>
        </p:nvSpPr>
        <p:spPr>
          <a:xfrm>
            <a:off x="3349921" y="4246723"/>
            <a:ext cx="71460" cy="73817"/>
          </a:xfrm>
          <a:prstGeom prst="ellipse">
            <a:avLst/>
          </a:prstGeom>
          <a:solidFill>
            <a:srgbClr val="FF7569"/>
          </a:solidFill>
          <a:ln>
            <a:solidFill>
              <a:srgbClr val="FF7569"/>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ES" sz="1000" b="0" i="0" u="none" strike="noStrike" kern="1200" cap="none" spc="0" normalizeH="0" baseline="0" noProof="0">
              <a:ln>
                <a:noFill/>
              </a:ln>
              <a:solidFill>
                <a:srgbClr val="FFFFFF"/>
              </a:solidFill>
              <a:effectLst/>
              <a:uLnTx/>
              <a:uFillTx/>
              <a:latin typeface="Zurich Sans Light"/>
              <a:ea typeface="+mn-ea"/>
              <a:cs typeface="+mn-cs"/>
            </a:endParaRPr>
          </a:p>
        </p:txBody>
      </p:sp>
      <p:grpSp>
        <p:nvGrpSpPr>
          <p:cNvPr id="26" name="Group 1">
            <a:extLst>
              <a:ext uri="{FF2B5EF4-FFF2-40B4-BE49-F238E27FC236}">
                <a16:creationId xmlns:a16="http://schemas.microsoft.com/office/drawing/2014/main" id="{3E687BFA-BB19-F625-D4B8-893C8EDD0D2A}"/>
              </a:ext>
            </a:extLst>
          </p:cNvPr>
          <p:cNvGrpSpPr/>
          <p:nvPr/>
        </p:nvGrpSpPr>
        <p:grpSpPr>
          <a:xfrm>
            <a:off x="250823" y="289004"/>
            <a:ext cx="9724302" cy="320056"/>
            <a:chOff x="250823" y="289004"/>
            <a:chExt cx="9724302" cy="320056"/>
          </a:xfrm>
        </p:grpSpPr>
        <p:sp>
          <p:nvSpPr>
            <p:cNvPr id="27" name="Rounded Rectangle 5">
              <a:extLst>
                <a:ext uri="{FF2B5EF4-FFF2-40B4-BE49-F238E27FC236}">
                  <a16:creationId xmlns:a16="http://schemas.microsoft.com/office/drawing/2014/main" id="{AC504ECC-EA82-D7B4-24B1-071E193FEBEB}"/>
                </a:ext>
              </a:extLst>
            </p:cNvPr>
            <p:cNvSpPr/>
            <p:nvPr/>
          </p:nvSpPr>
          <p:spPr>
            <a:xfrm>
              <a:off x="250823" y="289004"/>
              <a:ext cx="1620000" cy="320056"/>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chemeClr val="accent1"/>
                  </a:solidFill>
                </a:rPr>
                <a:t>Portfolioebene</a:t>
              </a:r>
            </a:p>
          </p:txBody>
        </p:sp>
        <p:sp>
          <p:nvSpPr>
            <p:cNvPr id="28" name="Rounded Rectangle 6">
              <a:extLst>
                <a:ext uri="{FF2B5EF4-FFF2-40B4-BE49-F238E27FC236}">
                  <a16:creationId xmlns:a16="http://schemas.microsoft.com/office/drawing/2014/main" id="{E7473A60-0210-1528-2892-BD431CB699F5}"/>
                </a:ext>
              </a:extLst>
            </p:cNvPr>
            <p:cNvSpPr/>
            <p:nvPr/>
          </p:nvSpPr>
          <p:spPr>
            <a:xfrm>
              <a:off x="1873116" y="289004"/>
              <a:ext cx="1620000" cy="320056"/>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Identifikation</a:t>
              </a:r>
            </a:p>
          </p:txBody>
        </p:sp>
        <p:sp>
          <p:nvSpPr>
            <p:cNvPr id="29" name="Rounded Rectangle 11">
              <a:extLst>
                <a:ext uri="{FF2B5EF4-FFF2-40B4-BE49-F238E27FC236}">
                  <a16:creationId xmlns:a16="http://schemas.microsoft.com/office/drawing/2014/main" id="{430E6560-73CF-B35B-27E6-8A5F9AFF58A9}"/>
                </a:ext>
              </a:extLst>
            </p:cNvPr>
            <p:cNvSpPr/>
            <p:nvPr/>
          </p:nvSpPr>
          <p:spPr>
            <a:xfrm>
              <a:off x="3488837" y="289004"/>
              <a:ext cx="1620000" cy="320056"/>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Priorisierung</a:t>
              </a:r>
            </a:p>
          </p:txBody>
        </p:sp>
        <p:sp>
          <p:nvSpPr>
            <p:cNvPr id="31" name="Rounded Rectangle 13">
              <a:extLst>
                <a:ext uri="{FF2B5EF4-FFF2-40B4-BE49-F238E27FC236}">
                  <a16:creationId xmlns:a16="http://schemas.microsoft.com/office/drawing/2014/main" id="{40048A30-CC22-5A28-B91B-7237D6421255}"/>
                </a:ext>
              </a:extLst>
            </p:cNvPr>
            <p:cNvSpPr/>
            <p:nvPr/>
          </p:nvSpPr>
          <p:spPr>
            <a:xfrm>
              <a:off x="5113770" y="289004"/>
              <a:ext cx="1620000" cy="320056"/>
            </a:xfrm>
            <a:prstGeom prst="roundRect">
              <a:avLst>
                <a:gd name="adj" fmla="val 50000"/>
              </a:avLst>
            </a:prstGeom>
            <a:solidFill>
              <a:srgbClr val="9EB2A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chemeClr val="bg1"/>
                  </a:solidFill>
                </a:rPr>
                <a:t>Standortebene</a:t>
              </a:r>
            </a:p>
          </p:txBody>
        </p:sp>
        <p:sp>
          <p:nvSpPr>
            <p:cNvPr id="32" name="Rounded Rectangle 17">
              <a:extLst>
                <a:ext uri="{FF2B5EF4-FFF2-40B4-BE49-F238E27FC236}">
                  <a16:creationId xmlns:a16="http://schemas.microsoft.com/office/drawing/2014/main" id="{3E4F8F46-F0D3-7945-4C2A-C7D7663A6B00}"/>
                </a:ext>
              </a:extLst>
            </p:cNvPr>
            <p:cNvSpPr/>
            <p:nvPr/>
          </p:nvSpPr>
          <p:spPr>
            <a:xfrm>
              <a:off x="6732879" y="289004"/>
              <a:ext cx="1620000" cy="320056"/>
            </a:xfrm>
            <a:prstGeom prst="roundRect">
              <a:avLst>
                <a:gd name="adj" fmla="val 50000"/>
              </a:avLst>
            </a:prstGeom>
            <a:solidFill>
              <a:srgbClr val="9EB2A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bg1"/>
                  </a:solidFill>
                </a:rPr>
                <a:t>Quantifizierung</a:t>
              </a:r>
            </a:p>
          </p:txBody>
        </p:sp>
        <p:sp>
          <p:nvSpPr>
            <p:cNvPr id="33" name="Rounded Rectangle 18">
              <a:extLst>
                <a:ext uri="{FF2B5EF4-FFF2-40B4-BE49-F238E27FC236}">
                  <a16:creationId xmlns:a16="http://schemas.microsoft.com/office/drawing/2014/main" id="{DD6EA48A-071E-D50F-8355-5167F788EBFC}"/>
                </a:ext>
              </a:extLst>
            </p:cNvPr>
            <p:cNvSpPr/>
            <p:nvPr/>
          </p:nvSpPr>
          <p:spPr>
            <a:xfrm>
              <a:off x="8355125"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Adaption</a:t>
              </a:r>
            </a:p>
          </p:txBody>
        </p:sp>
      </p:grpSp>
    </p:spTree>
    <p:extLst>
      <p:ext uri="{BB962C8B-B14F-4D97-AF65-F5344CB8AC3E}">
        <p14:creationId xmlns:p14="http://schemas.microsoft.com/office/powerpoint/2010/main" val="41421560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C40EED-C166-0F90-103D-3A86E8FEFE2C}"/>
            </a:ext>
          </a:extLst>
        </p:cNvPr>
        <p:cNvGrpSpPr/>
        <p:nvPr/>
      </p:nvGrpSpPr>
      <p:grpSpPr>
        <a:xfrm>
          <a:off x="0" y="0"/>
          <a:ext cx="0" cy="0"/>
          <a:chOff x="0" y="0"/>
          <a:chExt cx="0" cy="0"/>
        </a:xfrm>
      </p:grpSpPr>
      <p:sp>
        <p:nvSpPr>
          <p:cNvPr id="30" name="TextBox 15">
            <a:extLst>
              <a:ext uri="{FF2B5EF4-FFF2-40B4-BE49-F238E27FC236}">
                <a16:creationId xmlns:a16="http://schemas.microsoft.com/office/drawing/2014/main" id="{3AD8A177-07F5-D749-69F8-64EA934FAF1D}"/>
              </a:ext>
            </a:extLst>
          </p:cNvPr>
          <p:cNvSpPr txBox="1"/>
          <p:nvPr/>
        </p:nvSpPr>
        <p:spPr>
          <a:xfrm>
            <a:off x="332659" y="861075"/>
            <a:ext cx="9564376" cy="461665"/>
          </a:xfrm>
          <a:prstGeom prst="rect">
            <a:avLst/>
          </a:prstGeom>
          <a:noFill/>
        </p:spPr>
        <p:txBody>
          <a:bodyPr wrap="square">
            <a:spAutoFit/>
          </a:bodyPr>
          <a:lstStyle/>
          <a:p>
            <a:r>
              <a:rPr lang="de-DE" sz="2400">
                <a:solidFill>
                  <a:schemeClr val="accent1"/>
                </a:solidFill>
              </a:rPr>
              <a:t>Standortbewertungen: Gemeinsamer Deep Dive am Standort</a:t>
            </a:r>
            <a:endParaRPr lang="en-US" sz="2400">
              <a:solidFill>
                <a:schemeClr val="accent1"/>
              </a:solidFill>
            </a:endParaRPr>
          </a:p>
        </p:txBody>
      </p:sp>
      <p:graphicFrame>
        <p:nvGraphicFramePr>
          <p:cNvPr id="1034" name="think-cell data - do not delete" hidden="1">
            <a:extLst>
              <a:ext uri="{FF2B5EF4-FFF2-40B4-BE49-F238E27FC236}">
                <a16:creationId xmlns:a16="http://schemas.microsoft.com/office/drawing/2014/main" id="{2814CF89-9EDA-B53C-F752-DCF647F8EFC4}"/>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4" imgW="443" imgH="443" progId="TCLayout.ActiveDocument.1">
                  <p:embed/>
                </p:oleObj>
              </mc:Choice>
              <mc:Fallback>
                <p:oleObj name="think-cell Folie" r:id="rId4" imgW="443" imgH="443" progId="TCLayout.ActiveDocument.1">
                  <p:embed/>
                  <p:pic>
                    <p:nvPicPr>
                      <p:cNvPr id="1034" name="think-cell data - do not delete" hidden="1">
                        <a:extLst>
                          <a:ext uri="{FF2B5EF4-FFF2-40B4-BE49-F238E27FC236}">
                            <a16:creationId xmlns:a16="http://schemas.microsoft.com/office/drawing/2014/main" id="{2814CF89-9EDA-B53C-F752-DCF647F8EFC4}"/>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2" name="Rectangle 41">
            <a:extLst>
              <a:ext uri="{FF2B5EF4-FFF2-40B4-BE49-F238E27FC236}">
                <a16:creationId xmlns:a16="http://schemas.microsoft.com/office/drawing/2014/main" id="{EEA7A48A-405B-50EA-836A-B8E2ABB36704}"/>
              </a:ext>
            </a:extLst>
          </p:cNvPr>
          <p:cNvSpPr>
            <a:spLocks noGrp="1" noRot="1" noMove="1" noResize="1" noEditPoints="1" noAdjustHandles="1" noChangeArrowheads="1" noChangeShapeType="1"/>
          </p:cNvSpPr>
          <p:nvPr/>
        </p:nvSpPr>
        <p:spPr>
          <a:xfrm>
            <a:off x="795" y="2187239"/>
            <a:ext cx="12190413" cy="46703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algn="ctr" defTabSz="914286"/>
            <a:endParaRPr lang="en-ES" sz="1000">
              <a:solidFill>
                <a:srgbClr val="FFFFFF"/>
              </a:solidFill>
              <a:latin typeface="Zurich Sans Light"/>
            </a:endParaRPr>
          </a:p>
        </p:txBody>
      </p:sp>
      <p:sp>
        <p:nvSpPr>
          <p:cNvPr id="65" name="Rectangle 64">
            <a:extLst>
              <a:ext uri="{FF2B5EF4-FFF2-40B4-BE49-F238E27FC236}">
                <a16:creationId xmlns:a16="http://schemas.microsoft.com/office/drawing/2014/main" id="{83F1482C-A478-70CE-3D14-7F61121A37CB}"/>
              </a:ext>
            </a:extLst>
          </p:cNvPr>
          <p:cNvSpPr/>
          <p:nvPr/>
        </p:nvSpPr>
        <p:spPr>
          <a:xfrm>
            <a:off x="6096000" y="2187239"/>
            <a:ext cx="5759251" cy="4169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359953" bIns="107987" rtlCol="0" anchor="t"/>
          <a:lstStyle/>
          <a:p>
            <a:pPr marL="666666" defTabSz="914286">
              <a:spcBef>
                <a:spcPts val="600"/>
              </a:spcBef>
              <a:spcAft>
                <a:spcPts val="600"/>
              </a:spcAft>
            </a:pPr>
            <a:br>
              <a:rPr lang="en-US" sz="1200" b="1">
                <a:solidFill>
                  <a:srgbClr val="2167AE"/>
                </a:solidFill>
                <a:latin typeface="Zurich Sans Light"/>
              </a:rPr>
            </a:br>
            <a:r>
              <a:rPr lang="de-DE" sz="1600" b="1">
                <a:solidFill>
                  <a:srgbClr val="2167AE"/>
                </a:solidFill>
                <a:latin typeface="Zurich Sans Light" panose="02000000000000000000" pitchFamily="2" charset="0"/>
              </a:rPr>
              <a:t>Optische Darstellung der Informationen:</a:t>
            </a:r>
            <a:endParaRPr lang="de-DE" sz="1600">
              <a:solidFill>
                <a:srgbClr val="FFFFFF"/>
              </a:solidFill>
              <a:latin typeface="Zurich Sans Light"/>
            </a:endParaRPr>
          </a:p>
        </p:txBody>
      </p:sp>
      <p:sp>
        <p:nvSpPr>
          <p:cNvPr id="62" name="Rectangle 61">
            <a:extLst>
              <a:ext uri="{FF2B5EF4-FFF2-40B4-BE49-F238E27FC236}">
                <a16:creationId xmlns:a16="http://schemas.microsoft.com/office/drawing/2014/main" id="{AC0C1DF9-7616-DEE9-CDA3-F4FA32D9F878}"/>
              </a:ext>
            </a:extLst>
          </p:cNvPr>
          <p:cNvSpPr/>
          <p:nvPr/>
        </p:nvSpPr>
        <p:spPr>
          <a:xfrm>
            <a:off x="251586" y="2190552"/>
            <a:ext cx="5800198" cy="4667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359953" bIns="107987" rtlCol="0" anchor="t"/>
          <a:lstStyle/>
          <a:p>
            <a:pPr marL="666666" indent="-265080" defTabSz="914286">
              <a:spcBef>
                <a:spcPts val="600"/>
              </a:spcBef>
              <a:spcAft>
                <a:spcPts val="600"/>
              </a:spcAft>
            </a:pPr>
            <a:br>
              <a:rPr lang="en-US" sz="1000" b="1">
                <a:solidFill>
                  <a:srgbClr val="2167AE"/>
                </a:solidFill>
                <a:latin typeface="Zurich Sans Light"/>
              </a:rPr>
            </a:br>
            <a:r>
              <a:rPr lang="de-DE" sz="1600" b="1">
                <a:solidFill>
                  <a:srgbClr val="2167AE"/>
                </a:solidFill>
                <a:latin typeface="Zurich Sans Light" panose="02000000000000000000" pitchFamily="2" charset="0"/>
              </a:rPr>
              <a:t>Inhalte des umfassenden Abschlussberichts:</a:t>
            </a:r>
            <a:endParaRPr lang="de-DE" sz="1600">
              <a:solidFill>
                <a:srgbClr val="2167AE"/>
              </a:solidFill>
              <a:latin typeface="Zurich Sans Light"/>
            </a:endParaRPr>
          </a:p>
          <a:p>
            <a:pPr marL="985714" lvl="1" indent="-274604" defTabSz="914286">
              <a:spcBef>
                <a:spcPts val="600"/>
              </a:spcBef>
              <a:buFont typeface="Courier New" panose="02070309020205020404" pitchFamily="49" charset="0"/>
              <a:buChar char="o"/>
            </a:pPr>
            <a:r>
              <a:rPr lang="de-DE" sz="1400" b="1">
                <a:solidFill>
                  <a:srgbClr val="2167AE"/>
                </a:solidFill>
                <a:latin typeface="Zurich Sans Light" panose="02000000000000000000" pitchFamily="2" charset="0"/>
              </a:rPr>
              <a:t>Executive Summary</a:t>
            </a:r>
          </a:p>
          <a:p>
            <a:pPr marL="1442914" lvl="2" indent="-274604" defTabSz="914286">
              <a:spcBef>
                <a:spcPts val="600"/>
              </a:spcBef>
              <a:buFont typeface="Courier New" panose="02070309020205020404" pitchFamily="49" charset="0"/>
              <a:buChar char="o"/>
            </a:pPr>
            <a:r>
              <a:rPr lang="de-DE" sz="1400">
                <a:solidFill>
                  <a:srgbClr val="2167AE"/>
                </a:solidFill>
                <a:latin typeface="Zurich Sans Light" panose="02000000000000000000" pitchFamily="2" charset="0"/>
              </a:rPr>
              <a:t>Zusammenfassung der maßgebenden Erkenntnisse </a:t>
            </a:r>
          </a:p>
          <a:p>
            <a:pPr marL="985714" lvl="1" indent="-274604" defTabSz="914286">
              <a:spcBef>
                <a:spcPts val="600"/>
              </a:spcBef>
              <a:buFont typeface="Courier New" panose="02070309020205020404" pitchFamily="49" charset="0"/>
              <a:buChar char="o"/>
            </a:pPr>
            <a:r>
              <a:rPr lang="de-DE" sz="1400" b="1">
                <a:solidFill>
                  <a:srgbClr val="2167AE"/>
                </a:solidFill>
                <a:latin typeface="Zurich Sans Light" panose="02000000000000000000" pitchFamily="2" charset="0"/>
              </a:rPr>
              <a:t>Naturgefahren-Vulnerabilitätsmatrix</a:t>
            </a:r>
          </a:p>
          <a:p>
            <a:pPr marL="1442914" lvl="2" indent="-274604" defTabSz="914286">
              <a:spcBef>
                <a:spcPts val="600"/>
              </a:spcBef>
              <a:buFont typeface="Courier New" panose="02070309020205020404" pitchFamily="49" charset="0"/>
              <a:buChar char="o"/>
            </a:pPr>
            <a:r>
              <a:rPr lang="de-DE" sz="1400">
                <a:solidFill>
                  <a:srgbClr val="2167AE"/>
                </a:solidFill>
                <a:latin typeface="Zurich Sans Light" panose="02000000000000000000" pitchFamily="2" charset="0"/>
              </a:rPr>
              <a:t>Risikobewertung wird für jede relevante Naturgefahr angewendet </a:t>
            </a:r>
          </a:p>
          <a:p>
            <a:pPr marL="985714" lvl="1" indent="-274604" defTabSz="914286">
              <a:spcBef>
                <a:spcPts val="600"/>
              </a:spcBef>
              <a:buFont typeface="Courier New" panose="02070309020205020404" pitchFamily="49" charset="0"/>
              <a:buChar char="o"/>
            </a:pPr>
            <a:r>
              <a:rPr lang="de-DE" sz="1400" b="1">
                <a:solidFill>
                  <a:srgbClr val="2167AE"/>
                </a:solidFill>
                <a:latin typeface="Zurich Sans Light" panose="02000000000000000000" pitchFamily="2" charset="0"/>
              </a:rPr>
              <a:t>Verlustszenarien und Schadenserwartung</a:t>
            </a:r>
          </a:p>
          <a:p>
            <a:pPr marL="1442914" lvl="2" indent="-274604" defTabSz="914286">
              <a:spcBef>
                <a:spcPts val="600"/>
              </a:spcBef>
              <a:buFont typeface="Courier New" panose="02070309020205020404" pitchFamily="49" charset="0"/>
              <a:buChar char="o"/>
            </a:pPr>
            <a:r>
              <a:rPr lang="de-DE" sz="1400">
                <a:solidFill>
                  <a:srgbClr val="2167AE"/>
                </a:solidFill>
                <a:latin typeface="Zurich Sans Light" panose="02000000000000000000" pitchFamily="2" charset="0"/>
              </a:rPr>
              <a:t>Verlustszenarien von 100-jährlichen Ereignissen werden simuliert </a:t>
            </a:r>
          </a:p>
          <a:p>
            <a:pPr marL="1442914" lvl="2" indent="-274604" defTabSz="914286">
              <a:spcBef>
                <a:spcPts val="600"/>
              </a:spcBef>
              <a:buFont typeface="Courier New" panose="02070309020205020404" pitchFamily="49" charset="0"/>
              <a:buChar char="o"/>
            </a:pPr>
            <a:r>
              <a:rPr lang="de-DE" sz="1400">
                <a:solidFill>
                  <a:srgbClr val="2167AE"/>
                </a:solidFill>
                <a:latin typeface="Zurich Sans Light" panose="02000000000000000000" pitchFamily="2" charset="0"/>
              </a:rPr>
              <a:t>Erwartbare Schäden werden ermittelt </a:t>
            </a:r>
          </a:p>
          <a:p>
            <a:pPr marL="985714" lvl="1" indent="-274604" defTabSz="914286">
              <a:spcBef>
                <a:spcPts val="600"/>
              </a:spcBef>
              <a:buFont typeface="Courier New" panose="02070309020205020404" pitchFamily="49" charset="0"/>
              <a:buChar char="o"/>
            </a:pPr>
            <a:r>
              <a:rPr lang="de-DE" sz="1400" b="1">
                <a:solidFill>
                  <a:srgbClr val="2167AE"/>
                </a:solidFill>
                <a:latin typeface="Zurich Sans Light" panose="02000000000000000000" pitchFamily="2" charset="0"/>
              </a:rPr>
              <a:t>Risk </a:t>
            </a:r>
            <a:r>
              <a:rPr lang="de-DE" sz="1400" b="1" err="1">
                <a:solidFill>
                  <a:srgbClr val="2167AE"/>
                </a:solidFill>
                <a:latin typeface="Zurich Sans Light" panose="02000000000000000000" pitchFamily="2" charset="0"/>
              </a:rPr>
              <a:t>Improvement</a:t>
            </a:r>
            <a:r>
              <a:rPr lang="de-DE" sz="1400" b="1">
                <a:solidFill>
                  <a:srgbClr val="2167AE"/>
                </a:solidFill>
                <a:latin typeface="Zurich Sans Light" panose="02000000000000000000" pitchFamily="2" charset="0"/>
              </a:rPr>
              <a:t> Actions</a:t>
            </a:r>
          </a:p>
          <a:p>
            <a:pPr marL="1442914" lvl="2" indent="-274604" defTabSz="914286">
              <a:spcBef>
                <a:spcPts val="600"/>
              </a:spcBef>
              <a:buFont typeface="Courier New" panose="02070309020205020404" pitchFamily="49" charset="0"/>
              <a:buChar char="o"/>
            </a:pPr>
            <a:r>
              <a:rPr lang="de-DE" sz="1400">
                <a:solidFill>
                  <a:srgbClr val="2167AE"/>
                </a:solidFill>
                <a:latin typeface="Zurich Sans Light" panose="02000000000000000000" pitchFamily="2" charset="0"/>
              </a:rPr>
              <a:t>Empfehlung von konkreten Handlungsempfehlungen </a:t>
            </a:r>
          </a:p>
          <a:p>
            <a:pPr marL="1442914" lvl="2" indent="-274604" defTabSz="914286">
              <a:spcBef>
                <a:spcPts val="600"/>
              </a:spcBef>
              <a:buFont typeface="Courier New" panose="02070309020205020404" pitchFamily="49" charset="0"/>
              <a:buChar char="o"/>
            </a:pPr>
            <a:r>
              <a:rPr lang="de-DE" sz="1400">
                <a:solidFill>
                  <a:srgbClr val="2167AE"/>
                </a:solidFill>
                <a:latin typeface="Zurich Sans Light" panose="02000000000000000000" pitchFamily="2" charset="0"/>
              </a:rPr>
              <a:t>Nach Bedeutung für den Standort gewichtet, um diese zu priorisieren </a:t>
            </a:r>
            <a:endParaRPr lang="en-US" sz="1400">
              <a:solidFill>
                <a:srgbClr val="2167AE"/>
              </a:solidFill>
              <a:latin typeface="Zurich Sans Light" panose="02000000000000000000" pitchFamily="2" charset="0"/>
            </a:endParaRPr>
          </a:p>
        </p:txBody>
      </p:sp>
      <p:sp>
        <p:nvSpPr>
          <p:cNvPr id="60" name="TextBox 59">
            <a:extLst>
              <a:ext uri="{FF2B5EF4-FFF2-40B4-BE49-F238E27FC236}">
                <a16:creationId xmlns:a16="http://schemas.microsoft.com/office/drawing/2014/main" id="{006459D1-149D-F6D8-A3B9-D3B37BA04D89}"/>
              </a:ext>
            </a:extLst>
          </p:cNvPr>
          <p:cNvSpPr txBox="1"/>
          <p:nvPr/>
        </p:nvSpPr>
        <p:spPr>
          <a:xfrm>
            <a:off x="358815" y="1276367"/>
            <a:ext cx="9771147" cy="707886"/>
          </a:xfrm>
          <a:prstGeom prst="rect">
            <a:avLst/>
          </a:prstGeom>
          <a:noFill/>
        </p:spPr>
        <p:txBody>
          <a:bodyPr wrap="square">
            <a:spAutoFit/>
          </a:bodyPr>
          <a:lstStyle/>
          <a:p>
            <a:pPr defTabSz="914286"/>
            <a:r>
              <a:rPr lang="de-DE" sz="2000">
                <a:solidFill>
                  <a:srgbClr val="2167AE"/>
                </a:solidFill>
                <a:latin typeface="Zurich Sans Light"/>
              </a:rPr>
              <a:t>Quantifizierung von Risiken und Erweiterung der Analyse durch Risikobewertungen als Desktop oder On-Site-Begehung</a:t>
            </a:r>
            <a:endParaRPr lang="en-ES" sz="2000">
              <a:solidFill>
                <a:srgbClr val="23366F"/>
              </a:solidFill>
              <a:latin typeface="Zurich Sans Light"/>
            </a:endParaRPr>
          </a:p>
        </p:txBody>
      </p:sp>
      <p:cxnSp>
        <p:nvCxnSpPr>
          <p:cNvPr id="25" name="Straight Connector 24">
            <a:extLst>
              <a:ext uri="{FF2B5EF4-FFF2-40B4-BE49-F238E27FC236}">
                <a16:creationId xmlns:a16="http://schemas.microsoft.com/office/drawing/2014/main" id="{35B391FF-1472-D501-E31C-C7D7ECAAC002}"/>
              </a:ext>
            </a:extLst>
          </p:cNvPr>
          <p:cNvCxnSpPr/>
          <p:nvPr/>
        </p:nvCxnSpPr>
        <p:spPr>
          <a:xfrm>
            <a:off x="6073891" y="2390941"/>
            <a:ext cx="0" cy="4181939"/>
          </a:xfrm>
          <a:prstGeom prst="line">
            <a:avLst/>
          </a:prstGeom>
          <a:ln>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558260A-CA97-7F2D-60C6-246EA5ABBF60}"/>
              </a:ext>
            </a:extLst>
          </p:cNvPr>
          <p:cNvSpPr txBox="1"/>
          <p:nvPr/>
        </p:nvSpPr>
        <p:spPr>
          <a:xfrm>
            <a:off x="11157574" y="6548566"/>
            <a:ext cx="699247" cy="138499"/>
          </a:xfrm>
          <a:prstGeom prst="rect">
            <a:avLst/>
          </a:prstGeom>
        </p:spPr>
        <p:txBody>
          <a:bodyPr vert="horz" wrap="square" lIns="0" tIns="0" rIns="0" bIns="0" rtlCol="0" anchor="t" anchorCtr="0">
            <a:spAutoFit/>
          </a:bodyPr>
          <a:lstStyle>
            <a:defPPr>
              <a:defRPr lang="en-US"/>
            </a:defPPr>
            <a:lvl1pPr algn="r">
              <a:defRPr sz="700">
                <a:solidFill>
                  <a:schemeClr val="accent1"/>
                </a:solidFill>
              </a:defRPr>
            </a:lvl1pPr>
          </a:lstStyle>
          <a:p>
            <a:pPr defTabSz="914286"/>
            <a:r>
              <a:rPr lang="en-US" sz="900">
                <a:solidFill>
                  <a:srgbClr val="2167AE"/>
                </a:solidFill>
                <a:latin typeface="Zurich Sans Light"/>
              </a:rPr>
              <a:t>© Zurich</a:t>
            </a:r>
          </a:p>
        </p:txBody>
      </p:sp>
      <p:pic>
        <p:nvPicPr>
          <p:cNvPr id="20" name="Picture 2">
            <a:extLst>
              <a:ext uri="{FF2B5EF4-FFF2-40B4-BE49-F238E27FC236}">
                <a16:creationId xmlns:a16="http://schemas.microsoft.com/office/drawing/2014/main" id="{FB3BB71D-BABE-28DD-BF62-555D89D9CB7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8698" y="2454500"/>
            <a:ext cx="397015" cy="39701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a:extLst>
              <a:ext uri="{FF2B5EF4-FFF2-40B4-BE49-F238E27FC236}">
                <a16:creationId xmlns:a16="http://schemas.microsoft.com/office/drawing/2014/main" id="{AE9DED5E-1292-272F-5424-A73D3CA971F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99224" y="2426418"/>
            <a:ext cx="497137" cy="49713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Placeholder 2">
            <a:hlinkClick r:id="rId8"/>
            <a:extLst>
              <a:ext uri="{FF2B5EF4-FFF2-40B4-BE49-F238E27FC236}">
                <a16:creationId xmlns:a16="http://schemas.microsoft.com/office/drawing/2014/main" id="{DB78E874-EF44-AA8D-0DAA-EE22F548666B}"/>
              </a:ext>
            </a:extLst>
          </p:cNvPr>
          <p:cNvPicPr>
            <a:picLocks noChangeAspect="1"/>
          </p:cNvPicPr>
          <p:nvPr/>
        </p:nvPicPr>
        <p:blipFill>
          <a:blip r:embed="rId9">
            <a:extLst>
              <a:ext uri="{28A0092B-C50C-407E-A947-70E740481C1C}">
                <a14:useLocalDpi xmlns:a14="http://schemas.microsoft.com/office/drawing/2010/main" val="0"/>
              </a:ext>
            </a:extLst>
          </a:blip>
          <a:srcRect l="25000" r="25000"/>
          <a:stretch/>
        </p:blipFill>
        <p:spPr>
          <a:xfrm>
            <a:off x="10297926" y="3818371"/>
            <a:ext cx="1756167" cy="1756167"/>
          </a:xfrm>
          <a:prstGeom prst="ellipse">
            <a:avLst/>
          </a:prstGeom>
        </p:spPr>
      </p:pic>
      <p:sp>
        <p:nvSpPr>
          <p:cNvPr id="12" name="Textfeld 11">
            <a:extLst>
              <a:ext uri="{FF2B5EF4-FFF2-40B4-BE49-F238E27FC236}">
                <a16:creationId xmlns:a16="http://schemas.microsoft.com/office/drawing/2014/main" id="{967A481A-DD78-4AB9-E7DC-7633CF721E5C}"/>
              </a:ext>
            </a:extLst>
          </p:cNvPr>
          <p:cNvSpPr txBox="1"/>
          <p:nvPr/>
        </p:nvSpPr>
        <p:spPr>
          <a:xfrm>
            <a:off x="10051806" y="3169374"/>
            <a:ext cx="2211535" cy="648997"/>
          </a:xfrm>
          <a:prstGeom prst="rect">
            <a:avLst/>
          </a:prstGeom>
          <a:noFill/>
        </p:spPr>
        <p:txBody>
          <a:bodyPr wrap="square" lIns="108000" tIns="108000" rIns="108000" bIns="108000" rtlCol="0">
            <a:spAutoFit/>
          </a:bodyPr>
          <a:lstStyle/>
          <a:p>
            <a:pPr algn="ctr"/>
            <a:r>
              <a:rPr lang="de-DE" sz="1400">
                <a:solidFill>
                  <a:schemeClr val="accent1"/>
                </a:solidFill>
              </a:rPr>
              <a:t>Link zum Kundenbeispiel MAERSK</a:t>
            </a:r>
          </a:p>
        </p:txBody>
      </p:sp>
      <p:pic>
        <p:nvPicPr>
          <p:cNvPr id="4" name="Grafik 3" descr="Ein Bild, das Elektronik, Text, Display, Computer enthält.&#10;&#10;Automatisch generierte Beschreibung">
            <a:extLst>
              <a:ext uri="{FF2B5EF4-FFF2-40B4-BE49-F238E27FC236}">
                <a16:creationId xmlns:a16="http://schemas.microsoft.com/office/drawing/2014/main" id="{859B1E55-FD46-744B-8424-4890FC77FFE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306819" y="2766046"/>
            <a:ext cx="3969716" cy="3969716"/>
          </a:xfrm>
          <a:prstGeom prst="rect">
            <a:avLst/>
          </a:prstGeom>
        </p:spPr>
      </p:pic>
      <p:sp>
        <p:nvSpPr>
          <p:cNvPr id="24" name="Rechteck 23">
            <a:extLst>
              <a:ext uri="{FF2B5EF4-FFF2-40B4-BE49-F238E27FC236}">
                <a16:creationId xmlns:a16="http://schemas.microsoft.com/office/drawing/2014/main" id="{E7EA7643-53A5-921C-B0D6-73B17694ABAB}"/>
              </a:ext>
            </a:extLst>
          </p:cNvPr>
          <p:cNvSpPr/>
          <p:nvPr/>
        </p:nvSpPr>
        <p:spPr>
          <a:xfrm>
            <a:off x="6644669" y="3381995"/>
            <a:ext cx="3310016" cy="18284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000"/>
          </a:p>
        </p:txBody>
      </p:sp>
      <p:pic>
        <p:nvPicPr>
          <p:cNvPr id="9" name="Grafik 8">
            <a:extLst>
              <a:ext uri="{FF2B5EF4-FFF2-40B4-BE49-F238E27FC236}">
                <a16:creationId xmlns:a16="http://schemas.microsoft.com/office/drawing/2014/main" id="{4A63A2DD-5F17-983F-7A8D-D366EA120B8E}"/>
              </a:ext>
            </a:extLst>
          </p:cNvPr>
          <p:cNvPicPr>
            <a:picLocks noChangeAspect="1"/>
          </p:cNvPicPr>
          <p:nvPr/>
        </p:nvPicPr>
        <p:blipFill>
          <a:blip r:embed="rId11"/>
          <a:stretch>
            <a:fillRect/>
          </a:stretch>
        </p:blipFill>
        <p:spPr>
          <a:xfrm>
            <a:off x="6855205" y="3383400"/>
            <a:ext cx="1314841" cy="1852225"/>
          </a:xfrm>
          <a:prstGeom prst="rect">
            <a:avLst/>
          </a:prstGeom>
        </p:spPr>
      </p:pic>
      <p:pic>
        <p:nvPicPr>
          <p:cNvPr id="16" name="Grafik 15">
            <a:extLst>
              <a:ext uri="{FF2B5EF4-FFF2-40B4-BE49-F238E27FC236}">
                <a16:creationId xmlns:a16="http://schemas.microsoft.com/office/drawing/2014/main" id="{647CC06F-27DF-923A-1479-A5842F39EB77}"/>
              </a:ext>
            </a:extLst>
          </p:cNvPr>
          <p:cNvPicPr>
            <a:picLocks noChangeAspect="1"/>
          </p:cNvPicPr>
          <p:nvPr/>
        </p:nvPicPr>
        <p:blipFill>
          <a:blip r:embed="rId12"/>
          <a:stretch>
            <a:fillRect/>
          </a:stretch>
        </p:blipFill>
        <p:spPr>
          <a:xfrm>
            <a:off x="8462400" y="3381551"/>
            <a:ext cx="1314841" cy="1854074"/>
          </a:xfrm>
          <a:prstGeom prst="rect">
            <a:avLst/>
          </a:prstGeom>
        </p:spPr>
      </p:pic>
      <p:grpSp>
        <p:nvGrpSpPr>
          <p:cNvPr id="15" name="Group 1">
            <a:extLst>
              <a:ext uri="{FF2B5EF4-FFF2-40B4-BE49-F238E27FC236}">
                <a16:creationId xmlns:a16="http://schemas.microsoft.com/office/drawing/2014/main" id="{CD12CB61-F0CF-B432-6CD4-569CADDD850F}"/>
              </a:ext>
            </a:extLst>
          </p:cNvPr>
          <p:cNvGrpSpPr/>
          <p:nvPr/>
        </p:nvGrpSpPr>
        <p:grpSpPr>
          <a:xfrm>
            <a:off x="250823" y="289004"/>
            <a:ext cx="9724302" cy="320056"/>
            <a:chOff x="250823" y="289004"/>
            <a:chExt cx="9724302" cy="320056"/>
          </a:xfrm>
        </p:grpSpPr>
        <p:sp>
          <p:nvSpPr>
            <p:cNvPr id="26" name="Rounded Rectangle 5">
              <a:extLst>
                <a:ext uri="{FF2B5EF4-FFF2-40B4-BE49-F238E27FC236}">
                  <a16:creationId xmlns:a16="http://schemas.microsoft.com/office/drawing/2014/main" id="{CF77AFF3-15DF-C752-4C2A-B4F31A2F3F8C}"/>
                </a:ext>
              </a:extLst>
            </p:cNvPr>
            <p:cNvSpPr/>
            <p:nvPr/>
          </p:nvSpPr>
          <p:spPr>
            <a:xfrm>
              <a:off x="250823" y="289004"/>
              <a:ext cx="1620000" cy="320056"/>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chemeClr val="accent1"/>
                  </a:solidFill>
                </a:rPr>
                <a:t>Portfolioebene</a:t>
              </a:r>
            </a:p>
          </p:txBody>
        </p:sp>
        <p:sp>
          <p:nvSpPr>
            <p:cNvPr id="27" name="Rounded Rectangle 6">
              <a:extLst>
                <a:ext uri="{FF2B5EF4-FFF2-40B4-BE49-F238E27FC236}">
                  <a16:creationId xmlns:a16="http://schemas.microsoft.com/office/drawing/2014/main" id="{8785AA33-B287-204C-24AF-1984D020A147}"/>
                </a:ext>
              </a:extLst>
            </p:cNvPr>
            <p:cNvSpPr/>
            <p:nvPr/>
          </p:nvSpPr>
          <p:spPr>
            <a:xfrm>
              <a:off x="1873116" y="289004"/>
              <a:ext cx="1620000" cy="320056"/>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Identifikation</a:t>
              </a:r>
            </a:p>
          </p:txBody>
        </p:sp>
        <p:sp>
          <p:nvSpPr>
            <p:cNvPr id="28" name="Rounded Rectangle 11">
              <a:extLst>
                <a:ext uri="{FF2B5EF4-FFF2-40B4-BE49-F238E27FC236}">
                  <a16:creationId xmlns:a16="http://schemas.microsoft.com/office/drawing/2014/main" id="{A182EA4F-1466-E777-298A-7F70BB35E7BA}"/>
                </a:ext>
              </a:extLst>
            </p:cNvPr>
            <p:cNvSpPr/>
            <p:nvPr/>
          </p:nvSpPr>
          <p:spPr>
            <a:xfrm>
              <a:off x="3488837" y="289004"/>
              <a:ext cx="1620000" cy="320056"/>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Priorisierung</a:t>
              </a:r>
            </a:p>
          </p:txBody>
        </p:sp>
        <p:sp>
          <p:nvSpPr>
            <p:cNvPr id="29" name="Rounded Rectangle 13">
              <a:extLst>
                <a:ext uri="{FF2B5EF4-FFF2-40B4-BE49-F238E27FC236}">
                  <a16:creationId xmlns:a16="http://schemas.microsoft.com/office/drawing/2014/main" id="{466C940F-D65F-F31E-9C53-DAB5BA450BA5}"/>
                </a:ext>
              </a:extLst>
            </p:cNvPr>
            <p:cNvSpPr/>
            <p:nvPr/>
          </p:nvSpPr>
          <p:spPr>
            <a:xfrm>
              <a:off x="5113770" y="289004"/>
              <a:ext cx="1620000" cy="320056"/>
            </a:xfrm>
            <a:prstGeom prst="roundRect">
              <a:avLst>
                <a:gd name="adj" fmla="val 50000"/>
              </a:avLst>
            </a:prstGeom>
            <a:solidFill>
              <a:srgbClr val="9EB2A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chemeClr val="bg1"/>
                  </a:solidFill>
                </a:rPr>
                <a:t>Standortebene</a:t>
              </a:r>
            </a:p>
          </p:txBody>
        </p:sp>
        <p:sp>
          <p:nvSpPr>
            <p:cNvPr id="32" name="Rounded Rectangle 17">
              <a:extLst>
                <a:ext uri="{FF2B5EF4-FFF2-40B4-BE49-F238E27FC236}">
                  <a16:creationId xmlns:a16="http://schemas.microsoft.com/office/drawing/2014/main" id="{9273637F-6F31-421E-3BB4-7A6817D60DFD}"/>
                </a:ext>
              </a:extLst>
            </p:cNvPr>
            <p:cNvSpPr/>
            <p:nvPr/>
          </p:nvSpPr>
          <p:spPr>
            <a:xfrm>
              <a:off x="6732879" y="289004"/>
              <a:ext cx="1620000" cy="320056"/>
            </a:xfrm>
            <a:prstGeom prst="roundRect">
              <a:avLst>
                <a:gd name="adj" fmla="val 50000"/>
              </a:avLst>
            </a:prstGeom>
            <a:solidFill>
              <a:srgbClr val="9EB2A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bg1"/>
                  </a:solidFill>
                </a:rPr>
                <a:t>Quantifizierung</a:t>
              </a:r>
            </a:p>
          </p:txBody>
        </p:sp>
        <p:sp>
          <p:nvSpPr>
            <p:cNvPr id="33" name="Rounded Rectangle 18">
              <a:extLst>
                <a:ext uri="{FF2B5EF4-FFF2-40B4-BE49-F238E27FC236}">
                  <a16:creationId xmlns:a16="http://schemas.microsoft.com/office/drawing/2014/main" id="{DCB82F7F-D508-02E4-5EC8-A1A7D6DEC700}"/>
                </a:ext>
              </a:extLst>
            </p:cNvPr>
            <p:cNvSpPr/>
            <p:nvPr/>
          </p:nvSpPr>
          <p:spPr>
            <a:xfrm>
              <a:off x="8355125" y="289004"/>
              <a:ext cx="1620000" cy="320056"/>
            </a:xfrm>
            <a:prstGeom prst="roundRect">
              <a:avLst>
                <a:gd name="adj" fmla="val 50000"/>
              </a:avLst>
            </a:prstGeom>
            <a:solidFill>
              <a:srgbClr val="9EB2A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bg1"/>
                  </a:solidFill>
                </a:rPr>
                <a:t>Adaption</a:t>
              </a:r>
            </a:p>
          </p:txBody>
        </p:sp>
      </p:grpSp>
      <p:sp>
        <p:nvSpPr>
          <p:cNvPr id="6" name="Foliennummernplatzhalter 5">
            <a:extLst>
              <a:ext uri="{FF2B5EF4-FFF2-40B4-BE49-F238E27FC236}">
                <a16:creationId xmlns:a16="http://schemas.microsoft.com/office/drawing/2014/main" id="{A526C522-8B68-9102-B8D2-195A04051F06}"/>
              </a:ext>
            </a:extLst>
          </p:cNvPr>
          <p:cNvSpPr>
            <a:spLocks noGrp="1"/>
          </p:cNvSpPr>
          <p:nvPr>
            <p:ph type="sldNum" sz="quarter" idx="4"/>
          </p:nvPr>
        </p:nvSpPr>
        <p:spPr/>
        <p:txBody>
          <a:bodyPr/>
          <a:lstStyle/>
          <a:p>
            <a:fld id="{FA58F0B4-6BC7-4BFB-804F-EE9B892902C7}" type="slidenum">
              <a:rPr lang="en-US" smtClean="0"/>
              <a:pPr/>
              <a:t>16</a:t>
            </a:fld>
            <a:endParaRPr lang="en-US"/>
          </a:p>
        </p:txBody>
      </p:sp>
    </p:spTree>
    <p:extLst>
      <p:ext uri="{BB962C8B-B14F-4D97-AF65-F5344CB8AC3E}">
        <p14:creationId xmlns:p14="http://schemas.microsoft.com/office/powerpoint/2010/main" val="40577494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757955-EBA1-A53F-98D7-CCC03FEE0703}"/>
              </a:ext>
            </a:extLst>
          </p:cNvPr>
          <p:cNvSpPr>
            <a:spLocks noGrp="1"/>
          </p:cNvSpPr>
          <p:nvPr>
            <p:ph type="title"/>
          </p:nvPr>
        </p:nvSpPr>
        <p:spPr/>
        <p:txBody>
          <a:bodyPr/>
          <a:lstStyle/>
          <a:p>
            <a:r>
              <a:rPr lang="de-DE"/>
              <a:t>Was macht unser Angebot einzigartig am Markt? </a:t>
            </a:r>
          </a:p>
        </p:txBody>
      </p:sp>
      <p:sp>
        <p:nvSpPr>
          <p:cNvPr id="6" name="Rectangle 8">
            <a:extLst>
              <a:ext uri="{FF2B5EF4-FFF2-40B4-BE49-F238E27FC236}">
                <a16:creationId xmlns:a16="http://schemas.microsoft.com/office/drawing/2014/main" id="{5305DF91-3EF2-23B5-3909-DB04A9C7E774}"/>
              </a:ext>
            </a:extLst>
          </p:cNvPr>
          <p:cNvSpPr/>
          <p:nvPr/>
        </p:nvSpPr>
        <p:spPr>
          <a:xfrm>
            <a:off x="1277800" y="2344381"/>
            <a:ext cx="9382562" cy="7199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39931" tIns="107987" rIns="179977" bIns="107987"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r>
              <a:rPr lang="de-DE" sz="1600">
                <a:solidFill>
                  <a:srgbClr val="2167AE"/>
                </a:solidFill>
              </a:rPr>
              <a:t>Innovatives Dashboard zur Auswertung der Klimarisikoanalyse via Climate Spotlight Core oder Climate Spotlight Expert</a:t>
            </a:r>
          </a:p>
        </p:txBody>
      </p:sp>
      <p:grpSp>
        <p:nvGrpSpPr>
          <p:cNvPr id="9" name="Group 29">
            <a:extLst>
              <a:ext uri="{FF2B5EF4-FFF2-40B4-BE49-F238E27FC236}">
                <a16:creationId xmlns:a16="http://schemas.microsoft.com/office/drawing/2014/main" id="{C5E7AF04-A8CE-6974-375E-31029E6D194C}"/>
              </a:ext>
            </a:extLst>
          </p:cNvPr>
          <p:cNvGrpSpPr/>
          <p:nvPr/>
        </p:nvGrpSpPr>
        <p:grpSpPr>
          <a:xfrm>
            <a:off x="936372" y="4267304"/>
            <a:ext cx="9732612" cy="724623"/>
            <a:chOff x="409892" y="3139523"/>
            <a:chExt cx="9733879" cy="724716"/>
          </a:xfrm>
        </p:grpSpPr>
        <p:sp>
          <p:nvSpPr>
            <p:cNvPr id="10" name="Rectangle 8">
              <a:extLst>
                <a:ext uri="{FF2B5EF4-FFF2-40B4-BE49-F238E27FC236}">
                  <a16:creationId xmlns:a16="http://schemas.microsoft.com/office/drawing/2014/main" id="{8DAD3756-D242-765B-E461-0760ABBC3BAA}"/>
                </a:ext>
              </a:extLst>
            </p:cNvPr>
            <p:cNvSpPr/>
            <p:nvPr/>
          </p:nvSpPr>
          <p:spPr>
            <a:xfrm>
              <a:off x="751364" y="3141881"/>
              <a:ext cx="9392407"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39931" tIns="107987" rIns="179977" bIns="107987"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r>
                <a:rPr lang="de-DE" sz="1600">
                  <a:solidFill>
                    <a:srgbClr val="2167AE"/>
                  </a:solidFill>
                </a:rPr>
                <a:t>Financial Loss Models für unterschiedliche Naturgefahren</a:t>
              </a:r>
            </a:p>
          </p:txBody>
        </p:sp>
        <p:pic>
          <p:nvPicPr>
            <p:cNvPr id="11" name="Picture 39" descr="A tree with wind blowing in the air&#10;&#10;Description automatically generated">
              <a:extLst>
                <a:ext uri="{FF2B5EF4-FFF2-40B4-BE49-F238E27FC236}">
                  <a16:creationId xmlns:a16="http://schemas.microsoft.com/office/drawing/2014/main" id="{450B39E1-1593-9686-F901-E76FC7201D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892" y="3139523"/>
              <a:ext cx="724716" cy="724716"/>
            </a:xfrm>
            <a:prstGeom prst="rect">
              <a:avLst/>
            </a:prstGeom>
          </p:spPr>
        </p:pic>
      </p:grpSp>
      <p:grpSp>
        <p:nvGrpSpPr>
          <p:cNvPr id="12" name="Group 29">
            <a:extLst>
              <a:ext uri="{FF2B5EF4-FFF2-40B4-BE49-F238E27FC236}">
                <a16:creationId xmlns:a16="http://schemas.microsoft.com/office/drawing/2014/main" id="{B2AB6024-3BEE-1C4C-D22B-6E80AB372B5E}"/>
              </a:ext>
            </a:extLst>
          </p:cNvPr>
          <p:cNvGrpSpPr/>
          <p:nvPr/>
        </p:nvGrpSpPr>
        <p:grpSpPr>
          <a:xfrm>
            <a:off x="927746" y="3303484"/>
            <a:ext cx="9732617" cy="724623"/>
            <a:chOff x="409892" y="3139523"/>
            <a:chExt cx="9733883" cy="724716"/>
          </a:xfrm>
        </p:grpSpPr>
        <p:sp>
          <p:nvSpPr>
            <p:cNvPr id="13" name="Rectangle 8">
              <a:extLst>
                <a:ext uri="{FF2B5EF4-FFF2-40B4-BE49-F238E27FC236}">
                  <a16:creationId xmlns:a16="http://schemas.microsoft.com/office/drawing/2014/main" id="{FABE11CB-AFD1-17DA-7E18-3C145DB968CA}"/>
                </a:ext>
              </a:extLst>
            </p:cNvPr>
            <p:cNvSpPr/>
            <p:nvPr/>
          </p:nvSpPr>
          <p:spPr>
            <a:xfrm>
              <a:off x="751365" y="3141883"/>
              <a:ext cx="939241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39931" tIns="107987" rIns="179977" bIns="107987"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r>
                <a:rPr lang="de-DE" sz="1600">
                  <a:solidFill>
                    <a:srgbClr val="2167AE"/>
                  </a:solidFill>
                </a:rPr>
                <a:t>Erfüllung der regulatorischen Anforderungen</a:t>
              </a:r>
            </a:p>
          </p:txBody>
        </p:sp>
        <p:pic>
          <p:nvPicPr>
            <p:cNvPr id="14" name="Picture 39" descr="A tree with wind blowing in the air&#10;&#10;Description automatically generated">
              <a:extLst>
                <a:ext uri="{FF2B5EF4-FFF2-40B4-BE49-F238E27FC236}">
                  <a16:creationId xmlns:a16="http://schemas.microsoft.com/office/drawing/2014/main" id="{1E013AE6-7C39-9D7B-5C03-E0AA338B31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892" y="3139523"/>
              <a:ext cx="724716" cy="724716"/>
            </a:xfrm>
            <a:prstGeom prst="rect">
              <a:avLst/>
            </a:prstGeom>
          </p:spPr>
        </p:pic>
      </p:grpSp>
      <p:grpSp>
        <p:nvGrpSpPr>
          <p:cNvPr id="15" name="Group 29">
            <a:extLst>
              <a:ext uri="{FF2B5EF4-FFF2-40B4-BE49-F238E27FC236}">
                <a16:creationId xmlns:a16="http://schemas.microsoft.com/office/drawing/2014/main" id="{546ECF02-9ABF-FAAE-E0B6-976F94E37CC4}"/>
              </a:ext>
            </a:extLst>
          </p:cNvPr>
          <p:cNvGrpSpPr/>
          <p:nvPr/>
        </p:nvGrpSpPr>
        <p:grpSpPr>
          <a:xfrm>
            <a:off x="927746" y="5231124"/>
            <a:ext cx="9732615" cy="724623"/>
            <a:chOff x="409892" y="3139523"/>
            <a:chExt cx="9733882" cy="724716"/>
          </a:xfrm>
        </p:grpSpPr>
        <p:sp>
          <p:nvSpPr>
            <p:cNvPr id="16" name="Rectangle 8">
              <a:extLst>
                <a:ext uri="{FF2B5EF4-FFF2-40B4-BE49-F238E27FC236}">
                  <a16:creationId xmlns:a16="http://schemas.microsoft.com/office/drawing/2014/main" id="{493A38A0-61C6-2869-5A2C-8353D6CE447A}"/>
                </a:ext>
              </a:extLst>
            </p:cNvPr>
            <p:cNvSpPr/>
            <p:nvPr/>
          </p:nvSpPr>
          <p:spPr>
            <a:xfrm>
              <a:off x="751365" y="3144239"/>
              <a:ext cx="9392409"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39931" tIns="107987" rIns="179977" bIns="107987"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r>
                <a:rPr lang="de-DE" sz="1600">
                  <a:solidFill>
                    <a:srgbClr val="2167AE"/>
                  </a:solidFill>
                </a:rPr>
                <a:t>Detaillierte Standortbewertung mit einheitlichem Standard durch globale Präsenz als Desktop-Version oder On-</a:t>
              </a:r>
              <a:r>
                <a:rPr lang="de-DE" sz="1600" err="1">
                  <a:solidFill>
                    <a:srgbClr val="2167AE"/>
                  </a:solidFill>
                </a:rPr>
                <a:t>Síte</a:t>
              </a:r>
              <a:endParaRPr lang="de-DE" sz="1600"/>
            </a:p>
          </p:txBody>
        </p:sp>
        <p:pic>
          <p:nvPicPr>
            <p:cNvPr id="17" name="Picture 39" descr="A tree with wind blowing in the air&#10;&#10;Description automatically generated">
              <a:extLst>
                <a:ext uri="{FF2B5EF4-FFF2-40B4-BE49-F238E27FC236}">
                  <a16:creationId xmlns:a16="http://schemas.microsoft.com/office/drawing/2014/main" id="{391F853F-8AB2-F6EA-C621-F2103667F6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892" y="3139523"/>
              <a:ext cx="724716" cy="724716"/>
            </a:xfrm>
            <a:prstGeom prst="rect">
              <a:avLst/>
            </a:prstGeom>
          </p:spPr>
        </p:pic>
      </p:grpSp>
      <p:grpSp>
        <p:nvGrpSpPr>
          <p:cNvPr id="18" name="Group 29">
            <a:extLst>
              <a:ext uri="{FF2B5EF4-FFF2-40B4-BE49-F238E27FC236}">
                <a16:creationId xmlns:a16="http://schemas.microsoft.com/office/drawing/2014/main" id="{6EF77E23-4E52-B369-39B7-981F26D2CB23}"/>
              </a:ext>
            </a:extLst>
          </p:cNvPr>
          <p:cNvGrpSpPr/>
          <p:nvPr/>
        </p:nvGrpSpPr>
        <p:grpSpPr>
          <a:xfrm>
            <a:off x="936372" y="1378205"/>
            <a:ext cx="9723993" cy="727686"/>
            <a:chOff x="409892" y="3141883"/>
            <a:chExt cx="9725259" cy="727779"/>
          </a:xfrm>
        </p:grpSpPr>
        <p:sp>
          <p:nvSpPr>
            <p:cNvPr id="19" name="Rectangle 8">
              <a:extLst>
                <a:ext uri="{FF2B5EF4-FFF2-40B4-BE49-F238E27FC236}">
                  <a16:creationId xmlns:a16="http://schemas.microsoft.com/office/drawing/2014/main" id="{7B43F1B5-9550-39F8-30F7-84D21730E2B5}"/>
                </a:ext>
              </a:extLst>
            </p:cNvPr>
            <p:cNvSpPr/>
            <p:nvPr/>
          </p:nvSpPr>
          <p:spPr>
            <a:xfrm>
              <a:off x="751366" y="3141883"/>
              <a:ext cx="9383785"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39931" tIns="107987" rIns="179977" bIns="107987"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86">
                <a:defRPr/>
              </a:pPr>
              <a:endParaRPr lang="de-DE" sz="1600">
                <a:solidFill>
                  <a:srgbClr val="2167AE"/>
                </a:solidFill>
              </a:endParaRPr>
            </a:p>
            <a:p>
              <a:pPr defTabSz="914286">
                <a:defRPr/>
              </a:pPr>
              <a:r>
                <a:rPr lang="de-DE" sz="1600" err="1">
                  <a:solidFill>
                    <a:srgbClr val="2167AE"/>
                  </a:solidFill>
                </a:rPr>
                <a:t>Zurich</a:t>
              </a:r>
              <a:r>
                <a:rPr lang="de-DE" sz="1600">
                  <a:solidFill>
                    <a:srgbClr val="2167AE"/>
                  </a:solidFill>
                </a:rPr>
                <a:t>-eigene Klimadaten, welche wir als Versicherer für die Einschätzung unserer Risiken nutzen</a:t>
              </a:r>
            </a:p>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de-DE" sz="1600" i="0" u="none" strike="noStrike" kern="1200" cap="none" spc="0" normalizeH="0" baseline="0">
                <a:ln>
                  <a:noFill/>
                </a:ln>
                <a:solidFill>
                  <a:srgbClr val="2167AE"/>
                </a:solidFill>
                <a:effectLst/>
                <a:uLnTx/>
                <a:uFillTx/>
                <a:latin typeface="Zurich Sans Light"/>
                <a:ea typeface="+mn-ea"/>
                <a:cs typeface="+mn-cs"/>
              </a:endParaRPr>
            </a:p>
          </p:txBody>
        </p:sp>
        <p:pic>
          <p:nvPicPr>
            <p:cNvPr id="20" name="Picture 39" descr="A tree with wind blowing in the air&#10;&#10;Description automatically generated">
              <a:extLst>
                <a:ext uri="{FF2B5EF4-FFF2-40B4-BE49-F238E27FC236}">
                  <a16:creationId xmlns:a16="http://schemas.microsoft.com/office/drawing/2014/main" id="{C4506271-216F-4584-D932-90625AD12D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892" y="3144946"/>
              <a:ext cx="724716" cy="724716"/>
            </a:xfrm>
            <a:prstGeom prst="rect">
              <a:avLst/>
            </a:prstGeom>
          </p:spPr>
        </p:pic>
      </p:grpSp>
      <p:sp>
        <p:nvSpPr>
          <p:cNvPr id="23" name="Flussdiagramm: Verbinder 22">
            <a:extLst>
              <a:ext uri="{FF2B5EF4-FFF2-40B4-BE49-F238E27FC236}">
                <a16:creationId xmlns:a16="http://schemas.microsoft.com/office/drawing/2014/main" id="{903AEFE7-2AF5-B3B0-8DF2-33813FAD2DF0}"/>
              </a:ext>
            </a:extLst>
          </p:cNvPr>
          <p:cNvSpPr/>
          <p:nvPr/>
        </p:nvSpPr>
        <p:spPr>
          <a:xfrm>
            <a:off x="930044" y="1381882"/>
            <a:ext cx="745504" cy="717553"/>
          </a:xfrm>
          <a:prstGeom prst="flowChartConnector">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de-DE" sz="1000"/>
          </a:p>
        </p:txBody>
      </p:sp>
      <p:sp>
        <p:nvSpPr>
          <p:cNvPr id="24" name="Flussdiagramm: Verbinder 23">
            <a:extLst>
              <a:ext uri="{FF2B5EF4-FFF2-40B4-BE49-F238E27FC236}">
                <a16:creationId xmlns:a16="http://schemas.microsoft.com/office/drawing/2014/main" id="{604C263D-7482-9E2A-420F-CF01CA325E71}"/>
              </a:ext>
            </a:extLst>
          </p:cNvPr>
          <p:cNvSpPr/>
          <p:nvPr/>
        </p:nvSpPr>
        <p:spPr>
          <a:xfrm>
            <a:off x="930044" y="2347317"/>
            <a:ext cx="745504" cy="717553"/>
          </a:xfrm>
          <a:prstGeom prst="flowChartConnector">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de-DE" sz="1000"/>
          </a:p>
        </p:txBody>
      </p:sp>
      <p:sp>
        <p:nvSpPr>
          <p:cNvPr id="25" name="Flussdiagramm: Verbinder 24">
            <a:extLst>
              <a:ext uri="{FF2B5EF4-FFF2-40B4-BE49-F238E27FC236}">
                <a16:creationId xmlns:a16="http://schemas.microsoft.com/office/drawing/2014/main" id="{F1318D5D-5015-9321-069D-482F5866E2C1}"/>
              </a:ext>
            </a:extLst>
          </p:cNvPr>
          <p:cNvSpPr/>
          <p:nvPr/>
        </p:nvSpPr>
        <p:spPr>
          <a:xfrm>
            <a:off x="915490" y="3305616"/>
            <a:ext cx="745504" cy="717553"/>
          </a:xfrm>
          <a:prstGeom prst="flowChartConnector">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de-DE" sz="1000"/>
          </a:p>
        </p:txBody>
      </p:sp>
      <p:sp>
        <p:nvSpPr>
          <p:cNvPr id="26" name="Flussdiagramm: Verbinder 25">
            <a:extLst>
              <a:ext uri="{FF2B5EF4-FFF2-40B4-BE49-F238E27FC236}">
                <a16:creationId xmlns:a16="http://schemas.microsoft.com/office/drawing/2014/main" id="{E1313FBE-C8B9-1C42-45B1-9CD6B0A52C96}"/>
              </a:ext>
            </a:extLst>
          </p:cNvPr>
          <p:cNvSpPr/>
          <p:nvPr/>
        </p:nvSpPr>
        <p:spPr>
          <a:xfrm>
            <a:off x="925931" y="4272017"/>
            <a:ext cx="745504" cy="717553"/>
          </a:xfrm>
          <a:prstGeom prst="flowChartConnector">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de-DE" sz="1000"/>
          </a:p>
        </p:txBody>
      </p:sp>
      <p:sp>
        <p:nvSpPr>
          <p:cNvPr id="27" name="Flussdiagramm: Verbinder 26">
            <a:extLst>
              <a:ext uri="{FF2B5EF4-FFF2-40B4-BE49-F238E27FC236}">
                <a16:creationId xmlns:a16="http://schemas.microsoft.com/office/drawing/2014/main" id="{C3DC641B-1A99-3C70-58A8-1B819A1AA3CA}"/>
              </a:ext>
            </a:extLst>
          </p:cNvPr>
          <p:cNvSpPr/>
          <p:nvPr/>
        </p:nvSpPr>
        <p:spPr>
          <a:xfrm>
            <a:off x="919808" y="5233479"/>
            <a:ext cx="745504" cy="717553"/>
          </a:xfrm>
          <a:prstGeom prst="flowChartConnector">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de-DE" sz="1000"/>
          </a:p>
        </p:txBody>
      </p:sp>
      <p:pic>
        <p:nvPicPr>
          <p:cNvPr id="7" name="Grafik 6" descr="Recherche Silhouette">
            <a:extLst>
              <a:ext uri="{FF2B5EF4-FFF2-40B4-BE49-F238E27FC236}">
                <a16:creationId xmlns:a16="http://schemas.microsoft.com/office/drawing/2014/main" id="{FD38DAE4-F9B3-F066-3E61-09F98C0133C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4668" y="1430916"/>
            <a:ext cx="619200" cy="619200"/>
          </a:xfrm>
          <a:prstGeom prst="rect">
            <a:avLst/>
          </a:prstGeom>
        </p:spPr>
      </p:pic>
      <p:pic>
        <p:nvPicPr>
          <p:cNvPr id="32" name="Grafik 31" descr="Laptop mit einfarbiger Füllung">
            <a:extLst>
              <a:ext uri="{FF2B5EF4-FFF2-40B4-BE49-F238E27FC236}">
                <a16:creationId xmlns:a16="http://schemas.microsoft.com/office/drawing/2014/main" id="{9B21AD5C-58A3-9C40-4199-DB9248A8AF2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1748" y="2372424"/>
            <a:ext cx="619200" cy="619200"/>
          </a:xfrm>
          <a:prstGeom prst="rect">
            <a:avLst/>
          </a:prstGeom>
        </p:spPr>
      </p:pic>
      <p:pic>
        <p:nvPicPr>
          <p:cNvPr id="34" name="Grafik 33" descr="Prüfliste mit einfarbiger Füllung">
            <a:extLst>
              <a:ext uri="{FF2B5EF4-FFF2-40B4-BE49-F238E27FC236}">
                <a16:creationId xmlns:a16="http://schemas.microsoft.com/office/drawing/2014/main" id="{D2BAEE26-B13A-5EA4-3BAF-DB461D457D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8200" y="3362409"/>
            <a:ext cx="619200" cy="619200"/>
          </a:xfrm>
          <a:prstGeom prst="rect">
            <a:avLst/>
          </a:prstGeom>
        </p:spPr>
      </p:pic>
      <p:pic>
        <p:nvPicPr>
          <p:cNvPr id="38" name="Grafik 37" descr="Gebäude mit einfarbiger Füllung">
            <a:extLst>
              <a:ext uri="{FF2B5EF4-FFF2-40B4-BE49-F238E27FC236}">
                <a16:creationId xmlns:a16="http://schemas.microsoft.com/office/drawing/2014/main" id="{1504B4A6-C193-7CCE-D492-86A68FF337D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4668" y="5267190"/>
            <a:ext cx="619200" cy="619200"/>
          </a:xfrm>
          <a:prstGeom prst="rect">
            <a:avLst/>
          </a:prstGeom>
        </p:spPr>
      </p:pic>
      <p:pic>
        <p:nvPicPr>
          <p:cNvPr id="40" name="Grafik 39" descr="Münzen mit einfarbiger Füllung">
            <a:extLst>
              <a:ext uri="{FF2B5EF4-FFF2-40B4-BE49-F238E27FC236}">
                <a16:creationId xmlns:a16="http://schemas.microsoft.com/office/drawing/2014/main" id="{7BE4E091-680A-4105-14F1-600C7488835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94668" y="4318419"/>
            <a:ext cx="619200" cy="619200"/>
          </a:xfrm>
          <a:prstGeom prst="rect">
            <a:avLst/>
          </a:prstGeom>
        </p:spPr>
      </p:pic>
      <p:sp>
        <p:nvSpPr>
          <p:cNvPr id="3" name="Foliennummernplatzhalter 2">
            <a:extLst>
              <a:ext uri="{FF2B5EF4-FFF2-40B4-BE49-F238E27FC236}">
                <a16:creationId xmlns:a16="http://schemas.microsoft.com/office/drawing/2014/main" id="{78C14D80-9CF1-4BA3-70CF-1355A518E09B}"/>
              </a:ext>
            </a:extLst>
          </p:cNvPr>
          <p:cNvSpPr>
            <a:spLocks noGrp="1"/>
          </p:cNvSpPr>
          <p:nvPr>
            <p:ph type="sldNum" sz="quarter" idx="4"/>
          </p:nvPr>
        </p:nvSpPr>
        <p:spPr/>
        <p:txBody>
          <a:bodyPr/>
          <a:lstStyle/>
          <a:p>
            <a:fld id="{FA58F0B4-6BC7-4BFB-804F-EE9B892902C7}" type="slidenum">
              <a:rPr lang="en-US" smtClean="0"/>
              <a:pPr/>
              <a:t>17</a:t>
            </a:fld>
            <a:endParaRPr lang="en-US"/>
          </a:p>
        </p:txBody>
      </p:sp>
    </p:spTree>
    <p:extLst>
      <p:ext uri="{BB962C8B-B14F-4D97-AF65-F5344CB8AC3E}">
        <p14:creationId xmlns:p14="http://schemas.microsoft.com/office/powerpoint/2010/main" val="33044280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a:extLst>
              <a:ext uri="{FF2B5EF4-FFF2-40B4-BE49-F238E27FC236}">
                <a16:creationId xmlns:a16="http://schemas.microsoft.com/office/drawing/2014/main" id="{0ECD9BDB-9A31-3A7A-FFE9-A586EA0D57BE}"/>
              </a:ext>
            </a:extLst>
          </p:cNvPr>
          <p:cNvPicPr>
            <a:picLocks noGrp="1" noChangeAspect="1"/>
          </p:cNvPicPr>
          <p:nvPr>
            <p:ph type="pic" sz="quarter" idx="14"/>
          </p:nvPr>
        </p:nvPicPr>
        <p:blipFill>
          <a:blip r:embed="rId2"/>
          <a:srcRect l="25" r="25"/>
          <a:stretch>
            <a:fillRect/>
          </a:stretch>
        </p:blipFill>
        <p:spPr>
          <a:xfrm>
            <a:off x="8404224" y="1677933"/>
            <a:ext cx="3119438" cy="3121025"/>
          </a:xfrm>
          <a:prstGeom prst="rect">
            <a:avLst/>
          </a:prstGeom>
        </p:spPr>
      </p:pic>
      <p:sp>
        <p:nvSpPr>
          <p:cNvPr id="6" name="Freeform 104">
            <a:extLst>
              <a:ext uri="{FF2B5EF4-FFF2-40B4-BE49-F238E27FC236}">
                <a16:creationId xmlns:a16="http://schemas.microsoft.com/office/drawing/2014/main" id="{79250B02-7DBE-2876-FD5C-A79F129F2847}"/>
              </a:ext>
            </a:extLst>
          </p:cNvPr>
          <p:cNvSpPr>
            <a:spLocks/>
          </p:cNvSpPr>
          <p:nvPr/>
        </p:nvSpPr>
        <p:spPr bwMode="auto">
          <a:xfrm>
            <a:off x="4427856" y="936071"/>
            <a:ext cx="2871374" cy="5459503"/>
          </a:xfrm>
          <a:custGeom>
            <a:avLst/>
            <a:gdLst>
              <a:gd name="connsiteX0" fmla="*/ 310957 w 2615000"/>
              <a:gd name="connsiteY0" fmla="*/ 39981 h 5509858"/>
              <a:gd name="connsiteX1" fmla="*/ 282822 w 2615000"/>
              <a:gd name="connsiteY1" fmla="*/ 45904 h 5509858"/>
              <a:gd name="connsiteX2" fmla="*/ 256169 w 2615000"/>
              <a:gd name="connsiteY2" fmla="*/ 53308 h 5509858"/>
              <a:gd name="connsiteX3" fmla="*/ 228035 w 2615000"/>
              <a:gd name="connsiteY3" fmla="*/ 62192 h 5509858"/>
              <a:gd name="connsiteX4" fmla="*/ 202862 w 2615000"/>
              <a:gd name="connsiteY4" fmla="*/ 75519 h 5509858"/>
              <a:gd name="connsiteX5" fmla="*/ 179170 w 2615000"/>
              <a:gd name="connsiteY5" fmla="*/ 90327 h 5509858"/>
              <a:gd name="connsiteX6" fmla="*/ 156959 w 2615000"/>
              <a:gd name="connsiteY6" fmla="*/ 105134 h 5509858"/>
              <a:gd name="connsiteX7" fmla="*/ 136228 w 2615000"/>
              <a:gd name="connsiteY7" fmla="*/ 124384 h 5509858"/>
              <a:gd name="connsiteX8" fmla="*/ 116979 w 2615000"/>
              <a:gd name="connsiteY8" fmla="*/ 145114 h 5509858"/>
              <a:gd name="connsiteX9" fmla="*/ 99210 w 2615000"/>
              <a:gd name="connsiteY9" fmla="*/ 167325 h 5509858"/>
              <a:gd name="connsiteX10" fmla="*/ 85883 w 2615000"/>
              <a:gd name="connsiteY10" fmla="*/ 192498 h 5509858"/>
              <a:gd name="connsiteX11" fmla="*/ 74037 w 2615000"/>
              <a:gd name="connsiteY11" fmla="*/ 217671 h 5509858"/>
              <a:gd name="connsiteX12" fmla="*/ 63672 w 2615000"/>
              <a:gd name="connsiteY12" fmla="*/ 244324 h 5509858"/>
              <a:gd name="connsiteX13" fmla="*/ 56268 w 2615000"/>
              <a:gd name="connsiteY13" fmla="*/ 272458 h 5509858"/>
              <a:gd name="connsiteX14" fmla="*/ 51826 w 2615000"/>
              <a:gd name="connsiteY14" fmla="*/ 302073 h 5509858"/>
              <a:gd name="connsiteX15" fmla="*/ 48864 w 2615000"/>
              <a:gd name="connsiteY15" fmla="*/ 331688 h 5509858"/>
              <a:gd name="connsiteX16" fmla="*/ 48864 w 2615000"/>
              <a:gd name="connsiteY16" fmla="*/ 5179653 h 5509858"/>
              <a:gd name="connsiteX17" fmla="*/ 51826 w 2615000"/>
              <a:gd name="connsiteY17" fmla="*/ 5209268 h 5509858"/>
              <a:gd name="connsiteX18" fmla="*/ 56268 w 2615000"/>
              <a:gd name="connsiteY18" fmla="*/ 5238883 h 5509858"/>
              <a:gd name="connsiteX19" fmla="*/ 63672 w 2615000"/>
              <a:gd name="connsiteY19" fmla="*/ 5267017 h 5509858"/>
              <a:gd name="connsiteX20" fmla="*/ 74037 w 2615000"/>
              <a:gd name="connsiteY20" fmla="*/ 5293670 h 5509858"/>
              <a:gd name="connsiteX21" fmla="*/ 85883 w 2615000"/>
              <a:gd name="connsiteY21" fmla="*/ 5318843 h 5509858"/>
              <a:gd name="connsiteX22" fmla="*/ 99210 w 2615000"/>
              <a:gd name="connsiteY22" fmla="*/ 5341054 h 5509858"/>
              <a:gd name="connsiteX23" fmla="*/ 116979 w 2615000"/>
              <a:gd name="connsiteY23" fmla="*/ 5363265 h 5509858"/>
              <a:gd name="connsiteX24" fmla="*/ 136228 w 2615000"/>
              <a:gd name="connsiteY24" fmla="*/ 5385477 h 5509858"/>
              <a:gd name="connsiteX25" fmla="*/ 156959 w 2615000"/>
              <a:gd name="connsiteY25" fmla="*/ 5403246 h 5509858"/>
              <a:gd name="connsiteX26" fmla="*/ 179170 w 2615000"/>
              <a:gd name="connsiteY26" fmla="*/ 5421015 h 5509858"/>
              <a:gd name="connsiteX27" fmla="*/ 202862 w 2615000"/>
              <a:gd name="connsiteY27" fmla="*/ 5435822 h 5509858"/>
              <a:gd name="connsiteX28" fmla="*/ 228035 w 2615000"/>
              <a:gd name="connsiteY28" fmla="*/ 5447668 h 5509858"/>
              <a:gd name="connsiteX29" fmla="*/ 256169 w 2615000"/>
              <a:gd name="connsiteY29" fmla="*/ 5458033 h 5509858"/>
              <a:gd name="connsiteX30" fmla="*/ 282822 w 2615000"/>
              <a:gd name="connsiteY30" fmla="*/ 5465437 h 5509858"/>
              <a:gd name="connsiteX31" fmla="*/ 310957 w 2615000"/>
              <a:gd name="connsiteY31" fmla="*/ 5468399 h 5509858"/>
              <a:gd name="connsiteX32" fmla="*/ 340571 w 2615000"/>
              <a:gd name="connsiteY32" fmla="*/ 5469879 h 5509858"/>
              <a:gd name="connsiteX33" fmla="*/ 2272947 w 2615000"/>
              <a:gd name="connsiteY33" fmla="*/ 5469879 h 5509858"/>
              <a:gd name="connsiteX34" fmla="*/ 2304042 w 2615000"/>
              <a:gd name="connsiteY34" fmla="*/ 5468399 h 5509858"/>
              <a:gd name="connsiteX35" fmla="*/ 2330696 w 2615000"/>
              <a:gd name="connsiteY35" fmla="*/ 5465437 h 5509858"/>
              <a:gd name="connsiteX36" fmla="*/ 2360311 w 2615000"/>
              <a:gd name="connsiteY36" fmla="*/ 5458033 h 5509858"/>
              <a:gd name="connsiteX37" fmla="*/ 2385484 w 2615000"/>
              <a:gd name="connsiteY37" fmla="*/ 5447668 h 5509858"/>
              <a:gd name="connsiteX38" fmla="*/ 2413618 w 2615000"/>
              <a:gd name="connsiteY38" fmla="*/ 5435822 h 5509858"/>
              <a:gd name="connsiteX39" fmla="*/ 2435829 w 2615000"/>
              <a:gd name="connsiteY39" fmla="*/ 5421015 h 5509858"/>
              <a:gd name="connsiteX40" fmla="*/ 2458040 w 2615000"/>
              <a:gd name="connsiteY40" fmla="*/ 5403246 h 5509858"/>
              <a:gd name="connsiteX41" fmla="*/ 2480252 w 2615000"/>
              <a:gd name="connsiteY41" fmla="*/ 5385477 h 5509858"/>
              <a:gd name="connsiteX42" fmla="*/ 2498020 w 2615000"/>
              <a:gd name="connsiteY42" fmla="*/ 5363265 h 5509858"/>
              <a:gd name="connsiteX43" fmla="*/ 2515789 w 2615000"/>
              <a:gd name="connsiteY43" fmla="*/ 5341054 h 5509858"/>
              <a:gd name="connsiteX44" fmla="*/ 2530597 w 2615000"/>
              <a:gd name="connsiteY44" fmla="*/ 5318843 h 5509858"/>
              <a:gd name="connsiteX45" fmla="*/ 2542443 w 2615000"/>
              <a:gd name="connsiteY45" fmla="*/ 5293670 h 5509858"/>
              <a:gd name="connsiteX46" fmla="*/ 2552808 w 2615000"/>
              <a:gd name="connsiteY46" fmla="*/ 5267017 h 5509858"/>
              <a:gd name="connsiteX47" fmla="*/ 2557250 w 2615000"/>
              <a:gd name="connsiteY47" fmla="*/ 5238883 h 5509858"/>
              <a:gd name="connsiteX48" fmla="*/ 2561692 w 2615000"/>
              <a:gd name="connsiteY48" fmla="*/ 5209268 h 5509858"/>
              <a:gd name="connsiteX49" fmla="*/ 2564654 w 2615000"/>
              <a:gd name="connsiteY49" fmla="*/ 5179653 h 5509858"/>
              <a:gd name="connsiteX50" fmla="*/ 2564654 w 2615000"/>
              <a:gd name="connsiteY50" fmla="*/ 331688 h 5509858"/>
              <a:gd name="connsiteX51" fmla="*/ 2561692 w 2615000"/>
              <a:gd name="connsiteY51" fmla="*/ 302073 h 5509858"/>
              <a:gd name="connsiteX52" fmla="*/ 2557250 w 2615000"/>
              <a:gd name="connsiteY52" fmla="*/ 272458 h 5509858"/>
              <a:gd name="connsiteX53" fmla="*/ 2552808 w 2615000"/>
              <a:gd name="connsiteY53" fmla="*/ 244324 h 5509858"/>
              <a:gd name="connsiteX54" fmla="*/ 2542443 w 2615000"/>
              <a:gd name="connsiteY54" fmla="*/ 217671 h 5509858"/>
              <a:gd name="connsiteX55" fmla="*/ 2530597 w 2615000"/>
              <a:gd name="connsiteY55" fmla="*/ 192498 h 5509858"/>
              <a:gd name="connsiteX56" fmla="*/ 2515789 w 2615000"/>
              <a:gd name="connsiteY56" fmla="*/ 167325 h 5509858"/>
              <a:gd name="connsiteX57" fmla="*/ 2498020 w 2615000"/>
              <a:gd name="connsiteY57" fmla="*/ 145114 h 5509858"/>
              <a:gd name="connsiteX58" fmla="*/ 2480252 w 2615000"/>
              <a:gd name="connsiteY58" fmla="*/ 124384 h 5509858"/>
              <a:gd name="connsiteX59" fmla="*/ 2458040 w 2615000"/>
              <a:gd name="connsiteY59" fmla="*/ 105134 h 5509858"/>
              <a:gd name="connsiteX60" fmla="*/ 2435829 w 2615000"/>
              <a:gd name="connsiteY60" fmla="*/ 90327 h 5509858"/>
              <a:gd name="connsiteX61" fmla="*/ 2413618 w 2615000"/>
              <a:gd name="connsiteY61" fmla="*/ 75519 h 5509858"/>
              <a:gd name="connsiteX62" fmla="*/ 2385484 w 2615000"/>
              <a:gd name="connsiteY62" fmla="*/ 62192 h 5509858"/>
              <a:gd name="connsiteX63" fmla="*/ 2360311 w 2615000"/>
              <a:gd name="connsiteY63" fmla="*/ 53308 h 5509858"/>
              <a:gd name="connsiteX64" fmla="*/ 2330696 w 2615000"/>
              <a:gd name="connsiteY64" fmla="*/ 45904 h 5509858"/>
              <a:gd name="connsiteX65" fmla="*/ 2304042 w 2615000"/>
              <a:gd name="connsiteY65" fmla="*/ 39981 h 5509858"/>
              <a:gd name="connsiteX66" fmla="*/ 2272947 w 2615000"/>
              <a:gd name="connsiteY66" fmla="*/ 39981 h 5509858"/>
              <a:gd name="connsiteX67" fmla="*/ 2061200 w 2615000"/>
              <a:gd name="connsiteY67" fmla="*/ 39981 h 5509858"/>
              <a:gd name="connsiteX68" fmla="*/ 2049354 w 2615000"/>
              <a:gd name="connsiteY68" fmla="*/ 39981 h 5509858"/>
              <a:gd name="connsiteX69" fmla="*/ 2038989 w 2615000"/>
              <a:gd name="connsiteY69" fmla="*/ 42943 h 5509858"/>
              <a:gd name="connsiteX70" fmla="*/ 2028623 w 2615000"/>
              <a:gd name="connsiteY70" fmla="*/ 47385 h 5509858"/>
              <a:gd name="connsiteX71" fmla="*/ 2021220 w 2615000"/>
              <a:gd name="connsiteY71" fmla="*/ 54789 h 5509858"/>
              <a:gd name="connsiteX72" fmla="*/ 2013816 w 2615000"/>
              <a:gd name="connsiteY72" fmla="*/ 62192 h 5509858"/>
              <a:gd name="connsiteX73" fmla="*/ 2009374 w 2615000"/>
              <a:gd name="connsiteY73" fmla="*/ 72558 h 5509858"/>
              <a:gd name="connsiteX74" fmla="*/ 2006412 w 2615000"/>
              <a:gd name="connsiteY74" fmla="*/ 82923 h 5509858"/>
              <a:gd name="connsiteX75" fmla="*/ 2006412 w 2615000"/>
              <a:gd name="connsiteY75" fmla="*/ 94769 h 5509858"/>
              <a:gd name="connsiteX76" fmla="*/ 2004932 w 2615000"/>
              <a:gd name="connsiteY76" fmla="*/ 109576 h 5509858"/>
              <a:gd name="connsiteX77" fmla="*/ 2004932 w 2615000"/>
              <a:gd name="connsiteY77" fmla="*/ 124384 h 5509858"/>
              <a:gd name="connsiteX78" fmla="*/ 1994566 w 2615000"/>
              <a:gd name="connsiteY78" fmla="*/ 152518 h 5509858"/>
              <a:gd name="connsiteX79" fmla="*/ 1982720 w 2615000"/>
              <a:gd name="connsiteY79" fmla="*/ 177691 h 5509858"/>
              <a:gd name="connsiteX80" fmla="*/ 1961990 w 2615000"/>
              <a:gd name="connsiteY80" fmla="*/ 199902 h 5509858"/>
              <a:gd name="connsiteX81" fmla="*/ 1939778 w 2615000"/>
              <a:gd name="connsiteY81" fmla="*/ 217671 h 5509858"/>
              <a:gd name="connsiteX82" fmla="*/ 1914606 w 2615000"/>
              <a:gd name="connsiteY82" fmla="*/ 232478 h 5509858"/>
              <a:gd name="connsiteX83" fmla="*/ 1887952 w 2615000"/>
              <a:gd name="connsiteY83" fmla="*/ 239882 h 5509858"/>
              <a:gd name="connsiteX84" fmla="*/ 1873145 w 2615000"/>
              <a:gd name="connsiteY84" fmla="*/ 241363 h 5509858"/>
              <a:gd name="connsiteX85" fmla="*/ 1856857 w 2615000"/>
              <a:gd name="connsiteY85" fmla="*/ 241363 h 5509858"/>
              <a:gd name="connsiteX86" fmla="*/ 756662 w 2615000"/>
              <a:gd name="connsiteY86" fmla="*/ 241363 h 5509858"/>
              <a:gd name="connsiteX87" fmla="*/ 741854 w 2615000"/>
              <a:gd name="connsiteY87" fmla="*/ 241363 h 5509858"/>
              <a:gd name="connsiteX88" fmla="*/ 727047 w 2615000"/>
              <a:gd name="connsiteY88" fmla="*/ 239882 h 5509858"/>
              <a:gd name="connsiteX89" fmla="*/ 698912 w 2615000"/>
              <a:gd name="connsiteY89" fmla="*/ 232478 h 5509858"/>
              <a:gd name="connsiteX90" fmla="*/ 673740 w 2615000"/>
              <a:gd name="connsiteY90" fmla="*/ 217671 h 5509858"/>
              <a:gd name="connsiteX91" fmla="*/ 651528 w 2615000"/>
              <a:gd name="connsiteY91" fmla="*/ 199902 h 5509858"/>
              <a:gd name="connsiteX92" fmla="*/ 633759 w 2615000"/>
              <a:gd name="connsiteY92" fmla="*/ 177691 h 5509858"/>
              <a:gd name="connsiteX93" fmla="*/ 618952 w 2615000"/>
              <a:gd name="connsiteY93" fmla="*/ 152518 h 5509858"/>
              <a:gd name="connsiteX94" fmla="*/ 611548 w 2615000"/>
              <a:gd name="connsiteY94" fmla="*/ 124384 h 5509858"/>
              <a:gd name="connsiteX95" fmla="*/ 610068 w 2615000"/>
              <a:gd name="connsiteY95" fmla="*/ 109576 h 5509858"/>
              <a:gd name="connsiteX96" fmla="*/ 610068 w 2615000"/>
              <a:gd name="connsiteY96" fmla="*/ 94769 h 5509858"/>
              <a:gd name="connsiteX97" fmla="*/ 607106 w 2615000"/>
              <a:gd name="connsiteY97" fmla="*/ 82923 h 5509858"/>
              <a:gd name="connsiteX98" fmla="*/ 604145 w 2615000"/>
              <a:gd name="connsiteY98" fmla="*/ 72558 h 5509858"/>
              <a:gd name="connsiteX99" fmla="*/ 599702 w 2615000"/>
              <a:gd name="connsiteY99" fmla="*/ 62192 h 5509858"/>
              <a:gd name="connsiteX100" fmla="*/ 592299 w 2615000"/>
              <a:gd name="connsiteY100" fmla="*/ 54789 h 5509858"/>
              <a:gd name="connsiteX101" fmla="*/ 584895 w 2615000"/>
              <a:gd name="connsiteY101" fmla="*/ 47385 h 5509858"/>
              <a:gd name="connsiteX102" fmla="*/ 574530 w 2615000"/>
              <a:gd name="connsiteY102" fmla="*/ 42943 h 5509858"/>
              <a:gd name="connsiteX103" fmla="*/ 564164 w 2615000"/>
              <a:gd name="connsiteY103" fmla="*/ 39981 h 5509858"/>
              <a:gd name="connsiteX104" fmla="*/ 555280 w 2615000"/>
              <a:gd name="connsiteY104" fmla="*/ 39981 h 5509858"/>
              <a:gd name="connsiteX105" fmla="*/ 340571 w 2615000"/>
              <a:gd name="connsiteY105" fmla="*/ 39981 h 5509858"/>
              <a:gd name="connsiteX106" fmla="*/ 315399 w 2615000"/>
              <a:gd name="connsiteY106" fmla="*/ 0 h 5509858"/>
              <a:gd name="connsiteX107" fmla="*/ 350937 w 2615000"/>
              <a:gd name="connsiteY107" fmla="*/ 0 h 5509858"/>
              <a:gd name="connsiteX108" fmla="*/ 2264063 w 2615000"/>
              <a:gd name="connsiteY108" fmla="*/ 0 h 5509858"/>
              <a:gd name="connsiteX109" fmla="*/ 2301082 w 2615000"/>
              <a:gd name="connsiteY109" fmla="*/ 0 h 5509858"/>
              <a:gd name="connsiteX110" fmla="*/ 2335139 w 2615000"/>
              <a:gd name="connsiteY110" fmla="*/ 5923 h 5509858"/>
              <a:gd name="connsiteX111" fmla="*/ 2367715 w 2615000"/>
              <a:gd name="connsiteY111" fmla="*/ 14808 h 5509858"/>
              <a:gd name="connsiteX112" fmla="*/ 2400292 w 2615000"/>
              <a:gd name="connsiteY112" fmla="*/ 28134 h 5509858"/>
              <a:gd name="connsiteX113" fmla="*/ 2429906 w 2615000"/>
              <a:gd name="connsiteY113" fmla="*/ 42942 h 5509858"/>
              <a:gd name="connsiteX114" fmla="*/ 2461002 w 2615000"/>
              <a:gd name="connsiteY114" fmla="*/ 60711 h 5509858"/>
              <a:gd name="connsiteX115" fmla="*/ 2487656 w 2615000"/>
              <a:gd name="connsiteY115" fmla="*/ 79960 h 5509858"/>
              <a:gd name="connsiteX116" fmla="*/ 2512828 w 2615000"/>
              <a:gd name="connsiteY116" fmla="*/ 102172 h 5509858"/>
              <a:gd name="connsiteX117" fmla="*/ 2535040 w 2615000"/>
              <a:gd name="connsiteY117" fmla="*/ 127344 h 5509858"/>
              <a:gd name="connsiteX118" fmla="*/ 2554289 w 2615000"/>
              <a:gd name="connsiteY118" fmla="*/ 155479 h 5509858"/>
              <a:gd name="connsiteX119" fmla="*/ 2572058 w 2615000"/>
              <a:gd name="connsiteY119" fmla="*/ 182132 h 5509858"/>
              <a:gd name="connsiteX120" fmla="*/ 2586866 w 2615000"/>
              <a:gd name="connsiteY120" fmla="*/ 214708 h 5509858"/>
              <a:gd name="connsiteX121" fmla="*/ 2600192 w 2615000"/>
              <a:gd name="connsiteY121" fmla="*/ 244323 h 5509858"/>
              <a:gd name="connsiteX122" fmla="*/ 2607596 w 2615000"/>
              <a:gd name="connsiteY122" fmla="*/ 279861 h 5509858"/>
              <a:gd name="connsiteX123" fmla="*/ 2612038 w 2615000"/>
              <a:gd name="connsiteY123" fmla="*/ 313918 h 5509858"/>
              <a:gd name="connsiteX124" fmla="*/ 2615000 w 2615000"/>
              <a:gd name="connsiteY124" fmla="*/ 349456 h 5509858"/>
              <a:gd name="connsiteX125" fmla="*/ 2615000 w 2615000"/>
              <a:gd name="connsiteY125" fmla="*/ 5161883 h 5509858"/>
              <a:gd name="connsiteX126" fmla="*/ 2612038 w 2615000"/>
              <a:gd name="connsiteY126" fmla="*/ 5195940 h 5509858"/>
              <a:gd name="connsiteX127" fmla="*/ 2607596 w 2615000"/>
              <a:gd name="connsiteY127" fmla="*/ 5231478 h 5509858"/>
              <a:gd name="connsiteX128" fmla="*/ 2600192 w 2615000"/>
              <a:gd name="connsiteY128" fmla="*/ 5264054 h 5509858"/>
              <a:gd name="connsiteX129" fmla="*/ 2586866 w 2615000"/>
              <a:gd name="connsiteY129" fmla="*/ 5296631 h 5509858"/>
              <a:gd name="connsiteX130" fmla="*/ 2572058 w 2615000"/>
              <a:gd name="connsiteY130" fmla="*/ 5329207 h 5509858"/>
              <a:gd name="connsiteX131" fmla="*/ 2554289 w 2615000"/>
              <a:gd name="connsiteY131" fmla="*/ 5355861 h 5509858"/>
              <a:gd name="connsiteX132" fmla="*/ 2535040 w 2615000"/>
              <a:gd name="connsiteY132" fmla="*/ 5383995 h 5509858"/>
              <a:gd name="connsiteX133" fmla="*/ 2512828 w 2615000"/>
              <a:gd name="connsiteY133" fmla="*/ 5407687 h 5509858"/>
              <a:gd name="connsiteX134" fmla="*/ 2487656 w 2615000"/>
              <a:gd name="connsiteY134" fmla="*/ 5431379 h 5509858"/>
              <a:gd name="connsiteX135" fmla="*/ 2461002 w 2615000"/>
              <a:gd name="connsiteY135" fmla="*/ 5450628 h 5509858"/>
              <a:gd name="connsiteX136" fmla="*/ 2429906 w 2615000"/>
              <a:gd name="connsiteY136" fmla="*/ 5468397 h 5509858"/>
              <a:gd name="connsiteX137" fmla="*/ 2400292 w 2615000"/>
              <a:gd name="connsiteY137" fmla="*/ 5483205 h 5509858"/>
              <a:gd name="connsiteX138" fmla="*/ 2367715 w 2615000"/>
              <a:gd name="connsiteY138" fmla="*/ 5495051 h 5509858"/>
              <a:gd name="connsiteX139" fmla="*/ 2335139 w 2615000"/>
              <a:gd name="connsiteY139" fmla="*/ 5502455 h 5509858"/>
              <a:gd name="connsiteX140" fmla="*/ 2301082 w 2615000"/>
              <a:gd name="connsiteY140" fmla="*/ 5508378 h 5509858"/>
              <a:gd name="connsiteX141" fmla="*/ 2264063 w 2615000"/>
              <a:gd name="connsiteY141" fmla="*/ 5509858 h 5509858"/>
              <a:gd name="connsiteX142" fmla="*/ 350937 w 2615000"/>
              <a:gd name="connsiteY142" fmla="*/ 5509858 h 5509858"/>
              <a:gd name="connsiteX143" fmla="*/ 315399 w 2615000"/>
              <a:gd name="connsiteY143" fmla="*/ 5508378 h 5509858"/>
              <a:gd name="connsiteX144" fmla="*/ 281342 w 2615000"/>
              <a:gd name="connsiteY144" fmla="*/ 5502455 h 5509858"/>
              <a:gd name="connsiteX145" fmla="*/ 245804 w 2615000"/>
              <a:gd name="connsiteY145" fmla="*/ 5495051 h 5509858"/>
              <a:gd name="connsiteX146" fmla="*/ 213228 w 2615000"/>
              <a:gd name="connsiteY146" fmla="*/ 5483205 h 5509858"/>
              <a:gd name="connsiteX147" fmla="*/ 183613 w 2615000"/>
              <a:gd name="connsiteY147" fmla="*/ 5468397 h 5509858"/>
              <a:gd name="connsiteX148" fmla="*/ 153998 w 2615000"/>
              <a:gd name="connsiteY148" fmla="*/ 5450628 h 5509858"/>
              <a:gd name="connsiteX149" fmla="*/ 128825 w 2615000"/>
              <a:gd name="connsiteY149" fmla="*/ 5431379 h 5509858"/>
              <a:gd name="connsiteX150" fmla="*/ 103653 w 2615000"/>
              <a:gd name="connsiteY150" fmla="*/ 5407687 h 5509858"/>
              <a:gd name="connsiteX151" fmla="*/ 78480 w 2615000"/>
              <a:gd name="connsiteY151" fmla="*/ 5383995 h 5509858"/>
              <a:gd name="connsiteX152" fmla="*/ 59230 w 2615000"/>
              <a:gd name="connsiteY152" fmla="*/ 5355861 h 5509858"/>
              <a:gd name="connsiteX153" fmla="*/ 41461 w 2615000"/>
              <a:gd name="connsiteY153" fmla="*/ 5329207 h 5509858"/>
              <a:gd name="connsiteX154" fmla="*/ 26654 w 2615000"/>
              <a:gd name="connsiteY154" fmla="*/ 5296631 h 5509858"/>
              <a:gd name="connsiteX155" fmla="*/ 16288 w 2615000"/>
              <a:gd name="connsiteY155" fmla="*/ 5264054 h 5509858"/>
              <a:gd name="connsiteX156" fmla="*/ 7404 w 2615000"/>
              <a:gd name="connsiteY156" fmla="*/ 5231478 h 5509858"/>
              <a:gd name="connsiteX157" fmla="*/ 1481 w 2615000"/>
              <a:gd name="connsiteY157" fmla="*/ 5195940 h 5509858"/>
              <a:gd name="connsiteX158" fmla="*/ 0 w 2615000"/>
              <a:gd name="connsiteY158" fmla="*/ 5161883 h 5509858"/>
              <a:gd name="connsiteX159" fmla="*/ 0 w 2615000"/>
              <a:gd name="connsiteY159" fmla="*/ 349456 h 5509858"/>
              <a:gd name="connsiteX160" fmla="*/ 1481 w 2615000"/>
              <a:gd name="connsiteY160" fmla="*/ 313918 h 5509858"/>
              <a:gd name="connsiteX161" fmla="*/ 7404 w 2615000"/>
              <a:gd name="connsiteY161" fmla="*/ 279861 h 5509858"/>
              <a:gd name="connsiteX162" fmla="*/ 16288 w 2615000"/>
              <a:gd name="connsiteY162" fmla="*/ 244323 h 5509858"/>
              <a:gd name="connsiteX163" fmla="*/ 26654 w 2615000"/>
              <a:gd name="connsiteY163" fmla="*/ 214708 h 5509858"/>
              <a:gd name="connsiteX164" fmla="*/ 41461 w 2615000"/>
              <a:gd name="connsiteY164" fmla="*/ 182132 h 5509858"/>
              <a:gd name="connsiteX165" fmla="*/ 59230 w 2615000"/>
              <a:gd name="connsiteY165" fmla="*/ 155479 h 5509858"/>
              <a:gd name="connsiteX166" fmla="*/ 78480 w 2615000"/>
              <a:gd name="connsiteY166" fmla="*/ 127344 h 5509858"/>
              <a:gd name="connsiteX167" fmla="*/ 103653 w 2615000"/>
              <a:gd name="connsiteY167" fmla="*/ 102172 h 5509858"/>
              <a:gd name="connsiteX168" fmla="*/ 128825 w 2615000"/>
              <a:gd name="connsiteY168" fmla="*/ 79960 h 5509858"/>
              <a:gd name="connsiteX169" fmla="*/ 153998 w 2615000"/>
              <a:gd name="connsiteY169" fmla="*/ 60711 h 5509858"/>
              <a:gd name="connsiteX170" fmla="*/ 183613 w 2615000"/>
              <a:gd name="connsiteY170" fmla="*/ 42942 h 5509858"/>
              <a:gd name="connsiteX171" fmla="*/ 213228 w 2615000"/>
              <a:gd name="connsiteY171" fmla="*/ 28134 h 5509858"/>
              <a:gd name="connsiteX172" fmla="*/ 245804 w 2615000"/>
              <a:gd name="connsiteY172" fmla="*/ 14808 h 5509858"/>
              <a:gd name="connsiteX173" fmla="*/ 281342 w 2615000"/>
              <a:gd name="connsiteY173" fmla="*/ 5923 h 5509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Lst>
            <a:rect l="l" t="t" r="r" b="b"/>
            <a:pathLst>
              <a:path w="2615000" h="5509858">
                <a:moveTo>
                  <a:pt x="310957" y="39981"/>
                </a:moveTo>
                <a:lnTo>
                  <a:pt x="282822" y="45904"/>
                </a:lnTo>
                <a:lnTo>
                  <a:pt x="256169" y="53308"/>
                </a:lnTo>
                <a:lnTo>
                  <a:pt x="228035" y="62192"/>
                </a:lnTo>
                <a:lnTo>
                  <a:pt x="202862" y="75519"/>
                </a:lnTo>
                <a:lnTo>
                  <a:pt x="179170" y="90327"/>
                </a:lnTo>
                <a:lnTo>
                  <a:pt x="156959" y="105134"/>
                </a:lnTo>
                <a:lnTo>
                  <a:pt x="136228" y="124384"/>
                </a:lnTo>
                <a:lnTo>
                  <a:pt x="116979" y="145114"/>
                </a:lnTo>
                <a:lnTo>
                  <a:pt x="99210" y="167325"/>
                </a:lnTo>
                <a:lnTo>
                  <a:pt x="85883" y="192498"/>
                </a:lnTo>
                <a:lnTo>
                  <a:pt x="74037" y="217671"/>
                </a:lnTo>
                <a:lnTo>
                  <a:pt x="63672" y="244324"/>
                </a:lnTo>
                <a:lnTo>
                  <a:pt x="56268" y="272458"/>
                </a:lnTo>
                <a:lnTo>
                  <a:pt x="51826" y="302073"/>
                </a:lnTo>
                <a:lnTo>
                  <a:pt x="48864" y="331688"/>
                </a:lnTo>
                <a:lnTo>
                  <a:pt x="48864" y="5179653"/>
                </a:lnTo>
                <a:lnTo>
                  <a:pt x="51826" y="5209268"/>
                </a:lnTo>
                <a:lnTo>
                  <a:pt x="56268" y="5238883"/>
                </a:lnTo>
                <a:lnTo>
                  <a:pt x="63672" y="5267017"/>
                </a:lnTo>
                <a:lnTo>
                  <a:pt x="74037" y="5293670"/>
                </a:lnTo>
                <a:lnTo>
                  <a:pt x="85883" y="5318843"/>
                </a:lnTo>
                <a:lnTo>
                  <a:pt x="99210" y="5341054"/>
                </a:lnTo>
                <a:lnTo>
                  <a:pt x="116979" y="5363265"/>
                </a:lnTo>
                <a:lnTo>
                  <a:pt x="136228" y="5385477"/>
                </a:lnTo>
                <a:lnTo>
                  <a:pt x="156959" y="5403246"/>
                </a:lnTo>
                <a:lnTo>
                  <a:pt x="179170" y="5421015"/>
                </a:lnTo>
                <a:lnTo>
                  <a:pt x="202862" y="5435822"/>
                </a:lnTo>
                <a:lnTo>
                  <a:pt x="228035" y="5447668"/>
                </a:lnTo>
                <a:lnTo>
                  <a:pt x="256169" y="5458033"/>
                </a:lnTo>
                <a:lnTo>
                  <a:pt x="282822" y="5465437"/>
                </a:lnTo>
                <a:lnTo>
                  <a:pt x="310957" y="5468399"/>
                </a:lnTo>
                <a:lnTo>
                  <a:pt x="340571" y="5469879"/>
                </a:lnTo>
                <a:lnTo>
                  <a:pt x="2272947" y="5469879"/>
                </a:lnTo>
                <a:lnTo>
                  <a:pt x="2304042" y="5468399"/>
                </a:lnTo>
                <a:lnTo>
                  <a:pt x="2330696" y="5465437"/>
                </a:lnTo>
                <a:lnTo>
                  <a:pt x="2360311" y="5458033"/>
                </a:lnTo>
                <a:lnTo>
                  <a:pt x="2385484" y="5447668"/>
                </a:lnTo>
                <a:lnTo>
                  <a:pt x="2413618" y="5435822"/>
                </a:lnTo>
                <a:lnTo>
                  <a:pt x="2435829" y="5421015"/>
                </a:lnTo>
                <a:lnTo>
                  <a:pt x="2458040" y="5403246"/>
                </a:lnTo>
                <a:lnTo>
                  <a:pt x="2480252" y="5385477"/>
                </a:lnTo>
                <a:lnTo>
                  <a:pt x="2498020" y="5363265"/>
                </a:lnTo>
                <a:lnTo>
                  <a:pt x="2515789" y="5341054"/>
                </a:lnTo>
                <a:lnTo>
                  <a:pt x="2530597" y="5318843"/>
                </a:lnTo>
                <a:lnTo>
                  <a:pt x="2542443" y="5293670"/>
                </a:lnTo>
                <a:lnTo>
                  <a:pt x="2552808" y="5267017"/>
                </a:lnTo>
                <a:lnTo>
                  <a:pt x="2557250" y="5238883"/>
                </a:lnTo>
                <a:lnTo>
                  <a:pt x="2561692" y="5209268"/>
                </a:lnTo>
                <a:lnTo>
                  <a:pt x="2564654" y="5179653"/>
                </a:lnTo>
                <a:lnTo>
                  <a:pt x="2564654" y="331688"/>
                </a:lnTo>
                <a:lnTo>
                  <a:pt x="2561692" y="302073"/>
                </a:lnTo>
                <a:lnTo>
                  <a:pt x="2557250" y="272458"/>
                </a:lnTo>
                <a:lnTo>
                  <a:pt x="2552808" y="244324"/>
                </a:lnTo>
                <a:lnTo>
                  <a:pt x="2542443" y="217671"/>
                </a:lnTo>
                <a:lnTo>
                  <a:pt x="2530597" y="192498"/>
                </a:lnTo>
                <a:lnTo>
                  <a:pt x="2515789" y="167325"/>
                </a:lnTo>
                <a:lnTo>
                  <a:pt x="2498020" y="145114"/>
                </a:lnTo>
                <a:lnTo>
                  <a:pt x="2480252" y="124384"/>
                </a:lnTo>
                <a:lnTo>
                  <a:pt x="2458040" y="105134"/>
                </a:lnTo>
                <a:lnTo>
                  <a:pt x="2435829" y="90327"/>
                </a:lnTo>
                <a:lnTo>
                  <a:pt x="2413618" y="75519"/>
                </a:lnTo>
                <a:lnTo>
                  <a:pt x="2385484" y="62192"/>
                </a:lnTo>
                <a:lnTo>
                  <a:pt x="2360311" y="53308"/>
                </a:lnTo>
                <a:lnTo>
                  <a:pt x="2330696" y="45904"/>
                </a:lnTo>
                <a:lnTo>
                  <a:pt x="2304042" y="39981"/>
                </a:lnTo>
                <a:lnTo>
                  <a:pt x="2272947" y="39981"/>
                </a:lnTo>
                <a:lnTo>
                  <a:pt x="2061200" y="39981"/>
                </a:lnTo>
                <a:lnTo>
                  <a:pt x="2049354" y="39981"/>
                </a:lnTo>
                <a:lnTo>
                  <a:pt x="2038989" y="42943"/>
                </a:lnTo>
                <a:lnTo>
                  <a:pt x="2028623" y="47385"/>
                </a:lnTo>
                <a:lnTo>
                  <a:pt x="2021220" y="54789"/>
                </a:lnTo>
                <a:lnTo>
                  <a:pt x="2013816" y="62192"/>
                </a:lnTo>
                <a:lnTo>
                  <a:pt x="2009374" y="72558"/>
                </a:lnTo>
                <a:lnTo>
                  <a:pt x="2006412" y="82923"/>
                </a:lnTo>
                <a:lnTo>
                  <a:pt x="2006412" y="94769"/>
                </a:lnTo>
                <a:lnTo>
                  <a:pt x="2004932" y="109576"/>
                </a:lnTo>
                <a:lnTo>
                  <a:pt x="2004932" y="124384"/>
                </a:lnTo>
                <a:lnTo>
                  <a:pt x="1994566" y="152518"/>
                </a:lnTo>
                <a:lnTo>
                  <a:pt x="1982720" y="177691"/>
                </a:lnTo>
                <a:lnTo>
                  <a:pt x="1961990" y="199902"/>
                </a:lnTo>
                <a:lnTo>
                  <a:pt x="1939778" y="217671"/>
                </a:lnTo>
                <a:lnTo>
                  <a:pt x="1914606" y="232478"/>
                </a:lnTo>
                <a:lnTo>
                  <a:pt x="1887952" y="239882"/>
                </a:lnTo>
                <a:lnTo>
                  <a:pt x="1873145" y="241363"/>
                </a:lnTo>
                <a:lnTo>
                  <a:pt x="1856857" y="241363"/>
                </a:lnTo>
                <a:lnTo>
                  <a:pt x="756662" y="241363"/>
                </a:lnTo>
                <a:lnTo>
                  <a:pt x="741854" y="241363"/>
                </a:lnTo>
                <a:lnTo>
                  <a:pt x="727047" y="239882"/>
                </a:lnTo>
                <a:lnTo>
                  <a:pt x="698912" y="232478"/>
                </a:lnTo>
                <a:lnTo>
                  <a:pt x="673740" y="217671"/>
                </a:lnTo>
                <a:lnTo>
                  <a:pt x="651528" y="199902"/>
                </a:lnTo>
                <a:lnTo>
                  <a:pt x="633759" y="177691"/>
                </a:lnTo>
                <a:lnTo>
                  <a:pt x="618952" y="152518"/>
                </a:lnTo>
                <a:lnTo>
                  <a:pt x="611548" y="124384"/>
                </a:lnTo>
                <a:lnTo>
                  <a:pt x="610068" y="109576"/>
                </a:lnTo>
                <a:lnTo>
                  <a:pt x="610068" y="94769"/>
                </a:lnTo>
                <a:lnTo>
                  <a:pt x="607106" y="82923"/>
                </a:lnTo>
                <a:lnTo>
                  <a:pt x="604145" y="72558"/>
                </a:lnTo>
                <a:lnTo>
                  <a:pt x="599702" y="62192"/>
                </a:lnTo>
                <a:lnTo>
                  <a:pt x="592299" y="54789"/>
                </a:lnTo>
                <a:lnTo>
                  <a:pt x="584895" y="47385"/>
                </a:lnTo>
                <a:lnTo>
                  <a:pt x="574530" y="42943"/>
                </a:lnTo>
                <a:lnTo>
                  <a:pt x="564164" y="39981"/>
                </a:lnTo>
                <a:lnTo>
                  <a:pt x="555280" y="39981"/>
                </a:lnTo>
                <a:lnTo>
                  <a:pt x="340571" y="39981"/>
                </a:lnTo>
                <a:close/>
                <a:moveTo>
                  <a:pt x="315399" y="0"/>
                </a:moveTo>
                <a:lnTo>
                  <a:pt x="350937" y="0"/>
                </a:lnTo>
                <a:lnTo>
                  <a:pt x="2264063" y="0"/>
                </a:lnTo>
                <a:lnTo>
                  <a:pt x="2301082" y="0"/>
                </a:lnTo>
                <a:lnTo>
                  <a:pt x="2335139" y="5923"/>
                </a:lnTo>
                <a:lnTo>
                  <a:pt x="2367715" y="14808"/>
                </a:lnTo>
                <a:lnTo>
                  <a:pt x="2400292" y="28134"/>
                </a:lnTo>
                <a:lnTo>
                  <a:pt x="2429906" y="42942"/>
                </a:lnTo>
                <a:lnTo>
                  <a:pt x="2461002" y="60711"/>
                </a:lnTo>
                <a:lnTo>
                  <a:pt x="2487656" y="79960"/>
                </a:lnTo>
                <a:lnTo>
                  <a:pt x="2512828" y="102172"/>
                </a:lnTo>
                <a:lnTo>
                  <a:pt x="2535040" y="127344"/>
                </a:lnTo>
                <a:lnTo>
                  <a:pt x="2554289" y="155479"/>
                </a:lnTo>
                <a:lnTo>
                  <a:pt x="2572058" y="182132"/>
                </a:lnTo>
                <a:lnTo>
                  <a:pt x="2586866" y="214708"/>
                </a:lnTo>
                <a:lnTo>
                  <a:pt x="2600192" y="244323"/>
                </a:lnTo>
                <a:lnTo>
                  <a:pt x="2607596" y="279861"/>
                </a:lnTo>
                <a:lnTo>
                  <a:pt x="2612038" y="313918"/>
                </a:lnTo>
                <a:lnTo>
                  <a:pt x="2615000" y="349456"/>
                </a:lnTo>
                <a:lnTo>
                  <a:pt x="2615000" y="5161883"/>
                </a:lnTo>
                <a:lnTo>
                  <a:pt x="2612038" y="5195940"/>
                </a:lnTo>
                <a:lnTo>
                  <a:pt x="2607596" y="5231478"/>
                </a:lnTo>
                <a:lnTo>
                  <a:pt x="2600192" y="5264054"/>
                </a:lnTo>
                <a:lnTo>
                  <a:pt x="2586866" y="5296631"/>
                </a:lnTo>
                <a:lnTo>
                  <a:pt x="2572058" y="5329207"/>
                </a:lnTo>
                <a:lnTo>
                  <a:pt x="2554289" y="5355861"/>
                </a:lnTo>
                <a:lnTo>
                  <a:pt x="2535040" y="5383995"/>
                </a:lnTo>
                <a:lnTo>
                  <a:pt x="2512828" y="5407687"/>
                </a:lnTo>
                <a:lnTo>
                  <a:pt x="2487656" y="5431379"/>
                </a:lnTo>
                <a:lnTo>
                  <a:pt x="2461002" y="5450628"/>
                </a:lnTo>
                <a:lnTo>
                  <a:pt x="2429906" y="5468397"/>
                </a:lnTo>
                <a:lnTo>
                  <a:pt x="2400292" y="5483205"/>
                </a:lnTo>
                <a:lnTo>
                  <a:pt x="2367715" y="5495051"/>
                </a:lnTo>
                <a:lnTo>
                  <a:pt x="2335139" y="5502455"/>
                </a:lnTo>
                <a:lnTo>
                  <a:pt x="2301082" y="5508378"/>
                </a:lnTo>
                <a:lnTo>
                  <a:pt x="2264063" y="5509858"/>
                </a:lnTo>
                <a:lnTo>
                  <a:pt x="350937" y="5509858"/>
                </a:lnTo>
                <a:lnTo>
                  <a:pt x="315399" y="5508378"/>
                </a:lnTo>
                <a:lnTo>
                  <a:pt x="281342" y="5502455"/>
                </a:lnTo>
                <a:lnTo>
                  <a:pt x="245804" y="5495051"/>
                </a:lnTo>
                <a:lnTo>
                  <a:pt x="213228" y="5483205"/>
                </a:lnTo>
                <a:lnTo>
                  <a:pt x="183613" y="5468397"/>
                </a:lnTo>
                <a:lnTo>
                  <a:pt x="153998" y="5450628"/>
                </a:lnTo>
                <a:lnTo>
                  <a:pt x="128825" y="5431379"/>
                </a:lnTo>
                <a:lnTo>
                  <a:pt x="103653" y="5407687"/>
                </a:lnTo>
                <a:lnTo>
                  <a:pt x="78480" y="5383995"/>
                </a:lnTo>
                <a:lnTo>
                  <a:pt x="59230" y="5355861"/>
                </a:lnTo>
                <a:lnTo>
                  <a:pt x="41461" y="5329207"/>
                </a:lnTo>
                <a:lnTo>
                  <a:pt x="26654" y="5296631"/>
                </a:lnTo>
                <a:lnTo>
                  <a:pt x="16288" y="5264054"/>
                </a:lnTo>
                <a:lnTo>
                  <a:pt x="7404" y="5231478"/>
                </a:lnTo>
                <a:lnTo>
                  <a:pt x="1481" y="5195940"/>
                </a:lnTo>
                <a:lnTo>
                  <a:pt x="0" y="5161883"/>
                </a:lnTo>
                <a:lnTo>
                  <a:pt x="0" y="349456"/>
                </a:lnTo>
                <a:lnTo>
                  <a:pt x="1481" y="313918"/>
                </a:lnTo>
                <a:lnTo>
                  <a:pt x="7404" y="279861"/>
                </a:lnTo>
                <a:lnTo>
                  <a:pt x="16288" y="244323"/>
                </a:lnTo>
                <a:lnTo>
                  <a:pt x="26654" y="214708"/>
                </a:lnTo>
                <a:lnTo>
                  <a:pt x="41461" y="182132"/>
                </a:lnTo>
                <a:lnTo>
                  <a:pt x="59230" y="155479"/>
                </a:lnTo>
                <a:lnTo>
                  <a:pt x="78480" y="127344"/>
                </a:lnTo>
                <a:lnTo>
                  <a:pt x="103653" y="102172"/>
                </a:lnTo>
                <a:lnTo>
                  <a:pt x="128825" y="79960"/>
                </a:lnTo>
                <a:lnTo>
                  <a:pt x="153998" y="60711"/>
                </a:lnTo>
                <a:lnTo>
                  <a:pt x="183613" y="42942"/>
                </a:lnTo>
                <a:lnTo>
                  <a:pt x="213228" y="28134"/>
                </a:lnTo>
                <a:lnTo>
                  <a:pt x="245804" y="14808"/>
                </a:lnTo>
                <a:lnTo>
                  <a:pt x="281342" y="59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7" name="Freeform 104">
            <a:extLst>
              <a:ext uri="{FF2B5EF4-FFF2-40B4-BE49-F238E27FC236}">
                <a16:creationId xmlns:a16="http://schemas.microsoft.com/office/drawing/2014/main" id="{79250B02-7DBE-2876-FD5C-A79F129F2847}"/>
              </a:ext>
            </a:extLst>
          </p:cNvPr>
          <p:cNvSpPr>
            <a:spLocks/>
          </p:cNvSpPr>
          <p:nvPr/>
        </p:nvSpPr>
        <p:spPr bwMode="auto">
          <a:xfrm>
            <a:off x="1201984" y="936070"/>
            <a:ext cx="2871374" cy="5459503"/>
          </a:xfrm>
          <a:custGeom>
            <a:avLst/>
            <a:gdLst>
              <a:gd name="connsiteX0" fmla="*/ 310957 w 2615000"/>
              <a:gd name="connsiteY0" fmla="*/ 39981 h 5509858"/>
              <a:gd name="connsiteX1" fmla="*/ 282822 w 2615000"/>
              <a:gd name="connsiteY1" fmla="*/ 45904 h 5509858"/>
              <a:gd name="connsiteX2" fmla="*/ 256169 w 2615000"/>
              <a:gd name="connsiteY2" fmla="*/ 53308 h 5509858"/>
              <a:gd name="connsiteX3" fmla="*/ 228035 w 2615000"/>
              <a:gd name="connsiteY3" fmla="*/ 62192 h 5509858"/>
              <a:gd name="connsiteX4" fmla="*/ 202862 w 2615000"/>
              <a:gd name="connsiteY4" fmla="*/ 75519 h 5509858"/>
              <a:gd name="connsiteX5" fmla="*/ 179170 w 2615000"/>
              <a:gd name="connsiteY5" fmla="*/ 90327 h 5509858"/>
              <a:gd name="connsiteX6" fmla="*/ 156959 w 2615000"/>
              <a:gd name="connsiteY6" fmla="*/ 105134 h 5509858"/>
              <a:gd name="connsiteX7" fmla="*/ 136228 w 2615000"/>
              <a:gd name="connsiteY7" fmla="*/ 124384 h 5509858"/>
              <a:gd name="connsiteX8" fmla="*/ 116979 w 2615000"/>
              <a:gd name="connsiteY8" fmla="*/ 145114 h 5509858"/>
              <a:gd name="connsiteX9" fmla="*/ 99210 w 2615000"/>
              <a:gd name="connsiteY9" fmla="*/ 167325 h 5509858"/>
              <a:gd name="connsiteX10" fmla="*/ 85883 w 2615000"/>
              <a:gd name="connsiteY10" fmla="*/ 192498 h 5509858"/>
              <a:gd name="connsiteX11" fmla="*/ 74037 w 2615000"/>
              <a:gd name="connsiteY11" fmla="*/ 217671 h 5509858"/>
              <a:gd name="connsiteX12" fmla="*/ 63672 w 2615000"/>
              <a:gd name="connsiteY12" fmla="*/ 244324 h 5509858"/>
              <a:gd name="connsiteX13" fmla="*/ 56268 w 2615000"/>
              <a:gd name="connsiteY13" fmla="*/ 272458 h 5509858"/>
              <a:gd name="connsiteX14" fmla="*/ 51826 w 2615000"/>
              <a:gd name="connsiteY14" fmla="*/ 302073 h 5509858"/>
              <a:gd name="connsiteX15" fmla="*/ 48864 w 2615000"/>
              <a:gd name="connsiteY15" fmla="*/ 331688 h 5509858"/>
              <a:gd name="connsiteX16" fmla="*/ 48864 w 2615000"/>
              <a:gd name="connsiteY16" fmla="*/ 5179653 h 5509858"/>
              <a:gd name="connsiteX17" fmla="*/ 51826 w 2615000"/>
              <a:gd name="connsiteY17" fmla="*/ 5209268 h 5509858"/>
              <a:gd name="connsiteX18" fmla="*/ 56268 w 2615000"/>
              <a:gd name="connsiteY18" fmla="*/ 5238883 h 5509858"/>
              <a:gd name="connsiteX19" fmla="*/ 63672 w 2615000"/>
              <a:gd name="connsiteY19" fmla="*/ 5267017 h 5509858"/>
              <a:gd name="connsiteX20" fmla="*/ 74037 w 2615000"/>
              <a:gd name="connsiteY20" fmla="*/ 5293670 h 5509858"/>
              <a:gd name="connsiteX21" fmla="*/ 85883 w 2615000"/>
              <a:gd name="connsiteY21" fmla="*/ 5318843 h 5509858"/>
              <a:gd name="connsiteX22" fmla="*/ 99210 w 2615000"/>
              <a:gd name="connsiteY22" fmla="*/ 5341054 h 5509858"/>
              <a:gd name="connsiteX23" fmla="*/ 116979 w 2615000"/>
              <a:gd name="connsiteY23" fmla="*/ 5363265 h 5509858"/>
              <a:gd name="connsiteX24" fmla="*/ 136228 w 2615000"/>
              <a:gd name="connsiteY24" fmla="*/ 5385477 h 5509858"/>
              <a:gd name="connsiteX25" fmla="*/ 156959 w 2615000"/>
              <a:gd name="connsiteY25" fmla="*/ 5403246 h 5509858"/>
              <a:gd name="connsiteX26" fmla="*/ 179170 w 2615000"/>
              <a:gd name="connsiteY26" fmla="*/ 5421015 h 5509858"/>
              <a:gd name="connsiteX27" fmla="*/ 202862 w 2615000"/>
              <a:gd name="connsiteY27" fmla="*/ 5435822 h 5509858"/>
              <a:gd name="connsiteX28" fmla="*/ 228035 w 2615000"/>
              <a:gd name="connsiteY28" fmla="*/ 5447668 h 5509858"/>
              <a:gd name="connsiteX29" fmla="*/ 256169 w 2615000"/>
              <a:gd name="connsiteY29" fmla="*/ 5458033 h 5509858"/>
              <a:gd name="connsiteX30" fmla="*/ 282822 w 2615000"/>
              <a:gd name="connsiteY30" fmla="*/ 5465437 h 5509858"/>
              <a:gd name="connsiteX31" fmla="*/ 310957 w 2615000"/>
              <a:gd name="connsiteY31" fmla="*/ 5468399 h 5509858"/>
              <a:gd name="connsiteX32" fmla="*/ 340571 w 2615000"/>
              <a:gd name="connsiteY32" fmla="*/ 5469879 h 5509858"/>
              <a:gd name="connsiteX33" fmla="*/ 2272947 w 2615000"/>
              <a:gd name="connsiteY33" fmla="*/ 5469879 h 5509858"/>
              <a:gd name="connsiteX34" fmla="*/ 2304042 w 2615000"/>
              <a:gd name="connsiteY34" fmla="*/ 5468399 h 5509858"/>
              <a:gd name="connsiteX35" fmla="*/ 2330696 w 2615000"/>
              <a:gd name="connsiteY35" fmla="*/ 5465437 h 5509858"/>
              <a:gd name="connsiteX36" fmla="*/ 2360311 w 2615000"/>
              <a:gd name="connsiteY36" fmla="*/ 5458033 h 5509858"/>
              <a:gd name="connsiteX37" fmla="*/ 2385484 w 2615000"/>
              <a:gd name="connsiteY37" fmla="*/ 5447668 h 5509858"/>
              <a:gd name="connsiteX38" fmla="*/ 2413618 w 2615000"/>
              <a:gd name="connsiteY38" fmla="*/ 5435822 h 5509858"/>
              <a:gd name="connsiteX39" fmla="*/ 2435829 w 2615000"/>
              <a:gd name="connsiteY39" fmla="*/ 5421015 h 5509858"/>
              <a:gd name="connsiteX40" fmla="*/ 2458040 w 2615000"/>
              <a:gd name="connsiteY40" fmla="*/ 5403246 h 5509858"/>
              <a:gd name="connsiteX41" fmla="*/ 2480252 w 2615000"/>
              <a:gd name="connsiteY41" fmla="*/ 5385477 h 5509858"/>
              <a:gd name="connsiteX42" fmla="*/ 2498020 w 2615000"/>
              <a:gd name="connsiteY42" fmla="*/ 5363265 h 5509858"/>
              <a:gd name="connsiteX43" fmla="*/ 2515789 w 2615000"/>
              <a:gd name="connsiteY43" fmla="*/ 5341054 h 5509858"/>
              <a:gd name="connsiteX44" fmla="*/ 2530597 w 2615000"/>
              <a:gd name="connsiteY44" fmla="*/ 5318843 h 5509858"/>
              <a:gd name="connsiteX45" fmla="*/ 2542443 w 2615000"/>
              <a:gd name="connsiteY45" fmla="*/ 5293670 h 5509858"/>
              <a:gd name="connsiteX46" fmla="*/ 2552808 w 2615000"/>
              <a:gd name="connsiteY46" fmla="*/ 5267017 h 5509858"/>
              <a:gd name="connsiteX47" fmla="*/ 2557250 w 2615000"/>
              <a:gd name="connsiteY47" fmla="*/ 5238883 h 5509858"/>
              <a:gd name="connsiteX48" fmla="*/ 2561692 w 2615000"/>
              <a:gd name="connsiteY48" fmla="*/ 5209268 h 5509858"/>
              <a:gd name="connsiteX49" fmla="*/ 2564654 w 2615000"/>
              <a:gd name="connsiteY49" fmla="*/ 5179653 h 5509858"/>
              <a:gd name="connsiteX50" fmla="*/ 2564654 w 2615000"/>
              <a:gd name="connsiteY50" fmla="*/ 331688 h 5509858"/>
              <a:gd name="connsiteX51" fmla="*/ 2561692 w 2615000"/>
              <a:gd name="connsiteY51" fmla="*/ 302073 h 5509858"/>
              <a:gd name="connsiteX52" fmla="*/ 2557250 w 2615000"/>
              <a:gd name="connsiteY52" fmla="*/ 272458 h 5509858"/>
              <a:gd name="connsiteX53" fmla="*/ 2552808 w 2615000"/>
              <a:gd name="connsiteY53" fmla="*/ 244324 h 5509858"/>
              <a:gd name="connsiteX54" fmla="*/ 2542443 w 2615000"/>
              <a:gd name="connsiteY54" fmla="*/ 217671 h 5509858"/>
              <a:gd name="connsiteX55" fmla="*/ 2530597 w 2615000"/>
              <a:gd name="connsiteY55" fmla="*/ 192498 h 5509858"/>
              <a:gd name="connsiteX56" fmla="*/ 2515789 w 2615000"/>
              <a:gd name="connsiteY56" fmla="*/ 167325 h 5509858"/>
              <a:gd name="connsiteX57" fmla="*/ 2498020 w 2615000"/>
              <a:gd name="connsiteY57" fmla="*/ 145114 h 5509858"/>
              <a:gd name="connsiteX58" fmla="*/ 2480252 w 2615000"/>
              <a:gd name="connsiteY58" fmla="*/ 124384 h 5509858"/>
              <a:gd name="connsiteX59" fmla="*/ 2458040 w 2615000"/>
              <a:gd name="connsiteY59" fmla="*/ 105134 h 5509858"/>
              <a:gd name="connsiteX60" fmla="*/ 2435829 w 2615000"/>
              <a:gd name="connsiteY60" fmla="*/ 90327 h 5509858"/>
              <a:gd name="connsiteX61" fmla="*/ 2413618 w 2615000"/>
              <a:gd name="connsiteY61" fmla="*/ 75519 h 5509858"/>
              <a:gd name="connsiteX62" fmla="*/ 2385484 w 2615000"/>
              <a:gd name="connsiteY62" fmla="*/ 62192 h 5509858"/>
              <a:gd name="connsiteX63" fmla="*/ 2360311 w 2615000"/>
              <a:gd name="connsiteY63" fmla="*/ 53308 h 5509858"/>
              <a:gd name="connsiteX64" fmla="*/ 2330696 w 2615000"/>
              <a:gd name="connsiteY64" fmla="*/ 45904 h 5509858"/>
              <a:gd name="connsiteX65" fmla="*/ 2304042 w 2615000"/>
              <a:gd name="connsiteY65" fmla="*/ 39981 h 5509858"/>
              <a:gd name="connsiteX66" fmla="*/ 2272947 w 2615000"/>
              <a:gd name="connsiteY66" fmla="*/ 39981 h 5509858"/>
              <a:gd name="connsiteX67" fmla="*/ 2061200 w 2615000"/>
              <a:gd name="connsiteY67" fmla="*/ 39981 h 5509858"/>
              <a:gd name="connsiteX68" fmla="*/ 2049354 w 2615000"/>
              <a:gd name="connsiteY68" fmla="*/ 39981 h 5509858"/>
              <a:gd name="connsiteX69" fmla="*/ 2038989 w 2615000"/>
              <a:gd name="connsiteY69" fmla="*/ 42943 h 5509858"/>
              <a:gd name="connsiteX70" fmla="*/ 2028623 w 2615000"/>
              <a:gd name="connsiteY70" fmla="*/ 47385 h 5509858"/>
              <a:gd name="connsiteX71" fmla="*/ 2021220 w 2615000"/>
              <a:gd name="connsiteY71" fmla="*/ 54789 h 5509858"/>
              <a:gd name="connsiteX72" fmla="*/ 2013816 w 2615000"/>
              <a:gd name="connsiteY72" fmla="*/ 62192 h 5509858"/>
              <a:gd name="connsiteX73" fmla="*/ 2009374 w 2615000"/>
              <a:gd name="connsiteY73" fmla="*/ 72558 h 5509858"/>
              <a:gd name="connsiteX74" fmla="*/ 2006412 w 2615000"/>
              <a:gd name="connsiteY74" fmla="*/ 82923 h 5509858"/>
              <a:gd name="connsiteX75" fmla="*/ 2006412 w 2615000"/>
              <a:gd name="connsiteY75" fmla="*/ 94769 h 5509858"/>
              <a:gd name="connsiteX76" fmla="*/ 2004932 w 2615000"/>
              <a:gd name="connsiteY76" fmla="*/ 109576 h 5509858"/>
              <a:gd name="connsiteX77" fmla="*/ 2004932 w 2615000"/>
              <a:gd name="connsiteY77" fmla="*/ 124384 h 5509858"/>
              <a:gd name="connsiteX78" fmla="*/ 1994566 w 2615000"/>
              <a:gd name="connsiteY78" fmla="*/ 152518 h 5509858"/>
              <a:gd name="connsiteX79" fmla="*/ 1982720 w 2615000"/>
              <a:gd name="connsiteY79" fmla="*/ 177691 h 5509858"/>
              <a:gd name="connsiteX80" fmla="*/ 1961990 w 2615000"/>
              <a:gd name="connsiteY80" fmla="*/ 199902 h 5509858"/>
              <a:gd name="connsiteX81" fmla="*/ 1939778 w 2615000"/>
              <a:gd name="connsiteY81" fmla="*/ 217671 h 5509858"/>
              <a:gd name="connsiteX82" fmla="*/ 1914606 w 2615000"/>
              <a:gd name="connsiteY82" fmla="*/ 232478 h 5509858"/>
              <a:gd name="connsiteX83" fmla="*/ 1887952 w 2615000"/>
              <a:gd name="connsiteY83" fmla="*/ 239882 h 5509858"/>
              <a:gd name="connsiteX84" fmla="*/ 1873145 w 2615000"/>
              <a:gd name="connsiteY84" fmla="*/ 241363 h 5509858"/>
              <a:gd name="connsiteX85" fmla="*/ 1856857 w 2615000"/>
              <a:gd name="connsiteY85" fmla="*/ 241363 h 5509858"/>
              <a:gd name="connsiteX86" fmla="*/ 756662 w 2615000"/>
              <a:gd name="connsiteY86" fmla="*/ 241363 h 5509858"/>
              <a:gd name="connsiteX87" fmla="*/ 741854 w 2615000"/>
              <a:gd name="connsiteY87" fmla="*/ 241363 h 5509858"/>
              <a:gd name="connsiteX88" fmla="*/ 727047 w 2615000"/>
              <a:gd name="connsiteY88" fmla="*/ 239882 h 5509858"/>
              <a:gd name="connsiteX89" fmla="*/ 698912 w 2615000"/>
              <a:gd name="connsiteY89" fmla="*/ 232478 h 5509858"/>
              <a:gd name="connsiteX90" fmla="*/ 673740 w 2615000"/>
              <a:gd name="connsiteY90" fmla="*/ 217671 h 5509858"/>
              <a:gd name="connsiteX91" fmla="*/ 651528 w 2615000"/>
              <a:gd name="connsiteY91" fmla="*/ 199902 h 5509858"/>
              <a:gd name="connsiteX92" fmla="*/ 633759 w 2615000"/>
              <a:gd name="connsiteY92" fmla="*/ 177691 h 5509858"/>
              <a:gd name="connsiteX93" fmla="*/ 618952 w 2615000"/>
              <a:gd name="connsiteY93" fmla="*/ 152518 h 5509858"/>
              <a:gd name="connsiteX94" fmla="*/ 611548 w 2615000"/>
              <a:gd name="connsiteY94" fmla="*/ 124384 h 5509858"/>
              <a:gd name="connsiteX95" fmla="*/ 610068 w 2615000"/>
              <a:gd name="connsiteY95" fmla="*/ 109576 h 5509858"/>
              <a:gd name="connsiteX96" fmla="*/ 610068 w 2615000"/>
              <a:gd name="connsiteY96" fmla="*/ 94769 h 5509858"/>
              <a:gd name="connsiteX97" fmla="*/ 607106 w 2615000"/>
              <a:gd name="connsiteY97" fmla="*/ 82923 h 5509858"/>
              <a:gd name="connsiteX98" fmla="*/ 604145 w 2615000"/>
              <a:gd name="connsiteY98" fmla="*/ 72558 h 5509858"/>
              <a:gd name="connsiteX99" fmla="*/ 599702 w 2615000"/>
              <a:gd name="connsiteY99" fmla="*/ 62192 h 5509858"/>
              <a:gd name="connsiteX100" fmla="*/ 592299 w 2615000"/>
              <a:gd name="connsiteY100" fmla="*/ 54789 h 5509858"/>
              <a:gd name="connsiteX101" fmla="*/ 584895 w 2615000"/>
              <a:gd name="connsiteY101" fmla="*/ 47385 h 5509858"/>
              <a:gd name="connsiteX102" fmla="*/ 574530 w 2615000"/>
              <a:gd name="connsiteY102" fmla="*/ 42943 h 5509858"/>
              <a:gd name="connsiteX103" fmla="*/ 564164 w 2615000"/>
              <a:gd name="connsiteY103" fmla="*/ 39981 h 5509858"/>
              <a:gd name="connsiteX104" fmla="*/ 555280 w 2615000"/>
              <a:gd name="connsiteY104" fmla="*/ 39981 h 5509858"/>
              <a:gd name="connsiteX105" fmla="*/ 340571 w 2615000"/>
              <a:gd name="connsiteY105" fmla="*/ 39981 h 5509858"/>
              <a:gd name="connsiteX106" fmla="*/ 315399 w 2615000"/>
              <a:gd name="connsiteY106" fmla="*/ 0 h 5509858"/>
              <a:gd name="connsiteX107" fmla="*/ 350937 w 2615000"/>
              <a:gd name="connsiteY107" fmla="*/ 0 h 5509858"/>
              <a:gd name="connsiteX108" fmla="*/ 2264063 w 2615000"/>
              <a:gd name="connsiteY108" fmla="*/ 0 h 5509858"/>
              <a:gd name="connsiteX109" fmla="*/ 2301082 w 2615000"/>
              <a:gd name="connsiteY109" fmla="*/ 0 h 5509858"/>
              <a:gd name="connsiteX110" fmla="*/ 2335139 w 2615000"/>
              <a:gd name="connsiteY110" fmla="*/ 5923 h 5509858"/>
              <a:gd name="connsiteX111" fmla="*/ 2367715 w 2615000"/>
              <a:gd name="connsiteY111" fmla="*/ 14808 h 5509858"/>
              <a:gd name="connsiteX112" fmla="*/ 2400292 w 2615000"/>
              <a:gd name="connsiteY112" fmla="*/ 28134 h 5509858"/>
              <a:gd name="connsiteX113" fmla="*/ 2429906 w 2615000"/>
              <a:gd name="connsiteY113" fmla="*/ 42942 h 5509858"/>
              <a:gd name="connsiteX114" fmla="*/ 2461002 w 2615000"/>
              <a:gd name="connsiteY114" fmla="*/ 60711 h 5509858"/>
              <a:gd name="connsiteX115" fmla="*/ 2487656 w 2615000"/>
              <a:gd name="connsiteY115" fmla="*/ 79960 h 5509858"/>
              <a:gd name="connsiteX116" fmla="*/ 2512828 w 2615000"/>
              <a:gd name="connsiteY116" fmla="*/ 102172 h 5509858"/>
              <a:gd name="connsiteX117" fmla="*/ 2535040 w 2615000"/>
              <a:gd name="connsiteY117" fmla="*/ 127344 h 5509858"/>
              <a:gd name="connsiteX118" fmla="*/ 2554289 w 2615000"/>
              <a:gd name="connsiteY118" fmla="*/ 155479 h 5509858"/>
              <a:gd name="connsiteX119" fmla="*/ 2572058 w 2615000"/>
              <a:gd name="connsiteY119" fmla="*/ 182132 h 5509858"/>
              <a:gd name="connsiteX120" fmla="*/ 2586866 w 2615000"/>
              <a:gd name="connsiteY120" fmla="*/ 214708 h 5509858"/>
              <a:gd name="connsiteX121" fmla="*/ 2600192 w 2615000"/>
              <a:gd name="connsiteY121" fmla="*/ 244323 h 5509858"/>
              <a:gd name="connsiteX122" fmla="*/ 2607596 w 2615000"/>
              <a:gd name="connsiteY122" fmla="*/ 279861 h 5509858"/>
              <a:gd name="connsiteX123" fmla="*/ 2612038 w 2615000"/>
              <a:gd name="connsiteY123" fmla="*/ 313918 h 5509858"/>
              <a:gd name="connsiteX124" fmla="*/ 2615000 w 2615000"/>
              <a:gd name="connsiteY124" fmla="*/ 349456 h 5509858"/>
              <a:gd name="connsiteX125" fmla="*/ 2615000 w 2615000"/>
              <a:gd name="connsiteY125" fmla="*/ 5161883 h 5509858"/>
              <a:gd name="connsiteX126" fmla="*/ 2612038 w 2615000"/>
              <a:gd name="connsiteY126" fmla="*/ 5195940 h 5509858"/>
              <a:gd name="connsiteX127" fmla="*/ 2607596 w 2615000"/>
              <a:gd name="connsiteY127" fmla="*/ 5231478 h 5509858"/>
              <a:gd name="connsiteX128" fmla="*/ 2600192 w 2615000"/>
              <a:gd name="connsiteY128" fmla="*/ 5264054 h 5509858"/>
              <a:gd name="connsiteX129" fmla="*/ 2586866 w 2615000"/>
              <a:gd name="connsiteY129" fmla="*/ 5296631 h 5509858"/>
              <a:gd name="connsiteX130" fmla="*/ 2572058 w 2615000"/>
              <a:gd name="connsiteY130" fmla="*/ 5329207 h 5509858"/>
              <a:gd name="connsiteX131" fmla="*/ 2554289 w 2615000"/>
              <a:gd name="connsiteY131" fmla="*/ 5355861 h 5509858"/>
              <a:gd name="connsiteX132" fmla="*/ 2535040 w 2615000"/>
              <a:gd name="connsiteY132" fmla="*/ 5383995 h 5509858"/>
              <a:gd name="connsiteX133" fmla="*/ 2512828 w 2615000"/>
              <a:gd name="connsiteY133" fmla="*/ 5407687 h 5509858"/>
              <a:gd name="connsiteX134" fmla="*/ 2487656 w 2615000"/>
              <a:gd name="connsiteY134" fmla="*/ 5431379 h 5509858"/>
              <a:gd name="connsiteX135" fmla="*/ 2461002 w 2615000"/>
              <a:gd name="connsiteY135" fmla="*/ 5450628 h 5509858"/>
              <a:gd name="connsiteX136" fmla="*/ 2429906 w 2615000"/>
              <a:gd name="connsiteY136" fmla="*/ 5468397 h 5509858"/>
              <a:gd name="connsiteX137" fmla="*/ 2400292 w 2615000"/>
              <a:gd name="connsiteY137" fmla="*/ 5483205 h 5509858"/>
              <a:gd name="connsiteX138" fmla="*/ 2367715 w 2615000"/>
              <a:gd name="connsiteY138" fmla="*/ 5495051 h 5509858"/>
              <a:gd name="connsiteX139" fmla="*/ 2335139 w 2615000"/>
              <a:gd name="connsiteY139" fmla="*/ 5502455 h 5509858"/>
              <a:gd name="connsiteX140" fmla="*/ 2301082 w 2615000"/>
              <a:gd name="connsiteY140" fmla="*/ 5508378 h 5509858"/>
              <a:gd name="connsiteX141" fmla="*/ 2264063 w 2615000"/>
              <a:gd name="connsiteY141" fmla="*/ 5509858 h 5509858"/>
              <a:gd name="connsiteX142" fmla="*/ 350937 w 2615000"/>
              <a:gd name="connsiteY142" fmla="*/ 5509858 h 5509858"/>
              <a:gd name="connsiteX143" fmla="*/ 315399 w 2615000"/>
              <a:gd name="connsiteY143" fmla="*/ 5508378 h 5509858"/>
              <a:gd name="connsiteX144" fmla="*/ 281342 w 2615000"/>
              <a:gd name="connsiteY144" fmla="*/ 5502455 h 5509858"/>
              <a:gd name="connsiteX145" fmla="*/ 245804 w 2615000"/>
              <a:gd name="connsiteY145" fmla="*/ 5495051 h 5509858"/>
              <a:gd name="connsiteX146" fmla="*/ 213228 w 2615000"/>
              <a:gd name="connsiteY146" fmla="*/ 5483205 h 5509858"/>
              <a:gd name="connsiteX147" fmla="*/ 183613 w 2615000"/>
              <a:gd name="connsiteY147" fmla="*/ 5468397 h 5509858"/>
              <a:gd name="connsiteX148" fmla="*/ 153998 w 2615000"/>
              <a:gd name="connsiteY148" fmla="*/ 5450628 h 5509858"/>
              <a:gd name="connsiteX149" fmla="*/ 128825 w 2615000"/>
              <a:gd name="connsiteY149" fmla="*/ 5431379 h 5509858"/>
              <a:gd name="connsiteX150" fmla="*/ 103653 w 2615000"/>
              <a:gd name="connsiteY150" fmla="*/ 5407687 h 5509858"/>
              <a:gd name="connsiteX151" fmla="*/ 78480 w 2615000"/>
              <a:gd name="connsiteY151" fmla="*/ 5383995 h 5509858"/>
              <a:gd name="connsiteX152" fmla="*/ 59230 w 2615000"/>
              <a:gd name="connsiteY152" fmla="*/ 5355861 h 5509858"/>
              <a:gd name="connsiteX153" fmla="*/ 41461 w 2615000"/>
              <a:gd name="connsiteY153" fmla="*/ 5329207 h 5509858"/>
              <a:gd name="connsiteX154" fmla="*/ 26654 w 2615000"/>
              <a:gd name="connsiteY154" fmla="*/ 5296631 h 5509858"/>
              <a:gd name="connsiteX155" fmla="*/ 16288 w 2615000"/>
              <a:gd name="connsiteY155" fmla="*/ 5264054 h 5509858"/>
              <a:gd name="connsiteX156" fmla="*/ 7404 w 2615000"/>
              <a:gd name="connsiteY156" fmla="*/ 5231478 h 5509858"/>
              <a:gd name="connsiteX157" fmla="*/ 1481 w 2615000"/>
              <a:gd name="connsiteY157" fmla="*/ 5195940 h 5509858"/>
              <a:gd name="connsiteX158" fmla="*/ 0 w 2615000"/>
              <a:gd name="connsiteY158" fmla="*/ 5161883 h 5509858"/>
              <a:gd name="connsiteX159" fmla="*/ 0 w 2615000"/>
              <a:gd name="connsiteY159" fmla="*/ 349456 h 5509858"/>
              <a:gd name="connsiteX160" fmla="*/ 1481 w 2615000"/>
              <a:gd name="connsiteY160" fmla="*/ 313918 h 5509858"/>
              <a:gd name="connsiteX161" fmla="*/ 7404 w 2615000"/>
              <a:gd name="connsiteY161" fmla="*/ 279861 h 5509858"/>
              <a:gd name="connsiteX162" fmla="*/ 16288 w 2615000"/>
              <a:gd name="connsiteY162" fmla="*/ 244323 h 5509858"/>
              <a:gd name="connsiteX163" fmla="*/ 26654 w 2615000"/>
              <a:gd name="connsiteY163" fmla="*/ 214708 h 5509858"/>
              <a:gd name="connsiteX164" fmla="*/ 41461 w 2615000"/>
              <a:gd name="connsiteY164" fmla="*/ 182132 h 5509858"/>
              <a:gd name="connsiteX165" fmla="*/ 59230 w 2615000"/>
              <a:gd name="connsiteY165" fmla="*/ 155479 h 5509858"/>
              <a:gd name="connsiteX166" fmla="*/ 78480 w 2615000"/>
              <a:gd name="connsiteY166" fmla="*/ 127344 h 5509858"/>
              <a:gd name="connsiteX167" fmla="*/ 103653 w 2615000"/>
              <a:gd name="connsiteY167" fmla="*/ 102172 h 5509858"/>
              <a:gd name="connsiteX168" fmla="*/ 128825 w 2615000"/>
              <a:gd name="connsiteY168" fmla="*/ 79960 h 5509858"/>
              <a:gd name="connsiteX169" fmla="*/ 153998 w 2615000"/>
              <a:gd name="connsiteY169" fmla="*/ 60711 h 5509858"/>
              <a:gd name="connsiteX170" fmla="*/ 183613 w 2615000"/>
              <a:gd name="connsiteY170" fmla="*/ 42942 h 5509858"/>
              <a:gd name="connsiteX171" fmla="*/ 213228 w 2615000"/>
              <a:gd name="connsiteY171" fmla="*/ 28134 h 5509858"/>
              <a:gd name="connsiteX172" fmla="*/ 245804 w 2615000"/>
              <a:gd name="connsiteY172" fmla="*/ 14808 h 5509858"/>
              <a:gd name="connsiteX173" fmla="*/ 281342 w 2615000"/>
              <a:gd name="connsiteY173" fmla="*/ 5923 h 5509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Lst>
            <a:rect l="l" t="t" r="r" b="b"/>
            <a:pathLst>
              <a:path w="2615000" h="5509858">
                <a:moveTo>
                  <a:pt x="310957" y="39981"/>
                </a:moveTo>
                <a:lnTo>
                  <a:pt x="282822" y="45904"/>
                </a:lnTo>
                <a:lnTo>
                  <a:pt x="256169" y="53308"/>
                </a:lnTo>
                <a:lnTo>
                  <a:pt x="228035" y="62192"/>
                </a:lnTo>
                <a:lnTo>
                  <a:pt x="202862" y="75519"/>
                </a:lnTo>
                <a:lnTo>
                  <a:pt x="179170" y="90327"/>
                </a:lnTo>
                <a:lnTo>
                  <a:pt x="156959" y="105134"/>
                </a:lnTo>
                <a:lnTo>
                  <a:pt x="136228" y="124384"/>
                </a:lnTo>
                <a:lnTo>
                  <a:pt x="116979" y="145114"/>
                </a:lnTo>
                <a:lnTo>
                  <a:pt x="99210" y="167325"/>
                </a:lnTo>
                <a:lnTo>
                  <a:pt x="85883" y="192498"/>
                </a:lnTo>
                <a:lnTo>
                  <a:pt x="74037" y="217671"/>
                </a:lnTo>
                <a:lnTo>
                  <a:pt x="63672" y="244324"/>
                </a:lnTo>
                <a:lnTo>
                  <a:pt x="56268" y="272458"/>
                </a:lnTo>
                <a:lnTo>
                  <a:pt x="51826" y="302073"/>
                </a:lnTo>
                <a:lnTo>
                  <a:pt x="48864" y="331688"/>
                </a:lnTo>
                <a:lnTo>
                  <a:pt x="48864" y="5179653"/>
                </a:lnTo>
                <a:lnTo>
                  <a:pt x="51826" y="5209268"/>
                </a:lnTo>
                <a:lnTo>
                  <a:pt x="56268" y="5238883"/>
                </a:lnTo>
                <a:lnTo>
                  <a:pt x="63672" y="5267017"/>
                </a:lnTo>
                <a:lnTo>
                  <a:pt x="74037" y="5293670"/>
                </a:lnTo>
                <a:lnTo>
                  <a:pt x="85883" y="5318843"/>
                </a:lnTo>
                <a:lnTo>
                  <a:pt x="99210" y="5341054"/>
                </a:lnTo>
                <a:lnTo>
                  <a:pt x="116979" y="5363265"/>
                </a:lnTo>
                <a:lnTo>
                  <a:pt x="136228" y="5385477"/>
                </a:lnTo>
                <a:lnTo>
                  <a:pt x="156959" y="5403246"/>
                </a:lnTo>
                <a:lnTo>
                  <a:pt x="179170" y="5421015"/>
                </a:lnTo>
                <a:lnTo>
                  <a:pt x="202862" y="5435822"/>
                </a:lnTo>
                <a:lnTo>
                  <a:pt x="228035" y="5447668"/>
                </a:lnTo>
                <a:lnTo>
                  <a:pt x="256169" y="5458033"/>
                </a:lnTo>
                <a:lnTo>
                  <a:pt x="282822" y="5465437"/>
                </a:lnTo>
                <a:lnTo>
                  <a:pt x="310957" y="5468399"/>
                </a:lnTo>
                <a:lnTo>
                  <a:pt x="340571" y="5469879"/>
                </a:lnTo>
                <a:lnTo>
                  <a:pt x="2272947" y="5469879"/>
                </a:lnTo>
                <a:lnTo>
                  <a:pt x="2304042" y="5468399"/>
                </a:lnTo>
                <a:lnTo>
                  <a:pt x="2330696" y="5465437"/>
                </a:lnTo>
                <a:lnTo>
                  <a:pt x="2360311" y="5458033"/>
                </a:lnTo>
                <a:lnTo>
                  <a:pt x="2385484" y="5447668"/>
                </a:lnTo>
                <a:lnTo>
                  <a:pt x="2413618" y="5435822"/>
                </a:lnTo>
                <a:lnTo>
                  <a:pt x="2435829" y="5421015"/>
                </a:lnTo>
                <a:lnTo>
                  <a:pt x="2458040" y="5403246"/>
                </a:lnTo>
                <a:lnTo>
                  <a:pt x="2480252" y="5385477"/>
                </a:lnTo>
                <a:lnTo>
                  <a:pt x="2498020" y="5363265"/>
                </a:lnTo>
                <a:lnTo>
                  <a:pt x="2515789" y="5341054"/>
                </a:lnTo>
                <a:lnTo>
                  <a:pt x="2530597" y="5318843"/>
                </a:lnTo>
                <a:lnTo>
                  <a:pt x="2542443" y="5293670"/>
                </a:lnTo>
                <a:lnTo>
                  <a:pt x="2552808" y="5267017"/>
                </a:lnTo>
                <a:lnTo>
                  <a:pt x="2557250" y="5238883"/>
                </a:lnTo>
                <a:lnTo>
                  <a:pt x="2561692" y="5209268"/>
                </a:lnTo>
                <a:lnTo>
                  <a:pt x="2564654" y="5179653"/>
                </a:lnTo>
                <a:lnTo>
                  <a:pt x="2564654" y="331688"/>
                </a:lnTo>
                <a:lnTo>
                  <a:pt x="2561692" y="302073"/>
                </a:lnTo>
                <a:lnTo>
                  <a:pt x="2557250" y="272458"/>
                </a:lnTo>
                <a:lnTo>
                  <a:pt x="2552808" y="244324"/>
                </a:lnTo>
                <a:lnTo>
                  <a:pt x="2542443" y="217671"/>
                </a:lnTo>
                <a:lnTo>
                  <a:pt x="2530597" y="192498"/>
                </a:lnTo>
                <a:lnTo>
                  <a:pt x="2515789" y="167325"/>
                </a:lnTo>
                <a:lnTo>
                  <a:pt x="2498020" y="145114"/>
                </a:lnTo>
                <a:lnTo>
                  <a:pt x="2480252" y="124384"/>
                </a:lnTo>
                <a:lnTo>
                  <a:pt x="2458040" y="105134"/>
                </a:lnTo>
                <a:lnTo>
                  <a:pt x="2435829" y="90327"/>
                </a:lnTo>
                <a:lnTo>
                  <a:pt x="2413618" y="75519"/>
                </a:lnTo>
                <a:lnTo>
                  <a:pt x="2385484" y="62192"/>
                </a:lnTo>
                <a:lnTo>
                  <a:pt x="2360311" y="53308"/>
                </a:lnTo>
                <a:lnTo>
                  <a:pt x="2330696" y="45904"/>
                </a:lnTo>
                <a:lnTo>
                  <a:pt x="2304042" y="39981"/>
                </a:lnTo>
                <a:lnTo>
                  <a:pt x="2272947" y="39981"/>
                </a:lnTo>
                <a:lnTo>
                  <a:pt x="2061200" y="39981"/>
                </a:lnTo>
                <a:lnTo>
                  <a:pt x="2049354" y="39981"/>
                </a:lnTo>
                <a:lnTo>
                  <a:pt x="2038989" y="42943"/>
                </a:lnTo>
                <a:lnTo>
                  <a:pt x="2028623" y="47385"/>
                </a:lnTo>
                <a:lnTo>
                  <a:pt x="2021220" y="54789"/>
                </a:lnTo>
                <a:lnTo>
                  <a:pt x="2013816" y="62192"/>
                </a:lnTo>
                <a:lnTo>
                  <a:pt x="2009374" y="72558"/>
                </a:lnTo>
                <a:lnTo>
                  <a:pt x="2006412" y="82923"/>
                </a:lnTo>
                <a:lnTo>
                  <a:pt x="2006412" y="94769"/>
                </a:lnTo>
                <a:lnTo>
                  <a:pt x="2004932" y="109576"/>
                </a:lnTo>
                <a:lnTo>
                  <a:pt x="2004932" y="124384"/>
                </a:lnTo>
                <a:lnTo>
                  <a:pt x="1994566" y="152518"/>
                </a:lnTo>
                <a:lnTo>
                  <a:pt x="1982720" y="177691"/>
                </a:lnTo>
                <a:lnTo>
                  <a:pt x="1961990" y="199902"/>
                </a:lnTo>
                <a:lnTo>
                  <a:pt x="1939778" y="217671"/>
                </a:lnTo>
                <a:lnTo>
                  <a:pt x="1914606" y="232478"/>
                </a:lnTo>
                <a:lnTo>
                  <a:pt x="1887952" y="239882"/>
                </a:lnTo>
                <a:lnTo>
                  <a:pt x="1873145" y="241363"/>
                </a:lnTo>
                <a:lnTo>
                  <a:pt x="1856857" y="241363"/>
                </a:lnTo>
                <a:lnTo>
                  <a:pt x="756662" y="241363"/>
                </a:lnTo>
                <a:lnTo>
                  <a:pt x="741854" y="241363"/>
                </a:lnTo>
                <a:lnTo>
                  <a:pt x="727047" y="239882"/>
                </a:lnTo>
                <a:lnTo>
                  <a:pt x="698912" y="232478"/>
                </a:lnTo>
                <a:lnTo>
                  <a:pt x="673740" y="217671"/>
                </a:lnTo>
                <a:lnTo>
                  <a:pt x="651528" y="199902"/>
                </a:lnTo>
                <a:lnTo>
                  <a:pt x="633759" y="177691"/>
                </a:lnTo>
                <a:lnTo>
                  <a:pt x="618952" y="152518"/>
                </a:lnTo>
                <a:lnTo>
                  <a:pt x="611548" y="124384"/>
                </a:lnTo>
                <a:lnTo>
                  <a:pt x="610068" y="109576"/>
                </a:lnTo>
                <a:lnTo>
                  <a:pt x="610068" y="94769"/>
                </a:lnTo>
                <a:lnTo>
                  <a:pt x="607106" y="82923"/>
                </a:lnTo>
                <a:lnTo>
                  <a:pt x="604145" y="72558"/>
                </a:lnTo>
                <a:lnTo>
                  <a:pt x="599702" y="62192"/>
                </a:lnTo>
                <a:lnTo>
                  <a:pt x="592299" y="54789"/>
                </a:lnTo>
                <a:lnTo>
                  <a:pt x="584895" y="47385"/>
                </a:lnTo>
                <a:lnTo>
                  <a:pt x="574530" y="42943"/>
                </a:lnTo>
                <a:lnTo>
                  <a:pt x="564164" y="39981"/>
                </a:lnTo>
                <a:lnTo>
                  <a:pt x="555280" y="39981"/>
                </a:lnTo>
                <a:lnTo>
                  <a:pt x="340571" y="39981"/>
                </a:lnTo>
                <a:close/>
                <a:moveTo>
                  <a:pt x="315399" y="0"/>
                </a:moveTo>
                <a:lnTo>
                  <a:pt x="350937" y="0"/>
                </a:lnTo>
                <a:lnTo>
                  <a:pt x="2264063" y="0"/>
                </a:lnTo>
                <a:lnTo>
                  <a:pt x="2301082" y="0"/>
                </a:lnTo>
                <a:lnTo>
                  <a:pt x="2335139" y="5923"/>
                </a:lnTo>
                <a:lnTo>
                  <a:pt x="2367715" y="14808"/>
                </a:lnTo>
                <a:lnTo>
                  <a:pt x="2400292" y="28134"/>
                </a:lnTo>
                <a:lnTo>
                  <a:pt x="2429906" y="42942"/>
                </a:lnTo>
                <a:lnTo>
                  <a:pt x="2461002" y="60711"/>
                </a:lnTo>
                <a:lnTo>
                  <a:pt x="2487656" y="79960"/>
                </a:lnTo>
                <a:lnTo>
                  <a:pt x="2512828" y="102172"/>
                </a:lnTo>
                <a:lnTo>
                  <a:pt x="2535040" y="127344"/>
                </a:lnTo>
                <a:lnTo>
                  <a:pt x="2554289" y="155479"/>
                </a:lnTo>
                <a:lnTo>
                  <a:pt x="2572058" y="182132"/>
                </a:lnTo>
                <a:lnTo>
                  <a:pt x="2586866" y="214708"/>
                </a:lnTo>
                <a:lnTo>
                  <a:pt x="2600192" y="244323"/>
                </a:lnTo>
                <a:lnTo>
                  <a:pt x="2607596" y="279861"/>
                </a:lnTo>
                <a:lnTo>
                  <a:pt x="2612038" y="313918"/>
                </a:lnTo>
                <a:lnTo>
                  <a:pt x="2615000" y="349456"/>
                </a:lnTo>
                <a:lnTo>
                  <a:pt x="2615000" y="5161883"/>
                </a:lnTo>
                <a:lnTo>
                  <a:pt x="2612038" y="5195940"/>
                </a:lnTo>
                <a:lnTo>
                  <a:pt x="2607596" y="5231478"/>
                </a:lnTo>
                <a:lnTo>
                  <a:pt x="2600192" y="5264054"/>
                </a:lnTo>
                <a:lnTo>
                  <a:pt x="2586866" y="5296631"/>
                </a:lnTo>
                <a:lnTo>
                  <a:pt x="2572058" y="5329207"/>
                </a:lnTo>
                <a:lnTo>
                  <a:pt x="2554289" y="5355861"/>
                </a:lnTo>
                <a:lnTo>
                  <a:pt x="2535040" y="5383995"/>
                </a:lnTo>
                <a:lnTo>
                  <a:pt x="2512828" y="5407687"/>
                </a:lnTo>
                <a:lnTo>
                  <a:pt x="2487656" y="5431379"/>
                </a:lnTo>
                <a:lnTo>
                  <a:pt x="2461002" y="5450628"/>
                </a:lnTo>
                <a:lnTo>
                  <a:pt x="2429906" y="5468397"/>
                </a:lnTo>
                <a:lnTo>
                  <a:pt x="2400292" y="5483205"/>
                </a:lnTo>
                <a:lnTo>
                  <a:pt x="2367715" y="5495051"/>
                </a:lnTo>
                <a:lnTo>
                  <a:pt x="2335139" y="5502455"/>
                </a:lnTo>
                <a:lnTo>
                  <a:pt x="2301082" y="5508378"/>
                </a:lnTo>
                <a:lnTo>
                  <a:pt x="2264063" y="5509858"/>
                </a:lnTo>
                <a:lnTo>
                  <a:pt x="350937" y="5509858"/>
                </a:lnTo>
                <a:lnTo>
                  <a:pt x="315399" y="5508378"/>
                </a:lnTo>
                <a:lnTo>
                  <a:pt x="281342" y="5502455"/>
                </a:lnTo>
                <a:lnTo>
                  <a:pt x="245804" y="5495051"/>
                </a:lnTo>
                <a:lnTo>
                  <a:pt x="213228" y="5483205"/>
                </a:lnTo>
                <a:lnTo>
                  <a:pt x="183613" y="5468397"/>
                </a:lnTo>
                <a:lnTo>
                  <a:pt x="153998" y="5450628"/>
                </a:lnTo>
                <a:lnTo>
                  <a:pt x="128825" y="5431379"/>
                </a:lnTo>
                <a:lnTo>
                  <a:pt x="103653" y="5407687"/>
                </a:lnTo>
                <a:lnTo>
                  <a:pt x="78480" y="5383995"/>
                </a:lnTo>
                <a:lnTo>
                  <a:pt x="59230" y="5355861"/>
                </a:lnTo>
                <a:lnTo>
                  <a:pt x="41461" y="5329207"/>
                </a:lnTo>
                <a:lnTo>
                  <a:pt x="26654" y="5296631"/>
                </a:lnTo>
                <a:lnTo>
                  <a:pt x="16288" y="5264054"/>
                </a:lnTo>
                <a:lnTo>
                  <a:pt x="7404" y="5231478"/>
                </a:lnTo>
                <a:lnTo>
                  <a:pt x="1481" y="5195940"/>
                </a:lnTo>
                <a:lnTo>
                  <a:pt x="0" y="5161883"/>
                </a:lnTo>
                <a:lnTo>
                  <a:pt x="0" y="349456"/>
                </a:lnTo>
                <a:lnTo>
                  <a:pt x="1481" y="313918"/>
                </a:lnTo>
                <a:lnTo>
                  <a:pt x="7404" y="279861"/>
                </a:lnTo>
                <a:lnTo>
                  <a:pt x="16288" y="244323"/>
                </a:lnTo>
                <a:lnTo>
                  <a:pt x="26654" y="214708"/>
                </a:lnTo>
                <a:lnTo>
                  <a:pt x="41461" y="182132"/>
                </a:lnTo>
                <a:lnTo>
                  <a:pt x="59230" y="155479"/>
                </a:lnTo>
                <a:lnTo>
                  <a:pt x="78480" y="127344"/>
                </a:lnTo>
                <a:lnTo>
                  <a:pt x="103653" y="102172"/>
                </a:lnTo>
                <a:lnTo>
                  <a:pt x="128825" y="79960"/>
                </a:lnTo>
                <a:lnTo>
                  <a:pt x="153998" y="60711"/>
                </a:lnTo>
                <a:lnTo>
                  <a:pt x="183613" y="42942"/>
                </a:lnTo>
                <a:lnTo>
                  <a:pt x="213228" y="28134"/>
                </a:lnTo>
                <a:lnTo>
                  <a:pt x="245804" y="14808"/>
                </a:lnTo>
                <a:lnTo>
                  <a:pt x="281342" y="59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8" name="TextBox 10">
            <a:extLst>
              <a:ext uri="{FF2B5EF4-FFF2-40B4-BE49-F238E27FC236}">
                <a16:creationId xmlns:a16="http://schemas.microsoft.com/office/drawing/2014/main" id="{DF9D1F84-0F87-B484-B09D-EDB7FA87A39D}"/>
              </a:ext>
            </a:extLst>
          </p:cNvPr>
          <p:cNvSpPr txBox="1"/>
          <p:nvPr/>
        </p:nvSpPr>
        <p:spPr>
          <a:xfrm>
            <a:off x="4483517" y="3829049"/>
            <a:ext cx="2871374" cy="2062103"/>
          </a:xfrm>
          <a:prstGeom prst="rect">
            <a:avLst/>
          </a:prstGeom>
          <a:noFill/>
        </p:spPr>
        <p:txBody>
          <a:bodyPr wrap="square">
            <a:spAutoFit/>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FFFF"/>
                </a:solidFill>
                <a:latin typeface="Zurich Sans Light"/>
              </a:rPr>
              <a:t>Matthias von Harten</a:t>
            </a:r>
            <a:br>
              <a:rPr kumimoji="0" lang="de-DE" sz="1400" b="0" i="0" u="none" strike="noStrike" kern="1200" cap="none" spc="0" normalizeH="0" baseline="0" noProof="0">
                <a:ln>
                  <a:noFill/>
                </a:ln>
                <a:solidFill>
                  <a:srgbClr val="FFFFFF"/>
                </a:solidFill>
                <a:effectLst/>
                <a:uLnTx/>
                <a:uFillTx/>
                <a:latin typeface="Zurich Sans Light"/>
                <a:ea typeface="+mn-ea"/>
                <a:cs typeface="+mn-cs"/>
              </a:rPr>
            </a:br>
            <a:r>
              <a:rPr kumimoji="0" lang="de-DE" sz="1400" b="0" i="0" u="none" strike="noStrike" kern="1200" cap="none" spc="0" normalizeH="0" baseline="0" noProof="0">
                <a:ln>
                  <a:noFill/>
                </a:ln>
                <a:solidFill>
                  <a:srgbClr val="FFFFFF"/>
                </a:solidFill>
                <a:effectLst/>
                <a:uLnTx/>
                <a:uFillTx/>
                <a:latin typeface="Zurich Sans Light"/>
                <a:ea typeface="+mn-ea"/>
                <a:cs typeface="+mn-cs"/>
              </a:rPr>
              <a:t>Teamleiter Climate </a:t>
            </a:r>
            <a:r>
              <a:rPr kumimoji="0" lang="de-DE" sz="1400" b="0" i="0" u="none" strike="noStrike" kern="1200" cap="none" spc="0" normalizeH="0" baseline="0" noProof="0" err="1">
                <a:ln>
                  <a:noFill/>
                </a:ln>
                <a:solidFill>
                  <a:srgbClr val="FFFFFF"/>
                </a:solidFill>
                <a:effectLst/>
                <a:uLnTx/>
                <a:uFillTx/>
                <a:latin typeface="Zurich Sans Light"/>
                <a:ea typeface="+mn-ea"/>
                <a:cs typeface="+mn-cs"/>
              </a:rPr>
              <a:t>Resilience</a:t>
            </a:r>
            <a:endParaRPr kumimoji="0" lang="de-DE" sz="1400" b="0" i="0" u="none" strike="noStrike" kern="1200" cap="none" spc="0" normalizeH="0" baseline="0" noProof="0">
              <a:ln>
                <a:noFill/>
              </a:ln>
              <a:solidFill>
                <a:srgbClr val="FFFFFF"/>
              </a:solidFill>
              <a:effectLst/>
              <a:uLnTx/>
              <a:uFillTx/>
              <a:latin typeface="Zurich Sans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err="1">
                <a:solidFill>
                  <a:srgbClr val="FFFFFF"/>
                </a:solidFill>
                <a:latin typeface="Zurich Sans Light"/>
              </a:rPr>
              <a:t>Zurich</a:t>
            </a:r>
            <a:r>
              <a:rPr lang="de-DE" sz="1400">
                <a:solidFill>
                  <a:srgbClr val="FFFFFF"/>
                </a:solidFill>
                <a:latin typeface="Zurich Sans Light"/>
              </a:rPr>
              <a:t> </a:t>
            </a:r>
            <a:r>
              <a:rPr lang="de-DE" sz="1400" err="1">
                <a:solidFill>
                  <a:srgbClr val="FFFFFF"/>
                </a:solidFill>
                <a:latin typeface="Zurich Sans Light"/>
              </a:rPr>
              <a:t>Resilience</a:t>
            </a:r>
            <a:r>
              <a:rPr lang="de-DE" sz="1400">
                <a:solidFill>
                  <a:srgbClr val="FFFFFF"/>
                </a:solidFill>
                <a:latin typeface="Zurich Sans Light"/>
              </a:rPr>
              <a:t> Solutions – German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Zurich Sans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srgbClr val="FFFFFF"/>
              </a:solidFill>
              <a:effectLst/>
              <a:uLnTx/>
              <a:uFillTx/>
              <a:latin typeface="Zurich Sans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a:solidFill>
                  <a:schemeClr val="bg1"/>
                </a:solidFill>
                <a:latin typeface="Zurich Sans Light"/>
              </a:rPr>
              <a:t>matthias.vonharten@zurich.com</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a:solidFill>
                  <a:schemeClr val="bg1"/>
                </a:solidFill>
                <a:latin typeface="Zurich Sans Light"/>
              </a:rPr>
              <a:t>+49 160 781941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srgbClr val="FFFFFF"/>
              </a:solidFill>
              <a:effectLst/>
              <a:uLnTx/>
              <a:uFillTx/>
              <a:latin typeface="Zurich Sans Light"/>
              <a:ea typeface="+mn-ea"/>
              <a:cs typeface="+mn-cs"/>
            </a:endParaRPr>
          </a:p>
        </p:txBody>
      </p:sp>
      <p:pic>
        <p:nvPicPr>
          <p:cNvPr id="2050" name="Picture 2" descr="Ein Bild, das Kleidung, Person, Menschliches Gesicht, Formelle Kleidung enthält.&#10;&#10;KI-generierte Inhalte können fehlerhaft sein.">
            <a:extLst>
              <a:ext uri="{FF2B5EF4-FFF2-40B4-BE49-F238E27FC236}">
                <a16:creationId xmlns:a16="http://schemas.microsoft.com/office/drawing/2014/main" id="{183885DC-8848-CC44-2D5E-2087D26D9C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51270" y="1430379"/>
            <a:ext cx="2224545" cy="22343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Profilfoto von Tabea Müller">
            <a:extLst>
              <a:ext uri="{FF2B5EF4-FFF2-40B4-BE49-F238E27FC236}">
                <a16:creationId xmlns:a16="http://schemas.microsoft.com/office/drawing/2014/main" id="{E10F463D-38AD-0B46-FC61-7D94BBA6F02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1519950" y="1430379"/>
            <a:ext cx="2235442" cy="2235442"/>
          </a:xfrm>
          <a:prstGeom prst="ellipse">
            <a:avLst/>
          </a:prstGeom>
          <a:noFill/>
          <a:extLst>
            <a:ext uri="{909E8E84-426E-40DD-AFC4-6F175D3DCCD1}">
              <a14:hiddenFill xmlns:a14="http://schemas.microsoft.com/office/drawing/2010/main">
                <a:solidFill>
                  <a:srgbClr val="FFFFFF"/>
                </a:solidFill>
              </a14:hiddenFill>
            </a:ext>
          </a:extLst>
        </p:spPr>
      </p:pic>
      <p:sp>
        <p:nvSpPr>
          <p:cNvPr id="10" name="TextBox 10">
            <a:extLst>
              <a:ext uri="{FF2B5EF4-FFF2-40B4-BE49-F238E27FC236}">
                <a16:creationId xmlns:a16="http://schemas.microsoft.com/office/drawing/2014/main" id="{6F332E6A-4A48-81A6-2CE6-EFB9AC81C9DB}"/>
              </a:ext>
            </a:extLst>
          </p:cNvPr>
          <p:cNvSpPr txBox="1"/>
          <p:nvPr/>
        </p:nvSpPr>
        <p:spPr>
          <a:xfrm>
            <a:off x="1257645" y="3829049"/>
            <a:ext cx="2871374" cy="2062103"/>
          </a:xfrm>
          <a:prstGeom prst="rect">
            <a:avLst/>
          </a:prstGeom>
          <a:noFill/>
        </p:spPr>
        <p:txBody>
          <a:bodyPr wrap="square">
            <a:spAutoFit/>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FFFF"/>
                </a:solidFill>
                <a:latin typeface="Zurich Sans Light"/>
              </a:rPr>
              <a:t>Tabea Müller</a:t>
            </a:r>
            <a:br>
              <a:rPr kumimoji="0" lang="de-DE" sz="1400" b="0" i="0" u="none" strike="noStrike" kern="1200" cap="none" spc="0" normalizeH="0" baseline="0" noProof="0">
                <a:ln>
                  <a:noFill/>
                </a:ln>
                <a:solidFill>
                  <a:srgbClr val="FFFFFF"/>
                </a:solidFill>
                <a:effectLst/>
                <a:uLnTx/>
                <a:uFillTx/>
                <a:latin typeface="Zurich Sans Light"/>
                <a:ea typeface="+mn-ea"/>
                <a:cs typeface="+mn-cs"/>
              </a:rPr>
            </a:br>
            <a:r>
              <a:rPr kumimoji="0" lang="de-DE" sz="1400" b="0" i="0" u="none" strike="noStrike" kern="1200" cap="none" spc="0" normalizeH="0" baseline="0" noProof="0">
                <a:ln>
                  <a:noFill/>
                </a:ln>
                <a:solidFill>
                  <a:srgbClr val="FFFFFF"/>
                </a:solidFill>
                <a:effectLst/>
                <a:uLnTx/>
                <a:uFillTx/>
                <a:latin typeface="Zurich Sans Light"/>
                <a:ea typeface="+mn-ea"/>
                <a:cs typeface="+mn-cs"/>
              </a:rPr>
              <a:t>Climate </a:t>
            </a:r>
            <a:r>
              <a:rPr kumimoji="0" lang="de-DE" sz="1400" b="0" i="0" u="none" strike="noStrike" kern="1200" cap="none" spc="0" normalizeH="0" baseline="0" noProof="0" err="1">
                <a:ln>
                  <a:noFill/>
                </a:ln>
                <a:solidFill>
                  <a:srgbClr val="FFFFFF"/>
                </a:solidFill>
                <a:effectLst/>
                <a:uLnTx/>
                <a:uFillTx/>
                <a:latin typeface="Zurich Sans Light"/>
                <a:ea typeface="+mn-ea"/>
                <a:cs typeface="+mn-cs"/>
              </a:rPr>
              <a:t>Resilience</a:t>
            </a:r>
            <a:r>
              <a:rPr kumimoji="0" lang="de-DE" sz="1400" b="0" i="0" u="none" strike="noStrike" kern="1200" cap="none" spc="0" normalizeH="0" baseline="0" noProof="0">
                <a:ln>
                  <a:noFill/>
                </a:ln>
                <a:solidFill>
                  <a:srgbClr val="FFFFFF"/>
                </a:solidFill>
                <a:effectLst/>
                <a:uLnTx/>
                <a:uFillTx/>
                <a:latin typeface="Zurich Sans Light"/>
                <a:ea typeface="+mn-ea"/>
                <a:cs typeface="+mn-cs"/>
              </a:rPr>
              <a:t> Lead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err="1">
                <a:solidFill>
                  <a:srgbClr val="FFFFFF"/>
                </a:solidFill>
                <a:latin typeface="Zurich Sans Light"/>
              </a:rPr>
              <a:t>Zurich</a:t>
            </a:r>
            <a:r>
              <a:rPr lang="de-DE" sz="1400">
                <a:solidFill>
                  <a:srgbClr val="FFFFFF"/>
                </a:solidFill>
                <a:latin typeface="Zurich Sans Light"/>
              </a:rPr>
              <a:t> </a:t>
            </a:r>
            <a:r>
              <a:rPr lang="de-DE" sz="1400" err="1">
                <a:solidFill>
                  <a:srgbClr val="FFFFFF"/>
                </a:solidFill>
                <a:latin typeface="Zurich Sans Light"/>
              </a:rPr>
              <a:t>Resilience</a:t>
            </a:r>
            <a:r>
              <a:rPr lang="de-DE" sz="1400">
                <a:solidFill>
                  <a:srgbClr val="FFFFFF"/>
                </a:solidFill>
                <a:latin typeface="Zurich Sans Light"/>
              </a:rPr>
              <a:t> Solutions – </a:t>
            </a:r>
            <a:r>
              <a:rPr lang="de-DE" sz="1400" err="1">
                <a:solidFill>
                  <a:srgbClr val="FFFFFF"/>
                </a:solidFill>
                <a:latin typeface="Zurich Sans Light"/>
              </a:rPr>
              <a:t>BeNeLux</a:t>
            </a:r>
            <a:endParaRPr lang="de-DE" sz="1400">
              <a:solidFill>
                <a:srgbClr val="FFFFFF"/>
              </a:solidFill>
              <a:latin typeface="Zurich Sans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Zurich Sans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srgbClr val="FFFFFF"/>
              </a:solidFill>
              <a:effectLst/>
              <a:uLnTx/>
              <a:uFillTx/>
              <a:latin typeface="Zurich Sans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a:solidFill>
                  <a:schemeClr val="bg1"/>
                </a:solidFill>
                <a:latin typeface="Zurich Sans Light"/>
              </a:rPr>
              <a:t>tabea.mueller@zurich.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FFFFFF"/>
                </a:solidFill>
                <a:effectLst/>
                <a:uLnTx/>
                <a:uFillTx/>
                <a:latin typeface="Zurich Sans Light"/>
                <a:ea typeface="+mn-ea"/>
                <a:cs typeface="+mn-cs"/>
              </a:rPr>
              <a:t>+31 611 26519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srgbClr val="FFFFFF"/>
              </a:solidFill>
              <a:effectLst/>
              <a:uLnTx/>
              <a:uFillTx/>
              <a:latin typeface="Zurich Sans Light"/>
              <a:ea typeface="+mn-ea"/>
              <a:cs typeface="+mn-cs"/>
            </a:endParaRPr>
          </a:p>
        </p:txBody>
      </p:sp>
      <p:sp>
        <p:nvSpPr>
          <p:cNvPr id="11" name="Textfeld 10">
            <a:extLst>
              <a:ext uri="{FF2B5EF4-FFF2-40B4-BE49-F238E27FC236}">
                <a16:creationId xmlns:a16="http://schemas.microsoft.com/office/drawing/2014/main" id="{88BD368F-9FA0-EDE5-4632-B259500D8F86}"/>
              </a:ext>
            </a:extLst>
          </p:cNvPr>
          <p:cNvSpPr txBox="1"/>
          <p:nvPr/>
        </p:nvSpPr>
        <p:spPr>
          <a:xfrm>
            <a:off x="8615648" y="1182825"/>
            <a:ext cx="2696591" cy="495108"/>
          </a:xfrm>
          <a:prstGeom prst="rect">
            <a:avLst/>
          </a:prstGeom>
          <a:noFill/>
        </p:spPr>
        <p:txBody>
          <a:bodyPr wrap="square" lIns="108000" tIns="108000" rIns="108000" bIns="108000" rtlCol="0">
            <a:spAutoFit/>
          </a:bodyPr>
          <a:lstStyle/>
          <a:p>
            <a:pPr algn="l"/>
            <a:r>
              <a:rPr lang="de-DE">
                <a:solidFill>
                  <a:schemeClr val="bg1"/>
                </a:solidFill>
              </a:rPr>
              <a:t>Für mehr Informationen: </a:t>
            </a:r>
          </a:p>
        </p:txBody>
      </p:sp>
    </p:spTree>
    <p:extLst>
      <p:ext uri="{BB962C8B-B14F-4D97-AF65-F5344CB8AC3E}">
        <p14:creationId xmlns:p14="http://schemas.microsoft.com/office/powerpoint/2010/main" val="26187396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0AC8924-5590-4B0E-955A-755D2997FCAD}"/>
              </a:ext>
            </a:extLst>
          </p:cNvPr>
          <p:cNvSpPr>
            <a:spLocks noGrp="1"/>
          </p:cNvSpPr>
          <p:nvPr>
            <p:ph type="ctrTitle"/>
          </p:nvPr>
        </p:nvSpPr>
        <p:spPr/>
        <p:txBody>
          <a:bodyPr/>
          <a:lstStyle/>
          <a:p>
            <a:endParaRPr lang="en-GB"/>
          </a:p>
        </p:txBody>
      </p:sp>
      <p:sp>
        <p:nvSpPr>
          <p:cNvPr id="7" name="Picture Placeholder 6">
            <a:extLst>
              <a:ext uri="{FF2B5EF4-FFF2-40B4-BE49-F238E27FC236}">
                <a16:creationId xmlns:a16="http://schemas.microsoft.com/office/drawing/2014/main" id="{F13B24D8-3D74-4362-A732-21D0CDB544E2}"/>
              </a:ext>
            </a:extLst>
          </p:cNvPr>
          <p:cNvSpPr>
            <a:spLocks noGrp="1"/>
          </p:cNvSpPr>
          <p:nvPr>
            <p:ph type="pic" sz="quarter" idx="14"/>
          </p:nvPr>
        </p:nvSpPr>
        <p:spPr/>
        <p:txBody>
          <a:bodyPr/>
          <a:lstStyle/>
          <a:p>
            <a:endParaRPr lang="de-DE"/>
          </a:p>
        </p:txBody>
      </p:sp>
    </p:spTree>
    <p:extLst>
      <p:ext uri="{BB962C8B-B14F-4D97-AF65-F5344CB8AC3E}">
        <p14:creationId xmlns:p14="http://schemas.microsoft.com/office/powerpoint/2010/main" val="12176373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4D2025-1BAA-F857-5745-B0A57698D49B}"/>
              </a:ext>
            </a:extLst>
          </p:cNvPr>
          <p:cNvSpPr>
            <a:spLocks noGrp="1"/>
          </p:cNvSpPr>
          <p:nvPr>
            <p:ph type="title"/>
          </p:nvPr>
        </p:nvSpPr>
        <p:spPr/>
        <p:txBody>
          <a:bodyPr/>
          <a:lstStyle/>
          <a:p>
            <a:endParaRPr lang="de-DE"/>
          </a:p>
        </p:txBody>
      </p:sp>
      <p:sp>
        <p:nvSpPr>
          <p:cNvPr id="3" name="Textplatzhalter 2">
            <a:extLst>
              <a:ext uri="{FF2B5EF4-FFF2-40B4-BE49-F238E27FC236}">
                <a16:creationId xmlns:a16="http://schemas.microsoft.com/office/drawing/2014/main" id="{96152526-4A0B-9350-35CB-38BD82EB01AF}"/>
              </a:ext>
            </a:extLst>
          </p:cNvPr>
          <p:cNvSpPr>
            <a:spLocks noGrp="1"/>
          </p:cNvSpPr>
          <p:nvPr>
            <p:ph type="body" sz="quarter" idx="15"/>
          </p:nvPr>
        </p:nvSpPr>
        <p:spPr/>
        <p:txBody>
          <a:bodyPr/>
          <a:lstStyle/>
          <a:p>
            <a:endParaRPr lang="de-DE"/>
          </a:p>
        </p:txBody>
      </p:sp>
      <p:pic>
        <p:nvPicPr>
          <p:cNvPr id="8" name="ZCI_LF_ONLINE_TITLED_VIEW_DEU_16x9_18580 (1)">
            <a:hlinkClick r:id="" action="ppaction://media"/>
            <a:extLst>
              <a:ext uri="{FF2B5EF4-FFF2-40B4-BE49-F238E27FC236}">
                <a16:creationId xmlns:a16="http://schemas.microsoft.com/office/drawing/2014/main" id="{862022E0-8FC3-6DAC-281B-041913581D56}"/>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1930700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2063"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8"/>
                                        </p:tgtEl>
                                      </p:cBhvr>
                                    </p:cmd>
                                  </p:childTnLst>
                                </p:cTn>
                              </p:par>
                            </p:childTnLst>
                          </p:cTn>
                        </p:par>
                      </p:childTnLst>
                    </p:cTn>
                  </p:par>
                </p:childTnLst>
              </p:cTn>
              <p:nextCondLst>
                <p:cond evt="onClick" delay="0">
                  <p:tgtEl>
                    <p:spTgt spid="8"/>
                  </p:tgtEl>
                </p:cond>
              </p:nextCondLst>
            </p:seq>
            <p:video>
              <p:cMediaNode vol="80000">
                <p:cTn id="12" fill="hold" display="0">
                  <p:stCondLst>
                    <p:cond delay="indefinite"/>
                  </p:stCondLst>
                </p:cTn>
                <p:tgtEl>
                  <p:spTgt spid="8"/>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19021FF-7B8C-A3BB-A5D9-8F3EB185ED1E}"/>
            </a:ext>
          </a:extLst>
        </p:cNvPr>
        <p:cNvGrpSpPr/>
        <p:nvPr/>
      </p:nvGrpSpPr>
      <p:grpSpPr>
        <a:xfrm>
          <a:off x="0" y="0"/>
          <a:ext cx="0" cy="0"/>
          <a:chOff x="0" y="0"/>
          <a:chExt cx="0" cy="0"/>
        </a:xfrm>
      </p:grpSpPr>
      <p:sp>
        <p:nvSpPr>
          <p:cNvPr id="25" name="Rectangle 24">
            <a:extLst>
              <a:ext uri="{FF2B5EF4-FFF2-40B4-BE49-F238E27FC236}">
                <a16:creationId xmlns:a16="http://schemas.microsoft.com/office/drawing/2014/main" id="{95719134-767A-BFBD-E64A-5273718F4802}"/>
              </a:ext>
            </a:extLst>
          </p:cNvPr>
          <p:cNvSpPr/>
          <p:nvPr/>
        </p:nvSpPr>
        <p:spPr>
          <a:xfrm>
            <a:off x="795" y="1700439"/>
            <a:ext cx="12190413" cy="515711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algn="ctr" defTabSz="914286">
              <a:defRPr/>
            </a:pPr>
            <a:endParaRPr lang="de-DE" sz="1000">
              <a:solidFill>
                <a:srgbClr val="FFFFFF"/>
              </a:solidFill>
              <a:latin typeface="Zurich Sans Light"/>
            </a:endParaRPr>
          </a:p>
        </p:txBody>
      </p:sp>
      <p:graphicFrame>
        <p:nvGraphicFramePr>
          <p:cNvPr id="5" name="Object 4" hidden="1">
            <a:extLst>
              <a:ext uri="{FF2B5EF4-FFF2-40B4-BE49-F238E27FC236}">
                <a16:creationId xmlns:a16="http://schemas.microsoft.com/office/drawing/2014/main" id="{14EC234C-1F3A-62E7-50DA-710C71DF0289}"/>
              </a:ext>
            </a:extLst>
          </p:cNvPr>
          <p:cNvGraphicFramePr>
            <a:graphicFrameLocks noChangeAspect="1"/>
          </p:cNvGraphicFramePr>
          <p:nvPr>
            <p:custDataLst>
              <p:tags r:id="rId1"/>
            </p:custDataLst>
          </p:nvPr>
        </p:nvGraphicFramePr>
        <p:xfrm>
          <a:off x="2384" y="2035"/>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5" name="Object 4" hidden="1">
                        <a:extLst>
                          <a:ext uri="{FF2B5EF4-FFF2-40B4-BE49-F238E27FC236}">
                            <a16:creationId xmlns:a16="http://schemas.microsoft.com/office/drawing/2014/main" id="{14EC234C-1F3A-62E7-50DA-710C71DF0289}"/>
                          </a:ext>
                        </a:extLst>
                      </p:cNvPr>
                      <p:cNvPicPr/>
                      <p:nvPr/>
                    </p:nvPicPr>
                    <p:blipFill>
                      <a:blip r:embed="rId5"/>
                      <a:stretch>
                        <a:fillRect/>
                      </a:stretch>
                    </p:blipFill>
                    <p:spPr>
                      <a:xfrm>
                        <a:off x="2384" y="2035"/>
                        <a:ext cx="1227" cy="1588"/>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16D98A91-7E37-7C2B-A86B-F1DE2B6A2794}"/>
              </a:ext>
            </a:extLst>
          </p:cNvPr>
          <p:cNvSpPr txBox="1"/>
          <p:nvPr/>
        </p:nvSpPr>
        <p:spPr>
          <a:xfrm>
            <a:off x="-160552" y="-21065"/>
            <a:ext cx="218148" cy="433527"/>
          </a:xfrm>
          <a:prstGeom prst="rect">
            <a:avLst/>
          </a:prstGeom>
          <a:noFill/>
        </p:spPr>
        <p:txBody>
          <a:bodyPr wrap="none" lIns="107987" tIns="107987" rIns="107987" bIns="107987" rtlCol="0">
            <a:spAutoFit/>
          </a:bodyPr>
          <a:lstStyle/>
          <a:p>
            <a:pPr defTabSz="914286">
              <a:defRPr/>
            </a:pPr>
            <a:endParaRPr lang="de-DE" sz="1400">
              <a:solidFill>
                <a:srgbClr val="EEF0F1"/>
              </a:solidFill>
              <a:latin typeface="Zurich Sans Light"/>
            </a:endParaRPr>
          </a:p>
        </p:txBody>
      </p:sp>
      <p:pic>
        <p:nvPicPr>
          <p:cNvPr id="26" name="Picture Placeholder 2">
            <a:extLst>
              <a:ext uri="{FF2B5EF4-FFF2-40B4-BE49-F238E27FC236}">
                <a16:creationId xmlns:a16="http://schemas.microsoft.com/office/drawing/2014/main" id="{83740DA8-3749-4B38-61EB-CFA09CBD0DA7}"/>
              </a:ext>
            </a:extLst>
          </p:cNvPr>
          <p:cNvPicPr>
            <a:picLocks noChangeAspect="1"/>
          </p:cNvPicPr>
          <p:nvPr/>
        </p:nvPicPr>
        <p:blipFill rotWithShape="1">
          <a:blip r:embed="rId6">
            <a:extLst>
              <a:ext uri="{28A0092B-C50C-407E-A947-70E740481C1C}">
                <a14:useLocalDpi xmlns:a14="http://schemas.microsoft.com/office/drawing/2010/main" val="0"/>
              </a:ext>
            </a:extLst>
          </a:blip>
          <a:srcRect l="50498" r="6494"/>
          <a:stretch/>
        </p:blipFill>
        <p:spPr>
          <a:xfrm>
            <a:off x="7322101" y="893663"/>
            <a:ext cx="4869107" cy="4869107"/>
          </a:xfrm>
          <a:prstGeom prst="ellipse">
            <a:avLst/>
          </a:prstGeom>
        </p:spPr>
      </p:pic>
      <p:sp>
        <p:nvSpPr>
          <p:cNvPr id="30" name="Rectangle 29">
            <a:extLst>
              <a:ext uri="{FF2B5EF4-FFF2-40B4-BE49-F238E27FC236}">
                <a16:creationId xmlns:a16="http://schemas.microsoft.com/office/drawing/2014/main" id="{C247EEC8-D96E-26F6-CCE9-3F7A5A5105B4}"/>
              </a:ext>
            </a:extLst>
          </p:cNvPr>
          <p:cNvSpPr/>
          <p:nvPr/>
        </p:nvSpPr>
        <p:spPr>
          <a:xfrm>
            <a:off x="289895" y="3508485"/>
            <a:ext cx="3218533" cy="2816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29" marR="0" lvl="0" indent="-171429" algn="l" defTabSz="9142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400" b="0" i="0" u="none" strike="noStrike" kern="1200" cap="none" spc="0" normalizeH="0" baseline="0" noProof="0">
                <a:ln>
                  <a:noFill/>
                </a:ln>
                <a:solidFill>
                  <a:srgbClr val="2167AE"/>
                </a:solidFill>
                <a:effectLst/>
                <a:uLnTx/>
                <a:uFillTx/>
                <a:latin typeface="Zurich Sans Medium"/>
                <a:ea typeface="+mn-ea"/>
                <a:cs typeface="Arial" panose="020B0604020202020204" pitchFamily="34" charset="0"/>
              </a:rPr>
              <a:t>Risikoermittlung</a:t>
            </a:r>
            <a:r>
              <a:rPr kumimoji="0" lang="de-DE" sz="1400" b="0" i="0" u="none" strike="noStrike" kern="1200" cap="none" spc="0" normalizeH="0" baseline="0" noProof="0">
                <a:ln>
                  <a:noFill/>
                </a:ln>
                <a:solidFill>
                  <a:srgbClr val="2167AE"/>
                </a:solidFill>
                <a:effectLst/>
                <a:uLnTx/>
                <a:uFillTx/>
                <a:latin typeface="Zurich Sans Light"/>
                <a:ea typeface="+mn-ea"/>
                <a:cs typeface="Arial" panose="020B0604020202020204" pitchFamily="34" charset="0"/>
              </a:rPr>
              <a:t>, nach verschiedenen Gefahren, ausgewählten Zeithorizonten und Klimaszenarien</a:t>
            </a:r>
          </a:p>
          <a:p>
            <a:pPr marL="171429" marR="0" lvl="0" indent="-171429" algn="l" defTabSz="9142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400" b="0" i="0" u="none" strike="noStrike" kern="1200" cap="none" spc="0" normalizeH="0" baseline="0" noProof="0">
                <a:ln>
                  <a:noFill/>
                </a:ln>
                <a:solidFill>
                  <a:srgbClr val="2167AE"/>
                </a:solidFill>
                <a:effectLst/>
                <a:uLnTx/>
                <a:uFillTx/>
                <a:latin typeface="Zurich Sans Medium"/>
                <a:ea typeface="+mn-ea"/>
                <a:cs typeface="Arial" panose="020B0604020202020204" pitchFamily="34" charset="0"/>
              </a:rPr>
              <a:t>Risiko-Priorisierung</a:t>
            </a:r>
            <a:r>
              <a:rPr kumimoji="0" lang="de-DE" sz="1400" b="0" i="0" u="none" strike="noStrike" kern="1200" cap="none" spc="0" normalizeH="0" baseline="0" noProof="0">
                <a:ln>
                  <a:noFill/>
                </a:ln>
                <a:solidFill>
                  <a:srgbClr val="2167AE"/>
                </a:solidFill>
                <a:effectLst/>
                <a:uLnTx/>
                <a:uFillTx/>
                <a:latin typeface="Zurich Sans Light"/>
                <a:ea typeface="+mn-ea"/>
                <a:cs typeface="Arial" panose="020B0604020202020204" pitchFamily="34" charset="0"/>
              </a:rPr>
              <a:t> mit Zuordnung von Kritikalität und Schwachstellen sowie individuellem Standort-Ranking</a:t>
            </a:r>
          </a:p>
          <a:p>
            <a:pPr marL="171429" marR="0" lvl="0" indent="-171429" algn="l" defTabSz="9142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400" b="0" i="0" u="none" strike="noStrike" kern="1200" cap="none" spc="0" normalizeH="0" baseline="0" noProof="0">
                <a:ln>
                  <a:noFill/>
                </a:ln>
                <a:solidFill>
                  <a:srgbClr val="2167AE"/>
                </a:solidFill>
                <a:effectLst/>
                <a:uLnTx/>
                <a:uFillTx/>
                <a:latin typeface="Zurich Sans Medium"/>
                <a:ea typeface="+mn-ea"/>
                <a:cs typeface="Arial" panose="020B0604020202020204" pitchFamily="34" charset="0"/>
              </a:rPr>
              <a:t>Interaktive Visualisierung </a:t>
            </a:r>
            <a:r>
              <a:rPr kumimoji="0" lang="de-DE" sz="1400" b="0" i="0" u="none" strike="noStrike" kern="1200" cap="none" spc="0" normalizeH="0" baseline="0" noProof="0">
                <a:ln>
                  <a:noFill/>
                </a:ln>
                <a:solidFill>
                  <a:srgbClr val="2167AE"/>
                </a:solidFill>
                <a:effectLst/>
                <a:uLnTx/>
                <a:uFillTx/>
                <a:latin typeface="Zurich Sans Light"/>
                <a:ea typeface="+mn-ea"/>
                <a:cs typeface="Arial" panose="020B0604020202020204" pitchFamily="34" charset="0"/>
              </a:rPr>
              <a:t>von Klimarisiken</a:t>
            </a:r>
          </a:p>
          <a:p>
            <a:pPr marL="171429" marR="0" lvl="0" indent="-171429" algn="l" defTabSz="9142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400" b="0" i="0" u="none" strike="noStrike" kern="1200" cap="none" spc="0" normalizeH="0" baseline="0" noProof="0">
                <a:ln>
                  <a:noFill/>
                </a:ln>
                <a:solidFill>
                  <a:srgbClr val="2167AE"/>
                </a:solidFill>
                <a:effectLst/>
                <a:uLnTx/>
                <a:uFillTx/>
                <a:latin typeface="Zurich Sans Light"/>
                <a:ea typeface="+mn-ea"/>
                <a:cs typeface="Arial" panose="020B0604020202020204" pitchFamily="34" charset="0"/>
              </a:rPr>
              <a:t>Optional: </a:t>
            </a:r>
            <a:r>
              <a:rPr kumimoji="0" lang="de-DE" sz="1400" b="1" i="0" u="none" strike="noStrike" kern="1200" cap="none" spc="0" normalizeH="0" baseline="0" noProof="0">
                <a:ln>
                  <a:noFill/>
                </a:ln>
                <a:solidFill>
                  <a:srgbClr val="2167AE"/>
                </a:solidFill>
                <a:effectLst/>
                <a:uLnTx/>
                <a:uFillTx/>
                <a:latin typeface="Zurich Sans Light"/>
                <a:ea typeface="+mn-ea"/>
                <a:cs typeface="Arial" panose="020B0604020202020204" pitchFamily="34" charset="0"/>
              </a:rPr>
              <a:t>Finanzielle Schadenschätzung</a:t>
            </a:r>
            <a:r>
              <a:rPr kumimoji="0" lang="de-DE" sz="1400" b="0" i="0" u="none" strike="noStrike" kern="1200" cap="none" spc="0" normalizeH="0" baseline="0" noProof="0">
                <a:ln>
                  <a:noFill/>
                </a:ln>
                <a:solidFill>
                  <a:srgbClr val="2167AE"/>
                </a:solidFill>
                <a:effectLst/>
                <a:uLnTx/>
                <a:uFillTx/>
                <a:latin typeface="Zurich Sans Light"/>
                <a:ea typeface="+mn-ea"/>
                <a:cs typeface="Arial" panose="020B0604020202020204" pitchFamily="34" charset="0"/>
              </a:rPr>
              <a:t> für Überschwemmung, Wind</a:t>
            </a:r>
            <a:r>
              <a:rPr lang="de-DE" sz="1400">
                <a:solidFill>
                  <a:srgbClr val="2167AE"/>
                </a:solidFill>
                <a:latin typeface="Zurich Sans Light"/>
                <a:cs typeface="Arial" panose="020B0604020202020204" pitchFamily="34" charset="0"/>
              </a:rPr>
              <a:t> &amp; Sturmflut </a:t>
            </a:r>
            <a:r>
              <a:rPr kumimoji="0" lang="de-DE" sz="1400" b="0" i="0" u="none" strike="noStrike" kern="1200" cap="none" spc="0" normalizeH="0" baseline="0" noProof="0">
                <a:ln>
                  <a:noFill/>
                </a:ln>
                <a:solidFill>
                  <a:srgbClr val="2167AE"/>
                </a:solidFill>
                <a:effectLst/>
                <a:uLnTx/>
                <a:uFillTx/>
                <a:latin typeface="Zurich Sans Light"/>
                <a:ea typeface="+mn-ea"/>
                <a:cs typeface="Arial" panose="020B0604020202020204" pitchFamily="34" charset="0"/>
              </a:rPr>
              <a:t>(Dürre in Q3 2025)</a:t>
            </a:r>
          </a:p>
        </p:txBody>
      </p:sp>
      <p:sp>
        <p:nvSpPr>
          <p:cNvPr id="2" name="TextBox 1">
            <a:extLst>
              <a:ext uri="{FF2B5EF4-FFF2-40B4-BE49-F238E27FC236}">
                <a16:creationId xmlns:a16="http://schemas.microsoft.com/office/drawing/2014/main" id="{8473F554-5312-2B07-3098-65B4DD5ADBA1}"/>
              </a:ext>
            </a:extLst>
          </p:cNvPr>
          <p:cNvSpPr txBox="1"/>
          <p:nvPr/>
        </p:nvSpPr>
        <p:spPr>
          <a:xfrm>
            <a:off x="289894" y="1960556"/>
            <a:ext cx="3329397" cy="1446550"/>
          </a:xfrm>
          <a:prstGeom prst="rect">
            <a:avLst/>
          </a:prstGeom>
          <a:noFill/>
        </p:spPr>
        <p:txBody>
          <a:bodyPr wrap="square" lIns="0" tIns="0" rIns="0" bIns="0" rtlCol="0">
            <a:spAutoFit/>
          </a:bodyPr>
          <a:lstStyle/>
          <a:p>
            <a:pPr defTabSz="914286">
              <a:defRPr/>
            </a:pPr>
            <a:br>
              <a:rPr lang="de-DE" sz="2000">
                <a:solidFill>
                  <a:srgbClr val="2167AE"/>
                </a:solidFill>
                <a:latin typeface="Zurich Sans Light"/>
              </a:rPr>
            </a:br>
            <a:br>
              <a:rPr lang="de-DE" sz="2000">
                <a:solidFill>
                  <a:srgbClr val="2167AE"/>
                </a:solidFill>
                <a:latin typeface="Zurich Sans Light"/>
              </a:rPr>
            </a:br>
            <a:r>
              <a:rPr kumimoji="0" lang="de-DE" sz="2000" b="0" i="0" u="none" strike="noStrike" kern="1200" cap="none" spc="0" normalizeH="0" baseline="0" noProof="0">
                <a:ln>
                  <a:noFill/>
                </a:ln>
                <a:solidFill>
                  <a:srgbClr val="2167AE"/>
                </a:solidFill>
                <a:effectLst/>
                <a:uLnTx/>
                <a:uFillTx/>
                <a:latin typeface="Zurich Sans Light"/>
                <a:ea typeface="+mn-ea"/>
                <a:cs typeface="+mn-cs"/>
              </a:rPr>
              <a:t>Klimarisikoanalyse via Climate Spotlight</a:t>
            </a:r>
            <a:br>
              <a:rPr lang="de-DE" sz="2000">
                <a:solidFill>
                  <a:srgbClr val="2167AE"/>
                </a:solidFill>
                <a:latin typeface="Zurich Sans Light"/>
              </a:rPr>
            </a:br>
            <a:r>
              <a:rPr lang="de-DE" sz="1400">
                <a:solidFill>
                  <a:srgbClr val="2167AE"/>
                </a:solidFill>
                <a:latin typeface="Zurich Sans Light"/>
              </a:rPr>
              <a:t>(Bewertung auf Portfolioebene)</a:t>
            </a:r>
          </a:p>
        </p:txBody>
      </p:sp>
      <p:cxnSp>
        <p:nvCxnSpPr>
          <p:cNvPr id="10" name="Straight Connector 9">
            <a:extLst>
              <a:ext uri="{FF2B5EF4-FFF2-40B4-BE49-F238E27FC236}">
                <a16:creationId xmlns:a16="http://schemas.microsoft.com/office/drawing/2014/main" id="{23DC2A95-5E0B-D302-00E4-A8C8F82FDFEA}"/>
              </a:ext>
            </a:extLst>
          </p:cNvPr>
          <p:cNvCxnSpPr>
            <a:cxnSpLocks/>
          </p:cNvCxnSpPr>
          <p:nvPr/>
        </p:nvCxnSpPr>
        <p:spPr>
          <a:xfrm>
            <a:off x="3804049" y="2060019"/>
            <a:ext cx="0" cy="4324215"/>
          </a:xfrm>
          <a:prstGeom prst="line">
            <a:avLst/>
          </a:prstGeom>
          <a:ln w="15875">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F5AAEF3-314D-1F71-0749-F73AB7CA8EC1}"/>
              </a:ext>
            </a:extLst>
          </p:cNvPr>
          <p:cNvSpPr txBox="1"/>
          <p:nvPr/>
        </p:nvSpPr>
        <p:spPr>
          <a:xfrm>
            <a:off x="11157573" y="6548564"/>
            <a:ext cx="69924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defTabSz="914286">
              <a:defRPr/>
            </a:pPr>
            <a:r>
              <a:rPr lang="de-DE" sz="900">
                <a:solidFill>
                  <a:srgbClr val="2167AE"/>
                </a:solidFill>
                <a:latin typeface="Zurich Sans Light"/>
                <a:cs typeface="Arial" panose="020B0604020202020204" pitchFamily="34" charset="0"/>
              </a:rPr>
              <a:t>© Zurich</a:t>
            </a:r>
          </a:p>
        </p:txBody>
      </p:sp>
      <p:sp>
        <p:nvSpPr>
          <p:cNvPr id="17" name="TextBox 16">
            <a:extLst>
              <a:ext uri="{FF2B5EF4-FFF2-40B4-BE49-F238E27FC236}">
                <a16:creationId xmlns:a16="http://schemas.microsoft.com/office/drawing/2014/main" id="{4FA72574-CB23-498F-1F28-F535D39E6784}"/>
              </a:ext>
            </a:extLst>
          </p:cNvPr>
          <p:cNvSpPr txBox="1"/>
          <p:nvPr/>
        </p:nvSpPr>
        <p:spPr>
          <a:xfrm>
            <a:off x="210760" y="893358"/>
            <a:ext cx="7007528" cy="743345"/>
          </a:xfrm>
          <a:prstGeom prst="rect">
            <a:avLst/>
          </a:prstGeom>
          <a:noFill/>
        </p:spPr>
        <p:txBody>
          <a:bodyPr wrap="square">
            <a:spAutoFit/>
          </a:bodyPr>
          <a:lstStyle/>
          <a:p>
            <a:pPr defTabSz="914286">
              <a:lnSpc>
                <a:spcPct val="110000"/>
              </a:lnSpc>
            </a:pPr>
            <a:r>
              <a:rPr lang="de-DE" sz="2000">
                <a:solidFill>
                  <a:srgbClr val="2167AE"/>
                </a:solidFill>
                <a:latin typeface="Zurich Sans Light"/>
              </a:rPr>
              <a:t>Wir helfen unseren Kunden bei der Bewertung und Bewältigung ihrer physischen und operativen Klimarisiken:</a:t>
            </a:r>
          </a:p>
        </p:txBody>
      </p:sp>
      <p:sp>
        <p:nvSpPr>
          <p:cNvPr id="31" name="Rectangle 30">
            <a:extLst>
              <a:ext uri="{FF2B5EF4-FFF2-40B4-BE49-F238E27FC236}">
                <a16:creationId xmlns:a16="http://schemas.microsoft.com/office/drawing/2014/main" id="{ACD13F95-91C7-70CB-E0E4-3CF2251A9E2B}"/>
              </a:ext>
            </a:extLst>
          </p:cNvPr>
          <p:cNvSpPr/>
          <p:nvPr/>
        </p:nvSpPr>
        <p:spPr>
          <a:xfrm>
            <a:off x="4069413" y="3508486"/>
            <a:ext cx="3148875" cy="2600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0815" marR="0" lvl="0" indent="-170815" algn="l" defTabSz="9142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400" b="0" i="0" u="none" strike="noStrike" kern="1200" cap="none" spc="0" normalizeH="0" baseline="0" noProof="0">
                <a:ln>
                  <a:noFill/>
                </a:ln>
                <a:solidFill>
                  <a:srgbClr val="2167AE"/>
                </a:solidFill>
                <a:effectLst/>
                <a:uLnTx/>
                <a:uFillTx/>
                <a:latin typeface="Zurich Sans Medium"/>
                <a:ea typeface="+mn-ea"/>
                <a:cs typeface="Arial"/>
              </a:rPr>
              <a:t>Quantifizierung des Klimarisikos </a:t>
            </a:r>
            <a:r>
              <a:rPr kumimoji="0" lang="de-DE" sz="1400" b="0" i="0" u="none" strike="noStrike" kern="1200" cap="none" spc="0" normalizeH="0" baseline="0" noProof="0">
                <a:ln>
                  <a:noFill/>
                </a:ln>
                <a:solidFill>
                  <a:srgbClr val="2167AE"/>
                </a:solidFill>
                <a:effectLst/>
                <a:uLnTx/>
                <a:uFillTx/>
                <a:latin typeface="Zurich Sans Light"/>
                <a:ea typeface="+mn-ea"/>
                <a:cs typeface="Arial"/>
              </a:rPr>
              <a:t>pro Standort und Vorschläge für Anpassungsmaßnahmen</a:t>
            </a:r>
            <a:endParaRPr kumimoji="0" lang="de-DE" sz="1400" b="0" i="0" u="none" strike="noStrike" kern="1200" cap="none" spc="0" normalizeH="0" baseline="0" noProof="0">
              <a:ln>
                <a:noFill/>
              </a:ln>
              <a:solidFill>
                <a:srgbClr val="FFFFFF"/>
              </a:solidFill>
              <a:effectLst/>
              <a:uLnTx/>
              <a:uFillTx/>
              <a:latin typeface="Zurich Sans Light"/>
              <a:ea typeface="+mn-ea"/>
              <a:cs typeface="Arial"/>
            </a:endParaRPr>
          </a:p>
          <a:p>
            <a:pPr marL="170815" marR="0" lvl="0" indent="-170815" algn="l" defTabSz="9142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400" b="0" i="0" u="none" strike="noStrike" kern="1200" cap="none" spc="0" normalizeH="0" baseline="0" noProof="0">
                <a:ln>
                  <a:noFill/>
                </a:ln>
                <a:solidFill>
                  <a:srgbClr val="2167AE"/>
                </a:solidFill>
                <a:effectLst/>
                <a:uLnTx/>
                <a:uFillTx/>
                <a:latin typeface="Zurich Sans Medium"/>
                <a:ea typeface="+mn-ea"/>
                <a:cs typeface="Arial"/>
              </a:rPr>
              <a:t>Maßgeschneiderte Standortbewertungen unter Einbezug lokaler Gegebenheiten</a:t>
            </a:r>
          </a:p>
          <a:p>
            <a:pPr marL="628015" marR="0" lvl="1" indent="-170815" algn="l" defTabSz="914286" rtl="0" eaLnBrk="1" fontAlgn="auto" latinLnBrk="0" hangingPunct="1">
              <a:lnSpc>
                <a:spcPct val="100000"/>
              </a:lnSpc>
              <a:spcBef>
                <a:spcPts val="0"/>
              </a:spcBef>
              <a:spcAft>
                <a:spcPts val="600"/>
              </a:spcAft>
              <a:buClrTx/>
              <a:buSzTx/>
              <a:buFont typeface="Courier New" panose="020B0604020202020204" pitchFamily="34" charset="0"/>
              <a:buChar char="o"/>
              <a:tabLst/>
              <a:defRPr/>
            </a:pPr>
            <a:r>
              <a:rPr kumimoji="0" lang="de-DE" sz="1400" b="0" i="0" u="none" strike="noStrike" kern="1200" cap="none" spc="0" normalizeH="0" baseline="0" noProof="0">
                <a:ln>
                  <a:noFill/>
                </a:ln>
                <a:solidFill>
                  <a:srgbClr val="2167AE"/>
                </a:solidFill>
                <a:effectLst/>
                <a:uLnTx/>
                <a:uFillTx/>
                <a:latin typeface="Zurich Sans Light"/>
                <a:ea typeface="+mn-ea"/>
                <a:cs typeface="Arial"/>
              </a:rPr>
              <a:t>Desktop-Reviews (aus der „Ferne") oder </a:t>
            </a:r>
            <a:endParaRPr kumimoji="0" lang="de-DE" sz="1400" b="0" i="0" u="none" strike="noStrike" kern="1200" cap="none" spc="0" normalizeH="0" baseline="0" noProof="0">
              <a:ln>
                <a:noFill/>
              </a:ln>
              <a:solidFill>
                <a:srgbClr val="FFFFFF"/>
              </a:solidFill>
              <a:effectLst/>
              <a:uLnTx/>
              <a:uFillTx/>
              <a:latin typeface="Zurich Sans Light"/>
              <a:ea typeface="+mn-ea"/>
              <a:cs typeface="Arial"/>
            </a:endParaRPr>
          </a:p>
          <a:p>
            <a:pPr marL="628015" marR="0" lvl="1" indent="-170815" algn="l" defTabSz="914286" rtl="0" eaLnBrk="1" fontAlgn="auto" latinLnBrk="0" hangingPunct="1">
              <a:lnSpc>
                <a:spcPct val="100000"/>
              </a:lnSpc>
              <a:spcBef>
                <a:spcPts val="0"/>
              </a:spcBef>
              <a:spcAft>
                <a:spcPts val="600"/>
              </a:spcAft>
              <a:buClrTx/>
              <a:buSzTx/>
              <a:buFont typeface="Courier New" panose="020B0604020202020204" pitchFamily="34" charset="0"/>
              <a:buChar char="o"/>
              <a:tabLst/>
              <a:defRPr/>
            </a:pPr>
            <a:r>
              <a:rPr kumimoji="0" lang="de-DE" sz="1400" b="0" i="0" u="none" strike="noStrike" kern="1200" cap="none" spc="0" normalizeH="0" baseline="0" noProof="0">
                <a:ln>
                  <a:noFill/>
                </a:ln>
                <a:solidFill>
                  <a:srgbClr val="2167AE"/>
                </a:solidFill>
                <a:effectLst/>
                <a:uLnTx/>
                <a:uFillTx/>
                <a:latin typeface="Zurich Sans Light"/>
                <a:ea typeface="+mn-ea"/>
                <a:cs typeface="Arial"/>
              </a:rPr>
              <a:t>Vor-Ort-Besuche durch spezialisierte Klimarisiko-Ingenieure </a:t>
            </a:r>
            <a:endParaRPr kumimoji="0" lang="de-DE" sz="1400" b="0" i="0" u="none" strike="noStrike" kern="1200" cap="none" spc="0" normalizeH="0" baseline="0" noProof="0">
              <a:ln>
                <a:noFill/>
              </a:ln>
              <a:solidFill>
                <a:srgbClr val="FFFFFF"/>
              </a:solidFill>
              <a:effectLst/>
              <a:uLnTx/>
              <a:uFillTx/>
              <a:latin typeface="Zurich Sans Light"/>
              <a:ea typeface="+mn-ea"/>
              <a:cs typeface="+mn-cs"/>
            </a:endParaRPr>
          </a:p>
        </p:txBody>
      </p:sp>
      <p:sp>
        <p:nvSpPr>
          <p:cNvPr id="32" name="TextBox 31">
            <a:extLst>
              <a:ext uri="{FF2B5EF4-FFF2-40B4-BE49-F238E27FC236}">
                <a16:creationId xmlns:a16="http://schemas.microsoft.com/office/drawing/2014/main" id="{A3B24964-FE78-909A-A3EC-93945AE40ADB}"/>
              </a:ext>
            </a:extLst>
          </p:cNvPr>
          <p:cNvSpPr txBox="1"/>
          <p:nvPr/>
        </p:nvSpPr>
        <p:spPr>
          <a:xfrm>
            <a:off x="4069410" y="1958471"/>
            <a:ext cx="3148879" cy="1138773"/>
          </a:xfrm>
          <a:prstGeom prst="rect">
            <a:avLst/>
          </a:prstGeom>
          <a:noFill/>
        </p:spPr>
        <p:txBody>
          <a:bodyPr wrap="square" lIns="0" tIns="0" rIns="0" bIns="0" rtlCol="0">
            <a:spAutoFit/>
          </a:bodyPr>
          <a:lstStyle/>
          <a:p>
            <a:pPr defTabSz="914286">
              <a:defRPr/>
            </a:pPr>
            <a:br>
              <a:rPr lang="de-DE" sz="2000">
                <a:solidFill>
                  <a:srgbClr val="2167AE"/>
                </a:solidFill>
                <a:latin typeface="Zurich Sans Light"/>
              </a:rPr>
            </a:br>
            <a:endParaRPr lang="de-DE" sz="2000">
              <a:solidFill>
                <a:srgbClr val="2167AE"/>
              </a:solidFill>
              <a:latin typeface="Zurich Sans Light"/>
            </a:endParaRPr>
          </a:p>
          <a:p>
            <a:pPr defTabSz="914286">
              <a:defRPr/>
            </a:pPr>
            <a:r>
              <a:rPr lang="de-DE" sz="2000">
                <a:solidFill>
                  <a:srgbClr val="2167AE"/>
                </a:solidFill>
                <a:latin typeface="Zurich Sans Light"/>
              </a:rPr>
              <a:t>Standortbewertung</a:t>
            </a:r>
            <a:br>
              <a:rPr lang="de-DE" sz="2000">
                <a:solidFill>
                  <a:srgbClr val="2167AE"/>
                </a:solidFill>
                <a:latin typeface="Zurich Sans Light"/>
              </a:rPr>
            </a:br>
            <a:endParaRPr lang="de-DE" sz="1400">
              <a:solidFill>
                <a:srgbClr val="2167AE"/>
              </a:solidFill>
              <a:latin typeface="Zurich Sans Light"/>
            </a:endParaRPr>
          </a:p>
        </p:txBody>
      </p:sp>
      <p:sp>
        <p:nvSpPr>
          <p:cNvPr id="3" name="Title 2">
            <a:extLst>
              <a:ext uri="{FF2B5EF4-FFF2-40B4-BE49-F238E27FC236}">
                <a16:creationId xmlns:a16="http://schemas.microsoft.com/office/drawing/2014/main" id="{96A4347C-4760-3EC5-82AF-ABB4AA33A4A7}"/>
              </a:ext>
            </a:extLst>
          </p:cNvPr>
          <p:cNvSpPr txBox="1">
            <a:spLocks/>
          </p:cNvSpPr>
          <p:nvPr/>
        </p:nvSpPr>
        <p:spPr>
          <a:xfrm>
            <a:off x="253422" y="256574"/>
            <a:ext cx="9585167" cy="341632"/>
          </a:xfrm>
          <a:prstGeom prst="rect">
            <a:avLst/>
          </a:prstGeom>
        </p:spPr>
        <p:txBody>
          <a:bodyPr vert="horz" lIns="0" tIns="0" rIns="0" bIns="0" rtlCol="0" anchor="t" anchorCtr="0">
            <a:spAutoFit/>
          </a:bodyPr>
          <a:lstStyle>
            <a:lvl1pPr algn="l" defTabSz="914354" rtl="0" eaLnBrk="1" latinLnBrk="0" hangingPunct="1">
              <a:lnSpc>
                <a:spcPct val="90000"/>
              </a:lnSpc>
              <a:spcBef>
                <a:spcPct val="0"/>
              </a:spcBef>
              <a:buNone/>
              <a:defRPr sz="2400" kern="1200">
                <a:solidFill>
                  <a:schemeClr val="accent1"/>
                </a:solidFill>
                <a:latin typeface="+mn-lt"/>
                <a:ea typeface="+mj-ea"/>
                <a:cs typeface="+mj-cs"/>
              </a:defRPr>
            </a:lvl1pPr>
          </a:lstStyle>
          <a:p>
            <a:pPr defTabSz="914240"/>
            <a:r>
              <a:rPr lang="de-DE">
                <a:solidFill>
                  <a:srgbClr val="2167AE"/>
                </a:solidFill>
                <a:latin typeface="Zurich Sans Light"/>
              </a:rPr>
              <a:t>Unser Angebot zur </a:t>
            </a:r>
            <a:r>
              <a:rPr lang="de-DE" err="1">
                <a:solidFill>
                  <a:srgbClr val="2167AE"/>
                </a:solidFill>
                <a:latin typeface="Ogg" panose="02090504080706030203" pitchFamily="18" charset="0"/>
              </a:rPr>
              <a:t>Klimaresilienz</a:t>
            </a:r>
            <a:endParaRPr lang="de-DE">
              <a:solidFill>
                <a:srgbClr val="2167AE"/>
              </a:solidFill>
              <a:latin typeface="Ogg" panose="02090504080706030203" pitchFamily="18" charset="0"/>
            </a:endParaRPr>
          </a:p>
        </p:txBody>
      </p:sp>
      <p:sp>
        <p:nvSpPr>
          <p:cNvPr id="22" name="Freeform 21">
            <a:extLst>
              <a:ext uri="{FF2B5EF4-FFF2-40B4-BE49-F238E27FC236}">
                <a16:creationId xmlns:a16="http://schemas.microsoft.com/office/drawing/2014/main" id="{28EA29F5-2CE1-F745-27CC-DC0BB513DDB7}"/>
              </a:ext>
            </a:extLst>
          </p:cNvPr>
          <p:cNvSpPr/>
          <p:nvPr/>
        </p:nvSpPr>
        <p:spPr bwMode="auto">
          <a:xfrm rot="568500">
            <a:off x="9334921" y="5894133"/>
            <a:ext cx="1900463" cy="957132"/>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243671"/>
          </a:solidFill>
          <a:ln w="9525" cap="flat" cmpd="sng" algn="ctr">
            <a:noFill/>
            <a:prstDash val="solid"/>
            <a:round/>
            <a:headEnd type="none" w="med" len="med"/>
            <a:tailEnd type="none" w="med" len="med"/>
          </a:ln>
          <a:effectLst/>
        </p:spPr>
        <p:txBody>
          <a:bodyPr rot="0" spcFirstLastPara="0" vertOverflow="overflow" horzOverflow="overflow" vert="horz" wrap="square" lIns="68563" tIns="34283" rIns="68563" bIns="34283" numCol="1" spcCol="0" rtlCol="0" fromWordArt="0" anchor="ctr" anchorCtr="0" forceAA="0" compatLnSpc="1">
            <a:prstTxWarp prst="textNoShape">
              <a:avLst/>
            </a:prstTxWarp>
            <a:noAutofit/>
          </a:bodyPr>
          <a:lstStyle/>
          <a:p>
            <a:pPr defTabSz="685623" fontAlgn="base">
              <a:spcBef>
                <a:spcPct val="0"/>
              </a:spcBef>
              <a:spcAft>
                <a:spcPct val="0"/>
              </a:spcAft>
            </a:pPr>
            <a:endParaRPr lang="de-DE" sz="1500">
              <a:solidFill>
                <a:srgbClr val="23366F"/>
              </a:solidFill>
              <a:latin typeface="Zurich Sans Light"/>
            </a:endParaRPr>
          </a:p>
        </p:txBody>
      </p:sp>
      <p:sp>
        <p:nvSpPr>
          <p:cNvPr id="23" name="Freeform 4">
            <a:extLst>
              <a:ext uri="{FF2B5EF4-FFF2-40B4-BE49-F238E27FC236}">
                <a16:creationId xmlns:a16="http://schemas.microsoft.com/office/drawing/2014/main" id="{A0A87E58-21F7-6CDC-4307-D8732AFD1C59}"/>
              </a:ext>
            </a:extLst>
          </p:cNvPr>
          <p:cNvSpPr>
            <a:spLocks/>
          </p:cNvSpPr>
          <p:nvPr/>
        </p:nvSpPr>
        <p:spPr bwMode="auto">
          <a:xfrm>
            <a:off x="10617383" y="5527477"/>
            <a:ext cx="451151" cy="451151"/>
          </a:xfrm>
          <a:prstGeom prst="ellipse">
            <a:avLst/>
          </a:prstGeom>
          <a:solidFill>
            <a:srgbClr val="90C0E4"/>
          </a:solidFill>
          <a:ln w="9525" cap="flat" cmpd="sng" algn="ctr">
            <a:noFill/>
            <a:prstDash val="solid"/>
            <a:round/>
            <a:headEnd type="none" w="med" len="med"/>
            <a:tailEnd type="none" w="med" len="med"/>
          </a:ln>
          <a:effectLst/>
        </p:spPr>
        <p:txBody>
          <a:bodyPr rot="0" spcFirstLastPara="0" vertOverflow="overflow" horzOverflow="overflow" vert="horz" wrap="square" lIns="68563" tIns="34283" rIns="68563" bIns="34283" numCol="1" spcCol="0" rtlCol="0" fromWordArt="0" anchor="ctr" anchorCtr="0" forceAA="0" compatLnSpc="1">
            <a:prstTxWarp prst="textNoShape">
              <a:avLst/>
            </a:prstTxWarp>
            <a:noAutofit/>
          </a:bodyPr>
          <a:lstStyle/>
          <a:p>
            <a:pPr defTabSz="685623" fontAlgn="base">
              <a:spcBef>
                <a:spcPct val="0"/>
              </a:spcBef>
              <a:spcAft>
                <a:spcPct val="0"/>
              </a:spcAft>
            </a:pPr>
            <a:endParaRPr lang="de-DE" sz="1500">
              <a:solidFill>
                <a:srgbClr val="23366F"/>
              </a:solidFill>
              <a:latin typeface="Zurich Sans Light"/>
            </a:endParaRPr>
          </a:p>
        </p:txBody>
      </p:sp>
      <p:sp>
        <p:nvSpPr>
          <p:cNvPr id="24" name="Freeform 4">
            <a:extLst>
              <a:ext uri="{FF2B5EF4-FFF2-40B4-BE49-F238E27FC236}">
                <a16:creationId xmlns:a16="http://schemas.microsoft.com/office/drawing/2014/main" id="{C63F91BE-9D89-C4E0-C49E-8C858B4C5FEF}"/>
              </a:ext>
            </a:extLst>
          </p:cNvPr>
          <p:cNvSpPr>
            <a:spLocks/>
          </p:cNvSpPr>
          <p:nvPr/>
        </p:nvSpPr>
        <p:spPr bwMode="auto">
          <a:xfrm>
            <a:off x="8461407" y="5855945"/>
            <a:ext cx="1033504" cy="1033504"/>
          </a:xfrm>
          <a:prstGeom prst="ellipse">
            <a:avLst/>
          </a:prstGeom>
          <a:solidFill>
            <a:srgbClr val="DBD3BC"/>
          </a:solidFill>
          <a:ln w="9525" cap="flat" cmpd="sng" algn="ctr">
            <a:noFill/>
            <a:prstDash val="solid"/>
            <a:round/>
            <a:headEnd type="none" w="med" len="med"/>
            <a:tailEnd type="none" w="med" len="med"/>
          </a:ln>
          <a:effectLst/>
        </p:spPr>
        <p:txBody>
          <a:bodyPr rot="0" spcFirstLastPara="0" vertOverflow="overflow" horzOverflow="overflow" vert="horz" wrap="square" lIns="68563" tIns="34283" rIns="68563" bIns="34283" numCol="1" spcCol="0" rtlCol="0" fromWordArt="0" anchor="ctr" anchorCtr="0" forceAA="0" compatLnSpc="1">
            <a:prstTxWarp prst="textNoShape">
              <a:avLst/>
            </a:prstTxWarp>
            <a:noAutofit/>
          </a:bodyPr>
          <a:lstStyle/>
          <a:p>
            <a:pPr defTabSz="685623" fontAlgn="base">
              <a:spcBef>
                <a:spcPct val="0"/>
              </a:spcBef>
              <a:spcAft>
                <a:spcPct val="0"/>
              </a:spcAft>
            </a:pPr>
            <a:endParaRPr lang="de-DE" sz="1500">
              <a:solidFill>
                <a:srgbClr val="23366F"/>
              </a:solidFill>
              <a:latin typeface="Zurich Sans Light"/>
            </a:endParaRPr>
          </a:p>
        </p:txBody>
      </p:sp>
      <p:sp>
        <p:nvSpPr>
          <p:cNvPr id="4" name="Foliennummernplatzhalter 3">
            <a:extLst>
              <a:ext uri="{FF2B5EF4-FFF2-40B4-BE49-F238E27FC236}">
                <a16:creationId xmlns:a16="http://schemas.microsoft.com/office/drawing/2014/main" id="{5D6ACCE6-2217-BD6D-5220-F781CBAEC610}"/>
              </a:ext>
            </a:extLst>
          </p:cNvPr>
          <p:cNvSpPr>
            <a:spLocks noGrp="1"/>
          </p:cNvSpPr>
          <p:nvPr>
            <p:ph type="sldNum" sz="quarter" idx="4"/>
          </p:nvPr>
        </p:nvSpPr>
        <p:spPr>
          <a:xfrm>
            <a:off x="10738030" y="6550244"/>
            <a:ext cx="551115" cy="181960"/>
          </a:xfrm>
        </p:spPr>
        <p:txBody>
          <a:bodyPr/>
          <a:lstStyle/>
          <a:p>
            <a:fld id="{FA58F0B4-6BC7-4BFB-804F-EE9B892902C7}" type="slidenum">
              <a:rPr lang="en-US" smtClean="0"/>
              <a:pPr/>
              <a:t>20</a:t>
            </a:fld>
            <a:endParaRPr lang="en-US"/>
          </a:p>
        </p:txBody>
      </p:sp>
    </p:spTree>
    <p:extLst>
      <p:ext uri="{BB962C8B-B14F-4D97-AF65-F5344CB8AC3E}">
        <p14:creationId xmlns:p14="http://schemas.microsoft.com/office/powerpoint/2010/main" val="9737347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2A4C292-515A-4118-D3CD-2A0ACA43BF68}"/>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DA479B02-7EB2-9623-9722-47BB5817FC4F}"/>
              </a:ext>
            </a:extLst>
          </p:cNvPr>
          <p:cNvSpPr txBox="1"/>
          <p:nvPr/>
        </p:nvSpPr>
        <p:spPr>
          <a:xfrm>
            <a:off x="256074" y="832001"/>
            <a:ext cx="10883256" cy="140038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b="1" i="0" u="none" strike="noStrike" kern="1200" cap="none" spc="-10" normalizeH="0" baseline="0" noProof="0">
                <a:ln>
                  <a:noFill/>
                </a:ln>
                <a:solidFill>
                  <a:srgbClr val="2167AE"/>
                </a:solidFill>
                <a:effectLst/>
                <a:uLnTx/>
                <a:uFillTx/>
                <a:latin typeface="Zurich Sans Light" panose="02000000000000000000" pitchFamily="2" charset="0"/>
                <a:cs typeface="Arial" panose="020B0604020202020204" pitchFamily="34" charset="0"/>
              </a:rPr>
              <a:t>Die Bewertung der physischen Klimarisiken kann durch zwei Ausgestaltungen erfolge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b="1" i="0" u="none" strike="noStrike" kern="1200" cap="none" spc="-10" normalizeH="0" baseline="0" noProof="0">
                <a:ln>
                  <a:noFill/>
                </a:ln>
                <a:solidFill>
                  <a:srgbClr val="2167AE"/>
                </a:solidFill>
                <a:effectLst/>
                <a:uLnTx/>
                <a:uFillTx/>
                <a:latin typeface="Zurich Sans Light" panose="02000000000000000000" pitchFamily="2" charset="0"/>
                <a:cs typeface="Arial" panose="020B0604020202020204" pitchFamily="34" charset="0"/>
              </a:rPr>
              <a:t>Climate Spotlight Core &amp; Climate Spotlight Expert</a:t>
            </a:r>
            <a:endParaRPr kumimoji="0" lang="de-DE" b="0" i="0" u="none" strike="noStrike" kern="1200" cap="none" spc="-10" normalizeH="0" baseline="0" noProof="0">
              <a:ln>
                <a:noFill/>
              </a:ln>
              <a:solidFill>
                <a:srgbClr val="2167AE"/>
              </a:solidFill>
              <a:effectLst/>
              <a:uLnTx/>
              <a:uFillTx/>
              <a:latin typeface="Zurich Sans Light" panose="02000000000000000000"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1200" cap="none" spc="-10" normalizeH="0" baseline="0" noProof="0">
              <a:ln>
                <a:noFill/>
              </a:ln>
              <a:solidFill>
                <a:srgbClr val="2167AE"/>
              </a:solidFill>
              <a:effectLst/>
              <a:uLnTx/>
              <a:uFillTx/>
              <a:latin typeface="Zurich Sans Light" panose="02000000000000000000"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10" normalizeH="0" baseline="0" noProof="0">
                <a:ln>
                  <a:noFill/>
                </a:ln>
                <a:solidFill>
                  <a:srgbClr val="2167AE"/>
                </a:solidFill>
                <a:effectLst/>
                <a:uLnTx/>
                <a:uFillTx/>
                <a:latin typeface="Zurich Sans Light" panose="02000000000000000000" pitchFamily="2" charset="0"/>
                <a:cs typeface="Arial" panose="020B0604020202020204" pitchFamily="34" charset="0"/>
              </a:rPr>
              <a:t>Entwickelt, um den unterschiedlichen Bedürfnissen von Organisationen verschiedener Größen und Branchen gerecht zu werden. Ein benutzerfreundliches Kundenportal ermöglicht den Zugriff auf die Analyse und das Klimarisiko-Dashboar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10" normalizeH="0" baseline="0" noProof="0">
              <a:ln>
                <a:noFill/>
              </a:ln>
              <a:solidFill>
                <a:srgbClr val="2167AE"/>
              </a:solidFill>
              <a:effectLst/>
              <a:uLnTx/>
              <a:uFillTx/>
              <a:latin typeface="Zurich Sans Light" panose="02000000000000000000" pitchFamily="2" charset="0"/>
              <a:cs typeface="Arial" panose="020B0604020202020204" pitchFamily="34" charset="0"/>
            </a:endParaRPr>
          </a:p>
        </p:txBody>
      </p:sp>
      <p:sp>
        <p:nvSpPr>
          <p:cNvPr id="5" name="Rectangle 4">
            <a:extLst>
              <a:ext uri="{FF2B5EF4-FFF2-40B4-BE49-F238E27FC236}">
                <a16:creationId xmlns:a16="http://schemas.microsoft.com/office/drawing/2014/main" id="{2DA058C7-7282-FFF0-C3BB-51D197BC8517}"/>
              </a:ext>
            </a:extLst>
          </p:cNvPr>
          <p:cNvSpPr/>
          <p:nvPr/>
        </p:nvSpPr>
        <p:spPr>
          <a:xfrm>
            <a:off x="0" y="2024062"/>
            <a:ext cx="5917768" cy="4389120"/>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Zurich Sans Light"/>
              <a:ea typeface="+mn-ea"/>
              <a:cs typeface="+mn-cs"/>
            </a:endParaRPr>
          </a:p>
        </p:txBody>
      </p:sp>
      <p:pic>
        <p:nvPicPr>
          <p:cNvPr id="2" name="Picture 1">
            <a:extLst>
              <a:ext uri="{FF2B5EF4-FFF2-40B4-BE49-F238E27FC236}">
                <a16:creationId xmlns:a16="http://schemas.microsoft.com/office/drawing/2014/main" id="{D27C244F-BE2E-CA6A-D433-65DB0156135A}"/>
              </a:ext>
            </a:extLst>
          </p:cNvPr>
          <p:cNvPicPr>
            <a:picLocks noGrp="1" noRot="1" noChangeAspect="1" noMove="1" noResize="1" noEditPoints="1" noAdjustHandles="1" noChangeArrowheads="1" noChangeShapeType="1" noCrop="1"/>
          </p:cNvPicPr>
          <p:nvPr/>
        </p:nvPicPr>
        <p:blipFill>
          <a:blip r:embed="rId4"/>
          <a:stretch>
            <a:fillRect/>
          </a:stretch>
        </p:blipFill>
        <p:spPr>
          <a:xfrm>
            <a:off x="418448" y="2272498"/>
            <a:ext cx="685800" cy="685800"/>
          </a:xfrm>
          <a:prstGeom prst="rect">
            <a:avLst/>
          </a:prstGeom>
        </p:spPr>
      </p:pic>
      <p:graphicFrame>
        <p:nvGraphicFramePr>
          <p:cNvPr id="12" name="think-cell data - do not delete" hidden="1">
            <a:extLst>
              <a:ext uri="{FF2B5EF4-FFF2-40B4-BE49-F238E27FC236}">
                <a16:creationId xmlns:a16="http://schemas.microsoft.com/office/drawing/2014/main" id="{4171511D-ECA6-D284-F382-CE08625014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0" progId="TCLayout.ActiveDocument.1">
                  <p:embed/>
                </p:oleObj>
              </mc:Choice>
              <mc:Fallback>
                <p:oleObj name="think-cell Slide" r:id="rId5" imgW="421" imgH="420" progId="TCLayout.ActiveDocument.1">
                  <p:embed/>
                  <p:pic>
                    <p:nvPicPr>
                      <p:cNvPr id="12" name="think-cell data - do not delete" hidden="1">
                        <a:extLst>
                          <a:ext uri="{FF2B5EF4-FFF2-40B4-BE49-F238E27FC236}">
                            <a16:creationId xmlns:a16="http://schemas.microsoft.com/office/drawing/2014/main" id="{4171511D-ECA6-D284-F382-CE08625014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4025400-3AA4-36D6-97C6-EBDAA063161B}"/>
              </a:ext>
            </a:extLst>
          </p:cNvPr>
          <p:cNvSpPr/>
          <p:nvPr/>
        </p:nvSpPr>
        <p:spPr>
          <a:xfrm>
            <a:off x="1215167" y="2364373"/>
            <a:ext cx="2665794" cy="312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167AE"/>
                </a:solidFill>
                <a:effectLst/>
                <a:uLnTx/>
                <a:uFillTx/>
                <a:latin typeface="Zurich Sans Medium"/>
                <a:ea typeface="+mn-ea"/>
                <a:cs typeface="+mn-cs"/>
              </a:rPr>
              <a:t>Climate Spotlight Core</a:t>
            </a:r>
            <a:endParaRPr kumimoji="0" lang="en-ES" sz="1400" b="0" i="0" u="none" strike="noStrike" kern="1200" cap="none" spc="0" normalizeH="0" baseline="0" noProof="0">
              <a:ln>
                <a:noFill/>
              </a:ln>
              <a:solidFill>
                <a:srgbClr val="FFFFFF"/>
              </a:solidFill>
              <a:effectLst/>
              <a:uLnTx/>
              <a:uFillTx/>
              <a:latin typeface="Zurich Sans Light"/>
              <a:ea typeface="+mn-ea"/>
              <a:cs typeface="+mn-cs"/>
            </a:endParaRPr>
          </a:p>
        </p:txBody>
      </p:sp>
      <p:sp>
        <p:nvSpPr>
          <p:cNvPr id="22" name="Rectangle 21">
            <a:extLst>
              <a:ext uri="{FF2B5EF4-FFF2-40B4-BE49-F238E27FC236}">
                <a16:creationId xmlns:a16="http://schemas.microsoft.com/office/drawing/2014/main" id="{A283DF74-E995-409A-7CE7-724721E053E4}"/>
              </a:ext>
            </a:extLst>
          </p:cNvPr>
          <p:cNvSpPr/>
          <p:nvPr/>
        </p:nvSpPr>
        <p:spPr>
          <a:xfrm>
            <a:off x="906449" y="3010667"/>
            <a:ext cx="4900400" cy="3108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182880" marR="0" lvl="0" indent="-18288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de-DE" sz="1400" b="1" i="0" u="none" strike="noStrike" kern="1200" cap="none" spc="-10" normalizeH="0" baseline="0" noProof="0">
                <a:ln>
                  <a:noFill/>
                </a:ln>
                <a:solidFill>
                  <a:srgbClr val="2167AE"/>
                </a:solidFill>
                <a:effectLst/>
                <a:uLnTx/>
                <a:uFillTx/>
                <a:latin typeface="Zurich Sans Light (Body)"/>
                <a:ea typeface="+mn-ea"/>
                <a:cs typeface="Arial" panose="020B0604020202020204" pitchFamily="34" charset="0"/>
              </a:rPr>
              <a:t>Eine Self-Service-Klimarisiko-Analyse und ein Dashboard, das in nur wenigen einfachen Schritten erstellt wird, </a:t>
            </a:r>
            <a:r>
              <a:rPr kumimoji="0" lang="de-DE" sz="1400" i="0" u="none" strike="noStrike" kern="1200" cap="none" spc="-10" normalizeH="0" baseline="0" noProof="0">
                <a:ln>
                  <a:noFill/>
                </a:ln>
                <a:solidFill>
                  <a:srgbClr val="2167AE"/>
                </a:solidFill>
                <a:effectLst/>
                <a:uLnTx/>
                <a:uFillTx/>
                <a:latin typeface="Zurich Sans Light (Body)"/>
                <a:ea typeface="+mn-ea"/>
                <a:cs typeface="Arial" panose="020B0604020202020204" pitchFamily="34" charset="0"/>
              </a:rPr>
              <a:t>um eine klare und visuelle Analyse der Klimarisiken zu ermöglichen.</a:t>
            </a:r>
          </a:p>
          <a:p>
            <a:pPr marL="182880" marR="0" lvl="0" indent="-18288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de-DE" sz="1400" b="1" i="0" u="none" strike="noStrike" kern="1200" cap="none" spc="-10" normalizeH="0" baseline="0" noProof="0">
                <a:ln>
                  <a:noFill/>
                </a:ln>
                <a:solidFill>
                  <a:srgbClr val="2167AE"/>
                </a:solidFill>
                <a:effectLst/>
                <a:uLnTx/>
                <a:uFillTx/>
                <a:latin typeface="Zurich Sans Light (Body)"/>
                <a:ea typeface="+mn-ea"/>
                <a:cs typeface="Arial" panose="020B0604020202020204" pitchFamily="34" charset="0"/>
              </a:rPr>
              <a:t>Eine schnelle und flexible Möglichkeit, zukunftsorientierte, datenbasierte Einblicke </a:t>
            </a:r>
            <a:r>
              <a:rPr kumimoji="0" lang="de-DE" sz="1400" i="0" u="none" strike="noStrike" kern="1200" cap="none" spc="-10" normalizeH="0" baseline="0" noProof="0">
                <a:ln>
                  <a:noFill/>
                </a:ln>
                <a:solidFill>
                  <a:srgbClr val="2167AE"/>
                </a:solidFill>
                <a:effectLst/>
                <a:uLnTx/>
                <a:uFillTx/>
                <a:latin typeface="Zurich Sans Light (Body)"/>
                <a:ea typeface="+mn-ea"/>
                <a:cs typeface="Arial" panose="020B0604020202020204" pitchFamily="34" charset="0"/>
              </a:rPr>
              <a:t>für die Erstellung von Klimarisikoberichten zu erhalten.</a:t>
            </a:r>
          </a:p>
          <a:p>
            <a:pPr marL="182880" marR="0" lvl="0" indent="-18288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lang="de-DE" sz="1400" b="1" spc="-10">
                <a:solidFill>
                  <a:srgbClr val="2167AE"/>
                </a:solidFill>
                <a:latin typeface="Zurich Sans Light (Body)"/>
                <a:cs typeface="Arial" panose="020B0604020202020204" pitchFamily="34" charset="0"/>
              </a:rPr>
              <a:t>Einfaches</a:t>
            </a:r>
            <a:r>
              <a:rPr kumimoji="0" lang="de-DE" sz="1400" b="1" i="0" u="none" strike="noStrike" kern="1200" cap="none" spc="-10" normalizeH="0" baseline="0" noProof="0">
                <a:ln>
                  <a:noFill/>
                </a:ln>
                <a:solidFill>
                  <a:srgbClr val="2167AE"/>
                </a:solidFill>
                <a:effectLst/>
                <a:uLnTx/>
                <a:uFillTx/>
                <a:latin typeface="Zurich Sans Light (Body)"/>
                <a:ea typeface="+mn-ea"/>
                <a:cs typeface="Arial" panose="020B0604020202020204" pitchFamily="34" charset="0"/>
              </a:rPr>
              <a:t> hinzufügen der Portfoliostandortdaten (für bis zu 100 verschiedene Standorte), </a:t>
            </a:r>
            <a:r>
              <a:rPr kumimoji="0" lang="de-DE" sz="1400" i="0" u="none" strike="noStrike" kern="1200" cap="none" spc="-10" normalizeH="0" baseline="0" noProof="0">
                <a:ln>
                  <a:noFill/>
                </a:ln>
                <a:solidFill>
                  <a:srgbClr val="2167AE"/>
                </a:solidFill>
                <a:effectLst/>
                <a:uLnTx/>
                <a:uFillTx/>
                <a:latin typeface="Zurich Sans Light (Body)"/>
                <a:ea typeface="+mn-ea"/>
                <a:cs typeface="Arial" panose="020B0604020202020204" pitchFamily="34" charset="0"/>
              </a:rPr>
              <a:t>um auf eine Vielzahl von gebiets-, gefahr- und standortbasierten Einblicken zuzugreifen.</a:t>
            </a:r>
          </a:p>
          <a:p>
            <a:pPr marL="182880" marR="0" lvl="0" indent="-18288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de-DE" sz="1400" b="1" i="0" u="none" strike="noStrike" kern="1200" cap="none" spc="-10" normalizeH="0" baseline="0" noProof="0">
                <a:ln>
                  <a:noFill/>
                </a:ln>
                <a:solidFill>
                  <a:srgbClr val="2167AE"/>
                </a:solidFill>
                <a:effectLst/>
                <a:uLnTx/>
                <a:uFillTx/>
                <a:latin typeface="Zurich Sans Light (Body)"/>
                <a:ea typeface="+mn-ea"/>
                <a:cs typeface="Arial" panose="020B0604020202020204" pitchFamily="34" charset="0"/>
              </a:rPr>
              <a:t>Executive Summary-Bericht, </a:t>
            </a:r>
            <a:r>
              <a:rPr kumimoji="0" lang="de-DE" sz="1400" i="0" u="none" strike="noStrike" kern="1200" cap="none" spc="-10" normalizeH="0" baseline="0" noProof="0">
                <a:ln>
                  <a:noFill/>
                </a:ln>
                <a:solidFill>
                  <a:srgbClr val="2167AE"/>
                </a:solidFill>
                <a:effectLst/>
                <a:uLnTx/>
                <a:uFillTx/>
                <a:latin typeface="Zurich Sans Light (Body)"/>
                <a:ea typeface="+mn-ea"/>
                <a:cs typeface="Arial" panose="020B0604020202020204" pitchFamily="34" charset="0"/>
              </a:rPr>
              <a:t>um die wichtigsten Ergebnisse zusammenzufassen.</a:t>
            </a:r>
          </a:p>
        </p:txBody>
      </p:sp>
      <p:sp>
        <p:nvSpPr>
          <p:cNvPr id="4" name="Rectangle 3">
            <a:extLst>
              <a:ext uri="{FF2B5EF4-FFF2-40B4-BE49-F238E27FC236}">
                <a16:creationId xmlns:a16="http://schemas.microsoft.com/office/drawing/2014/main" id="{373D9104-1057-D063-F075-80F7AE82CF0F}"/>
              </a:ext>
            </a:extLst>
          </p:cNvPr>
          <p:cNvSpPr/>
          <p:nvPr/>
        </p:nvSpPr>
        <p:spPr>
          <a:xfrm>
            <a:off x="5917768" y="2024062"/>
            <a:ext cx="5854144" cy="438912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6" tIns="107986" rIns="107986" bIns="10798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Zurich Sans Light"/>
              <a:ea typeface="+mn-ea"/>
              <a:cs typeface="+mn-cs"/>
            </a:endParaRPr>
          </a:p>
        </p:txBody>
      </p:sp>
      <p:sp>
        <p:nvSpPr>
          <p:cNvPr id="6" name="Rectangle 5">
            <a:extLst>
              <a:ext uri="{FF2B5EF4-FFF2-40B4-BE49-F238E27FC236}">
                <a16:creationId xmlns:a16="http://schemas.microsoft.com/office/drawing/2014/main" id="{58944531-E1B9-EBDC-7C35-E9BA960A672F}"/>
              </a:ext>
            </a:extLst>
          </p:cNvPr>
          <p:cNvSpPr/>
          <p:nvPr/>
        </p:nvSpPr>
        <p:spPr>
          <a:xfrm>
            <a:off x="7132935" y="2418274"/>
            <a:ext cx="2872581" cy="312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167AE"/>
                </a:solidFill>
                <a:effectLst/>
                <a:uLnTx/>
                <a:uFillTx/>
                <a:latin typeface="Zurich Sans Medium"/>
                <a:ea typeface="+mn-ea"/>
                <a:cs typeface="+mn-cs"/>
              </a:rPr>
              <a:t>Climate Spotlight Expert</a:t>
            </a:r>
            <a:endParaRPr kumimoji="0" lang="en-ES" sz="1400" b="0" i="0" u="none" strike="noStrike" kern="1200" cap="none" spc="0" normalizeH="0" baseline="0" noProof="0">
              <a:ln>
                <a:noFill/>
              </a:ln>
              <a:solidFill>
                <a:srgbClr val="FFFFFF"/>
              </a:solidFill>
              <a:effectLst/>
              <a:uLnTx/>
              <a:uFillTx/>
              <a:latin typeface="Zurich Sans Medium"/>
              <a:ea typeface="+mn-ea"/>
              <a:cs typeface="+mn-cs"/>
            </a:endParaRPr>
          </a:p>
        </p:txBody>
      </p:sp>
      <p:sp>
        <p:nvSpPr>
          <p:cNvPr id="11" name="Rectangle 10">
            <a:extLst>
              <a:ext uri="{FF2B5EF4-FFF2-40B4-BE49-F238E27FC236}">
                <a16:creationId xmlns:a16="http://schemas.microsoft.com/office/drawing/2014/main" id="{665A6BAC-15CD-779E-9952-17BD3015C9E7}"/>
              </a:ext>
            </a:extLst>
          </p:cNvPr>
          <p:cNvSpPr/>
          <p:nvPr/>
        </p:nvSpPr>
        <p:spPr>
          <a:xfrm>
            <a:off x="6899270" y="3016374"/>
            <a:ext cx="4741439" cy="3108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182880" indent="-182880">
              <a:lnSpc>
                <a:spcPct val="110000"/>
              </a:lnSpc>
              <a:spcAft>
                <a:spcPts val="1200"/>
              </a:spcAft>
              <a:buFont typeface="Arial" panose="020B0604020202020204" pitchFamily="34" charset="0"/>
              <a:buChar char="•"/>
              <a:defRPr/>
            </a:pPr>
            <a:r>
              <a:rPr lang="de-DE" sz="1400" b="1">
                <a:solidFill>
                  <a:srgbClr val="2167AE"/>
                </a:solidFill>
                <a:latin typeface="Zurich Sans Light (Body)"/>
                <a:cs typeface="Arial" panose="020B0604020202020204" pitchFamily="34" charset="0"/>
              </a:rPr>
              <a:t>Premium-Lösung, </a:t>
            </a:r>
            <a:r>
              <a:rPr lang="de-DE" sz="1400">
                <a:solidFill>
                  <a:srgbClr val="2167AE"/>
                </a:solidFill>
                <a:latin typeface="Zurich Sans Light (Body)"/>
                <a:cs typeface="Arial" panose="020B0604020202020204" pitchFamily="34" charset="0"/>
              </a:rPr>
              <a:t>die Organisationen ein tieferes Verständnis ihrer Klimarisiken vermittelt.</a:t>
            </a:r>
          </a:p>
          <a:p>
            <a:pPr marL="182880" marR="0" lvl="0" indent="-18288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de-DE" sz="1400" b="1" i="0" u="none" strike="noStrike" kern="1200" cap="none" spc="0" normalizeH="0" baseline="0" noProof="0">
                <a:ln>
                  <a:noFill/>
                </a:ln>
                <a:solidFill>
                  <a:srgbClr val="2167AE"/>
                </a:solidFill>
                <a:effectLst/>
                <a:uLnTx/>
                <a:uFillTx/>
                <a:latin typeface="Zurich Sans Light (Body)"/>
                <a:ea typeface="+mn-ea"/>
                <a:cs typeface="Arial" panose="020B0604020202020204" pitchFamily="34" charset="0"/>
              </a:rPr>
              <a:t>Eine vollständig anpassbare Analyse (auch 100+ Standorte), </a:t>
            </a:r>
            <a:r>
              <a:rPr kumimoji="0" lang="de-DE" sz="1400" i="0" u="none" strike="noStrike" kern="1200" cap="none" spc="0" normalizeH="0" baseline="0" noProof="0">
                <a:ln>
                  <a:noFill/>
                </a:ln>
                <a:solidFill>
                  <a:srgbClr val="2167AE"/>
                </a:solidFill>
                <a:effectLst/>
                <a:uLnTx/>
                <a:uFillTx/>
                <a:latin typeface="Zurich Sans Light (Body)"/>
                <a:ea typeface="+mn-ea"/>
                <a:cs typeface="Arial" panose="020B0604020202020204" pitchFamily="34" charset="0"/>
              </a:rPr>
              <a:t>die verschiedene </a:t>
            </a:r>
            <a:r>
              <a:rPr lang="de-DE" sz="1400">
                <a:solidFill>
                  <a:srgbClr val="2167AE"/>
                </a:solidFill>
                <a:latin typeface="Zurich Sans Light (Body)"/>
                <a:cs typeface="Arial" panose="020B0604020202020204" pitchFamily="34" charset="0"/>
              </a:rPr>
              <a:t>Metriken </a:t>
            </a:r>
            <a:r>
              <a:rPr kumimoji="0" lang="de-DE" sz="1400" i="0" u="none" strike="noStrike" kern="1200" cap="none" spc="0" normalizeH="0" baseline="0" noProof="0">
                <a:ln>
                  <a:noFill/>
                </a:ln>
                <a:solidFill>
                  <a:srgbClr val="2167AE"/>
                </a:solidFill>
                <a:effectLst/>
                <a:uLnTx/>
                <a:uFillTx/>
                <a:latin typeface="Zurich Sans Light (Body)"/>
                <a:ea typeface="+mn-ea"/>
                <a:cs typeface="Arial" panose="020B0604020202020204" pitchFamily="34" charset="0"/>
              </a:rPr>
              <a:t>abdeckt, aus denen eine Organisation auswählen kann.</a:t>
            </a:r>
          </a:p>
          <a:p>
            <a:pPr marL="182880" marR="0" lvl="0" indent="-18288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lang="de-DE" sz="1400" b="1">
                <a:solidFill>
                  <a:srgbClr val="2167AE"/>
                </a:solidFill>
                <a:latin typeface="Zurich Sans Light (Body)"/>
                <a:cs typeface="Arial" panose="020B0604020202020204" pitchFamily="34" charset="0"/>
              </a:rPr>
              <a:t>ZRS-</a:t>
            </a:r>
            <a:r>
              <a:rPr kumimoji="0" lang="de-DE" sz="1400" b="1" i="0" u="none" strike="noStrike" kern="1200" cap="none" spc="0" normalizeH="0" baseline="0" noProof="0">
                <a:ln>
                  <a:noFill/>
                </a:ln>
                <a:solidFill>
                  <a:srgbClr val="2167AE"/>
                </a:solidFill>
                <a:effectLst/>
                <a:uLnTx/>
                <a:uFillTx/>
                <a:latin typeface="Zurich Sans Light (Body)"/>
                <a:ea typeface="+mn-ea"/>
                <a:cs typeface="Arial" panose="020B0604020202020204" pitchFamily="34" charset="0"/>
              </a:rPr>
              <a:t>Klimaexperten führen die Analyse durch, </a:t>
            </a:r>
            <a:r>
              <a:rPr kumimoji="0" lang="de-DE" sz="1400" i="0" u="none" strike="noStrike" kern="1200" cap="none" spc="0" normalizeH="0" baseline="0" noProof="0">
                <a:ln>
                  <a:noFill/>
                </a:ln>
                <a:solidFill>
                  <a:srgbClr val="2167AE"/>
                </a:solidFill>
                <a:effectLst/>
                <a:uLnTx/>
                <a:uFillTx/>
                <a:latin typeface="Zurich Sans Light (Body)"/>
                <a:ea typeface="+mn-ea"/>
                <a:cs typeface="Arial" panose="020B0604020202020204" pitchFamily="34" charset="0"/>
              </a:rPr>
              <a:t>passen sie an spezifische Bedürfnisse an und unterstützen bei der Präsentation der Ergebnisse für interne Stakeholder.</a:t>
            </a:r>
            <a:endParaRPr kumimoji="0" lang="en-US" sz="1400" i="0" u="none" strike="noStrike" kern="1200" cap="none" spc="0" normalizeH="0" baseline="0" noProof="0">
              <a:ln>
                <a:noFill/>
              </a:ln>
              <a:solidFill>
                <a:srgbClr val="2167AE"/>
              </a:solidFill>
              <a:effectLst/>
              <a:uLnTx/>
              <a:uFillTx/>
              <a:latin typeface="Zurich Sans Light (Body)"/>
              <a:ea typeface="+mn-ea"/>
              <a:cs typeface="Arial" panose="020B0604020202020204" pitchFamily="34" charset="0"/>
            </a:endParaRPr>
          </a:p>
          <a:p>
            <a:pPr marL="182880" marR="0" lvl="0" indent="-18288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de-DE" sz="1400" b="1" i="0" u="none" strike="noStrike" kern="1200" cap="none" spc="0" normalizeH="0" baseline="0" noProof="0">
                <a:ln>
                  <a:noFill/>
                </a:ln>
                <a:solidFill>
                  <a:srgbClr val="2167AE"/>
                </a:solidFill>
                <a:effectLst/>
                <a:uLnTx/>
                <a:uFillTx/>
                <a:latin typeface="Zurich Sans Light (Body)"/>
                <a:ea typeface="+mn-ea"/>
                <a:cs typeface="Arial" panose="020B0604020202020204" pitchFamily="34" charset="0"/>
              </a:rPr>
              <a:t>Zugang zum Klimarisiko-Dashboard</a:t>
            </a:r>
            <a:r>
              <a:rPr kumimoji="0" lang="de-DE" sz="1400" i="0" u="none" strike="noStrike" kern="1200" cap="none" spc="0" normalizeH="0" baseline="0" noProof="0">
                <a:ln>
                  <a:noFill/>
                </a:ln>
                <a:solidFill>
                  <a:srgbClr val="2167AE"/>
                </a:solidFill>
                <a:effectLst/>
                <a:uLnTx/>
                <a:uFillTx/>
                <a:latin typeface="Zurich Sans Light (Body)"/>
                <a:ea typeface="+mn-ea"/>
                <a:cs typeface="Arial" panose="020B0604020202020204" pitchFamily="34" charset="0"/>
              </a:rPr>
              <a:t>; o</a:t>
            </a:r>
            <a:r>
              <a:rPr lang="de-DE" sz="1400" err="1">
                <a:solidFill>
                  <a:srgbClr val="2167AE"/>
                </a:solidFill>
                <a:latin typeface="Zurich Sans Light (Body)"/>
                <a:cs typeface="Arial" panose="020B0604020202020204" pitchFamily="34" charset="0"/>
              </a:rPr>
              <a:t>ptional</a:t>
            </a:r>
            <a:r>
              <a:rPr lang="de-DE" sz="1400">
                <a:solidFill>
                  <a:srgbClr val="2167AE"/>
                </a:solidFill>
                <a:latin typeface="Zurich Sans Light (Body)"/>
                <a:cs typeface="Arial" panose="020B0604020202020204" pitchFamily="34" charset="0"/>
              </a:rPr>
              <a:t> steht ein ausführlicher Risikobericht, der von Klimaexperten verfasst wurde, zur Verfügung.</a:t>
            </a:r>
            <a:endParaRPr lang="en-US" sz="1400">
              <a:solidFill>
                <a:srgbClr val="2167AE"/>
              </a:solidFill>
              <a:latin typeface="Zurich Sans Light (Body)"/>
              <a:cs typeface="Arial" panose="020B0604020202020204" pitchFamily="34" charset="0"/>
            </a:endParaRPr>
          </a:p>
        </p:txBody>
      </p:sp>
      <p:grpSp>
        <p:nvGrpSpPr>
          <p:cNvPr id="15" name="Group 14">
            <a:extLst>
              <a:ext uri="{FF2B5EF4-FFF2-40B4-BE49-F238E27FC236}">
                <a16:creationId xmlns:a16="http://schemas.microsoft.com/office/drawing/2014/main" id="{33F83373-C198-1AD3-057C-9FB80F75F1FD}"/>
              </a:ext>
            </a:extLst>
          </p:cNvPr>
          <p:cNvGrpSpPr>
            <a:grpSpLocks noChangeAspect="1"/>
          </p:cNvGrpSpPr>
          <p:nvPr/>
        </p:nvGrpSpPr>
        <p:grpSpPr>
          <a:xfrm>
            <a:off x="6336216" y="2365065"/>
            <a:ext cx="685800" cy="685754"/>
            <a:chOff x="6503668" y="795646"/>
            <a:chExt cx="1333590" cy="1333500"/>
          </a:xfrm>
        </p:grpSpPr>
        <p:sp>
          <p:nvSpPr>
            <p:cNvPr id="16" name="Freeform: Shape 15">
              <a:extLst>
                <a:ext uri="{FF2B5EF4-FFF2-40B4-BE49-F238E27FC236}">
                  <a16:creationId xmlns:a16="http://schemas.microsoft.com/office/drawing/2014/main" id="{C25450CA-3F30-D42D-A2CD-AFCB7F9F04E1}"/>
                </a:ext>
              </a:extLst>
            </p:cNvPr>
            <p:cNvSpPr/>
            <p:nvPr/>
          </p:nvSpPr>
          <p:spPr>
            <a:xfrm>
              <a:off x="6503758" y="795646"/>
              <a:ext cx="1333500" cy="1333500"/>
            </a:xfrm>
            <a:custGeom>
              <a:avLst/>
              <a:gdLst>
                <a:gd name="connsiteX0" fmla="*/ 1333500 w 1333500"/>
                <a:gd name="connsiteY0" fmla="*/ 666750 h 1333500"/>
                <a:gd name="connsiteX1" fmla="*/ 666750 w 1333500"/>
                <a:gd name="connsiteY1" fmla="*/ 1333500 h 1333500"/>
                <a:gd name="connsiteX2" fmla="*/ 0 w 1333500"/>
                <a:gd name="connsiteY2" fmla="*/ 666750 h 1333500"/>
                <a:gd name="connsiteX3" fmla="*/ 666750 w 1333500"/>
                <a:gd name="connsiteY3" fmla="*/ 0 h 1333500"/>
                <a:gd name="connsiteX4" fmla="*/ 1333500 w 1333500"/>
                <a:gd name="connsiteY4" fmla="*/ 66675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0" h="1333500">
                  <a:moveTo>
                    <a:pt x="1333500" y="666750"/>
                  </a:moveTo>
                  <a:cubicBezTo>
                    <a:pt x="1333500" y="1034987"/>
                    <a:pt x="1034987" y="1333500"/>
                    <a:pt x="666750" y="1333500"/>
                  </a:cubicBezTo>
                  <a:cubicBezTo>
                    <a:pt x="298514" y="1333500"/>
                    <a:pt x="0" y="1034987"/>
                    <a:pt x="0" y="666750"/>
                  </a:cubicBezTo>
                  <a:cubicBezTo>
                    <a:pt x="0" y="298514"/>
                    <a:pt x="298514" y="0"/>
                    <a:pt x="666750" y="0"/>
                  </a:cubicBezTo>
                  <a:cubicBezTo>
                    <a:pt x="1034987" y="0"/>
                    <a:pt x="1333500" y="298514"/>
                    <a:pt x="1333500" y="666750"/>
                  </a:cubicBezTo>
                </a:path>
              </a:pathLst>
            </a:custGeom>
            <a:solidFill>
              <a:srgbClr val="DDE4E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grpSp>
          <p:nvGrpSpPr>
            <p:cNvPr id="19" name="Group 18">
              <a:extLst>
                <a:ext uri="{FF2B5EF4-FFF2-40B4-BE49-F238E27FC236}">
                  <a16:creationId xmlns:a16="http://schemas.microsoft.com/office/drawing/2014/main" id="{179D369C-689D-AD4C-EE16-183894CCA418}"/>
                </a:ext>
              </a:extLst>
            </p:cNvPr>
            <p:cNvGrpSpPr/>
            <p:nvPr/>
          </p:nvGrpSpPr>
          <p:grpSpPr>
            <a:xfrm>
              <a:off x="6503668" y="1125591"/>
              <a:ext cx="1094901" cy="780904"/>
              <a:chOff x="6503668" y="1125591"/>
              <a:chExt cx="1094901" cy="780904"/>
            </a:xfrm>
          </p:grpSpPr>
          <p:sp>
            <p:nvSpPr>
              <p:cNvPr id="20" name="Freeform: Shape 19">
                <a:extLst>
                  <a:ext uri="{FF2B5EF4-FFF2-40B4-BE49-F238E27FC236}">
                    <a16:creationId xmlns:a16="http://schemas.microsoft.com/office/drawing/2014/main" id="{583DCF7D-0096-8939-96E1-DE73D9F06239}"/>
                  </a:ext>
                </a:extLst>
              </p:cNvPr>
              <p:cNvSpPr/>
              <p:nvPr/>
            </p:nvSpPr>
            <p:spPr>
              <a:xfrm>
                <a:off x="6755607" y="1554070"/>
                <a:ext cx="842962" cy="352425"/>
              </a:xfrm>
              <a:custGeom>
                <a:avLst/>
                <a:gdLst>
                  <a:gd name="connsiteX0" fmla="*/ 735806 w 735806"/>
                  <a:gd name="connsiteY0" fmla="*/ 0 h 326231"/>
                  <a:gd name="connsiteX1" fmla="*/ 735806 w 735806"/>
                  <a:gd name="connsiteY1" fmla="*/ 326231 h 326231"/>
                  <a:gd name="connsiteX2" fmla="*/ 0 w 735806"/>
                  <a:gd name="connsiteY2" fmla="*/ 326231 h 326231"/>
                  <a:gd name="connsiteX3" fmla="*/ 0 w 735806"/>
                  <a:gd name="connsiteY3" fmla="*/ 21431 h 326231"/>
                  <a:gd name="connsiteX4" fmla="*/ 735806 w 735806"/>
                  <a:gd name="connsiteY4" fmla="*/ 0 h 326231"/>
                  <a:gd name="connsiteX0" fmla="*/ 735806 w 735806"/>
                  <a:gd name="connsiteY0" fmla="*/ 0 h 326231"/>
                  <a:gd name="connsiteX1" fmla="*/ 735806 w 735806"/>
                  <a:gd name="connsiteY1" fmla="*/ 326231 h 326231"/>
                  <a:gd name="connsiteX2" fmla="*/ 0 w 735806"/>
                  <a:gd name="connsiteY2" fmla="*/ 326231 h 326231"/>
                  <a:gd name="connsiteX3" fmla="*/ 0 w 735806"/>
                  <a:gd name="connsiteY3" fmla="*/ 2381 h 326231"/>
                  <a:gd name="connsiteX4" fmla="*/ 735806 w 735806"/>
                  <a:gd name="connsiteY4" fmla="*/ 0 h 326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806" h="326231">
                    <a:moveTo>
                      <a:pt x="735806" y="0"/>
                    </a:moveTo>
                    <a:lnTo>
                      <a:pt x="735806" y="326231"/>
                    </a:lnTo>
                    <a:lnTo>
                      <a:pt x="0" y="326231"/>
                    </a:lnTo>
                    <a:lnTo>
                      <a:pt x="0" y="2381"/>
                    </a:lnTo>
                    <a:lnTo>
                      <a:pt x="73580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Zurich Sans Light"/>
                  <a:ea typeface="+mn-ea"/>
                  <a:cs typeface="+mn-cs"/>
                </a:endParaRPr>
              </a:p>
            </p:txBody>
          </p:sp>
          <p:grpSp>
            <p:nvGrpSpPr>
              <p:cNvPr id="21" name="Graphic 23">
                <a:extLst>
                  <a:ext uri="{FF2B5EF4-FFF2-40B4-BE49-F238E27FC236}">
                    <a16:creationId xmlns:a16="http://schemas.microsoft.com/office/drawing/2014/main" id="{441AB358-A1B3-6D2A-BE36-925E610A6187}"/>
                  </a:ext>
                </a:extLst>
              </p:cNvPr>
              <p:cNvGrpSpPr/>
              <p:nvPr/>
            </p:nvGrpSpPr>
            <p:grpSpPr>
              <a:xfrm>
                <a:off x="6503668" y="1125591"/>
                <a:ext cx="998690" cy="656939"/>
                <a:chOff x="6503668" y="1125591"/>
                <a:chExt cx="998690" cy="656939"/>
              </a:xfrm>
            </p:grpSpPr>
            <p:sp>
              <p:nvSpPr>
                <p:cNvPr id="23" name="Freeform: Shape 22">
                  <a:extLst>
                    <a:ext uri="{FF2B5EF4-FFF2-40B4-BE49-F238E27FC236}">
                      <a16:creationId xmlns:a16="http://schemas.microsoft.com/office/drawing/2014/main" id="{6D288CBC-0E33-BB6E-A24B-F7981693D90F}"/>
                    </a:ext>
                  </a:extLst>
                </p:cNvPr>
                <p:cNvSpPr/>
                <p:nvPr/>
              </p:nvSpPr>
              <p:spPr>
                <a:xfrm>
                  <a:off x="7306143" y="1313300"/>
                  <a:ext cx="179730" cy="351121"/>
                </a:xfrm>
                <a:custGeom>
                  <a:avLst/>
                  <a:gdLst>
                    <a:gd name="connsiteX0" fmla="*/ 145923 w 179730"/>
                    <a:gd name="connsiteY0" fmla="*/ 197578 h 351121"/>
                    <a:gd name="connsiteX1" fmla="*/ 177641 w 179730"/>
                    <a:gd name="connsiteY1" fmla="*/ 284446 h 351121"/>
                    <a:gd name="connsiteX2" fmla="*/ 148495 w 179730"/>
                    <a:gd name="connsiteY2" fmla="*/ 351121 h 351121"/>
                    <a:gd name="connsiteX3" fmla="*/ 129445 w 179730"/>
                    <a:gd name="connsiteY3" fmla="*/ 302067 h 351121"/>
                    <a:gd name="connsiteX4" fmla="*/ 89916 w 179730"/>
                    <a:gd name="connsiteY4" fmla="*/ 262348 h 351121"/>
                    <a:gd name="connsiteX5" fmla="*/ 0 w 179730"/>
                    <a:gd name="connsiteY5" fmla="*/ 30 h 351121"/>
                    <a:gd name="connsiteX6" fmla="*/ 57150 w 179730"/>
                    <a:gd name="connsiteY6" fmla="*/ 12317 h 351121"/>
                    <a:gd name="connsiteX7" fmla="*/ 91916 w 179730"/>
                    <a:gd name="connsiteY7" fmla="*/ 50417 h 351121"/>
                    <a:gd name="connsiteX8" fmla="*/ 145923 w 179730"/>
                    <a:gd name="connsiteY8" fmla="*/ 197578 h 351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730" h="351121">
                      <a:moveTo>
                        <a:pt x="145923" y="197578"/>
                      </a:moveTo>
                      <a:lnTo>
                        <a:pt x="177641" y="284446"/>
                      </a:lnTo>
                      <a:cubicBezTo>
                        <a:pt x="177641" y="284446"/>
                        <a:pt x="191357" y="333119"/>
                        <a:pt x="148495" y="351121"/>
                      </a:cubicBezTo>
                      <a:lnTo>
                        <a:pt x="129445" y="302067"/>
                      </a:lnTo>
                      <a:lnTo>
                        <a:pt x="89916" y="262348"/>
                      </a:lnTo>
                      <a:lnTo>
                        <a:pt x="0" y="30"/>
                      </a:lnTo>
                      <a:cubicBezTo>
                        <a:pt x="0" y="30"/>
                        <a:pt x="34766" y="-1209"/>
                        <a:pt x="57150" y="12317"/>
                      </a:cubicBezTo>
                      <a:cubicBezTo>
                        <a:pt x="71991" y="21615"/>
                        <a:pt x="84011" y="34789"/>
                        <a:pt x="91916" y="50417"/>
                      </a:cubicBezTo>
                      <a:cubicBezTo>
                        <a:pt x="92964" y="54417"/>
                        <a:pt x="145923" y="197578"/>
                        <a:pt x="145923" y="197578"/>
                      </a:cubicBezTo>
                      <a:close/>
                    </a:path>
                  </a:pathLst>
                </a:custGeom>
                <a:solidFill>
                  <a:srgbClr val="C4BDA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24" name="Freeform: Shape 23">
                  <a:extLst>
                    <a:ext uri="{FF2B5EF4-FFF2-40B4-BE49-F238E27FC236}">
                      <a16:creationId xmlns:a16="http://schemas.microsoft.com/office/drawing/2014/main" id="{01572DB6-3AF3-FEEE-85BA-F1792FADAA75}"/>
                    </a:ext>
                  </a:extLst>
                </p:cNvPr>
                <p:cNvSpPr/>
                <p:nvPr/>
              </p:nvSpPr>
              <p:spPr>
                <a:xfrm>
                  <a:off x="7421068" y="1510878"/>
                  <a:ext cx="62716" cy="89820"/>
                </a:xfrm>
                <a:custGeom>
                  <a:avLst/>
                  <a:gdLst>
                    <a:gd name="connsiteX0" fmla="*/ 30998 w 62716"/>
                    <a:gd name="connsiteY0" fmla="*/ 0 h 89820"/>
                    <a:gd name="connsiteX1" fmla="*/ 62717 w 62716"/>
                    <a:gd name="connsiteY1" fmla="*/ 86868 h 89820"/>
                    <a:gd name="connsiteX2" fmla="*/ 46334 w 62716"/>
                    <a:gd name="connsiteY2" fmla="*/ 89821 h 89820"/>
                    <a:gd name="connsiteX3" fmla="*/ 0 w 62716"/>
                    <a:gd name="connsiteY3" fmla="*/ 43762 h 89820"/>
                    <a:gd name="connsiteX4" fmla="*/ 30998 w 62716"/>
                    <a:gd name="connsiteY4" fmla="*/ 0 h 89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6" h="89820">
                      <a:moveTo>
                        <a:pt x="30998" y="0"/>
                      </a:moveTo>
                      <a:lnTo>
                        <a:pt x="62717" y="86868"/>
                      </a:lnTo>
                      <a:cubicBezTo>
                        <a:pt x="57478" y="88826"/>
                        <a:pt x="51925" y="89826"/>
                        <a:pt x="46334" y="89821"/>
                      </a:cubicBezTo>
                      <a:cubicBezTo>
                        <a:pt x="20820" y="89897"/>
                        <a:pt x="76" y="69275"/>
                        <a:pt x="0" y="43762"/>
                      </a:cubicBezTo>
                      <a:cubicBezTo>
                        <a:pt x="-58" y="24056"/>
                        <a:pt x="12389" y="6483"/>
                        <a:pt x="30998" y="0"/>
                      </a:cubicBezTo>
                      <a:close/>
                    </a:path>
                  </a:pathLst>
                </a:custGeom>
                <a:solidFill>
                  <a:srgbClr val="ECEEE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25" name="Freeform: Shape 24">
                  <a:extLst>
                    <a:ext uri="{FF2B5EF4-FFF2-40B4-BE49-F238E27FC236}">
                      <a16:creationId xmlns:a16="http://schemas.microsoft.com/office/drawing/2014/main" id="{FDD2DAEE-3276-7AA6-F1CF-2DAF999B5B02}"/>
                    </a:ext>
                  </a:extLst>
                </p:cNvPr>
                <p:cNvSpPr/>
                <p:nvPr/>
              </p:nvSpPr>
              <p:spPr>
                <a:xfrm>
                  <a:off x="7090021" y="1227102"/>
                  <a:ext cx="329077" cy="349593"/>
                </a:xfrm>
                <a:custGeom>
                  <a:avLst/>
                  <a:gdLst>
                    <a:gd name="connsiteX0" fmla="*/ 0 w 329077"/>
                    <a:gd name="connsiteY0" fmla="*/ 41746 h 349593"/>
                    <a:gd name="connsiteX1" fmla="*/ 50482 w 329077"/>
                    <a:gd name="connsiteY1" fmla="*/ 14028 h 349593"/>
                    <a:gd name="connsiteX2" fmla="*/ 53435 w 329077"/>
                    <a:gd name="connsiteY2" fmla="*/ 12504 h 349593"/>
                    <a:gd name="connsiteX3" fmla="*/ 53435 w 329077"/>
                    <a:gd name="connsiteY3" fmla="*/ 12504 h 349593"/>
                    <a:gd name="connsiteX4" fmla="*/ 53435 w 329077"/>
                    <a:gd name="connsiteY4" fmla="*/ 12504 h 349593"/>
                    <a:gd name="connsiteX5" fmla="*/ 200084 w 329077"/>
                    <a:gd name="connsiteY5" fmla="*/ 58061 h 349593"/>
                    <a:gd name="connsiteX6" fmla="*/ 200120 w 329077"/>
                    <a:gd name="connsiteY6" fmla="*/ 58129 h 349593"/>
                    <a:gd name="connsiteX7" fmla="*/ 200120 w 329077"/>
                    <a:gd name="connsiteY7" fmla="*/ 58129 h 349593"/>
                    <a:gd name="connsiteX8" fmla="*/ 279273 w 329077"/>
                    <a:gd name="connsiteY8" fmla="*/ 201004 h 349593"/>
                    <a:gd name="connsiteX9" fmla="*/ 323374 w 329077"/>
                    <a:gd name="connsiteY9" fmla="*/ 282919 h 349593"/>
                    <a:gd name="connsiteX10" fmla="*/ 305753 w 329077"/>
                    <a:gd name="connsiteY10" fmla="*/ 349594 h 349593"/>
                    <a:gd name="connsiteX11" fmla="*/ 159639 w 329077"/>
                    <a:gd name="connsiteY11" fmla="*/ 202147 h 349593"/>
                    <a:gd name="connsiteX12" fmla="*/ 10954 w 329077"/>
                    <a:gd name="connsiteY12" fmla="*/ 52795 h 349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9077" h="349593">
                      <a:moveTo>
                        <a:pt x="0" y="41746"/>
                      </a:moveTo>
                      <a:lnTo>
                        <a:pt x="50482" y="14028"/>
                      </a:lnTo>
                      <a:lnTo>
                        <a:pt x="53435" y="12504"/>
                      </a:lnTo>
                      <a:lnTo>
                        <a:pt x="53435" y="12504"/>
                      </a:lnTo>
                      <a:lnTo>
                        <a:pt x="53435" y="12504"/>
                      </a:lnTo>
                      <a:cubicBezTo>
                        <a:pt x="106511" y="-15412"/>
                        <a:pt x="172168" y="4984"/>
                        <a:pt x="200084" y="58061"/>
                      </a:cubicBezTo>
                      <a:cubicBezTo>
                        <a:pt x="200096" y="58083"/>
                        <a:pt x="200108" y="58106"/>
                        <a:pt x="200120" y="58129"/>
                      </a:cubicBezTo>
                      <a:lnTo>
                        <a:pt x="200120" y="58129"/>
                      </a:lnTo>
                      <a:lnTo>
                        <a:pt x="279273" y="201004"/>
                      </a:lnTo>
                      <a:lnTo>
                        <a:pt x="323374" y="282919"/>
                      </a:lnTo>
                      <a:cubicBezTo>
                        <a:pt x="335430" y="306378"/>
                        <a:pt x="327825" y="335154"/>
                        <a:pt x="305753" y="349594"/>
                      </a:cubicBezTo>
                      <a:lnTo>
                        <a:pt x="159639" y="202147"/>
                      </a:lnTo>
                      <a:lnTo>
                        <a:pt x="10954" y="52795"/>
                      </a:lnTo>
                      <a:close/>
                    </a:path>
                  </a:pathLst>
                </a:custGeom>
                <a:solidFill>
                  <a:srgbClr val="DAD2B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26" name="Freeform: Shape 25">
                  <a:extLst>
                    <a:ext uri="{FF2B5EF4-FFF2-40B4-BE49-F238E27FC236}">
                      <a16:creationId xmlns:a16="http://schemas.microsoft.com/office/drawing/2014/main" id="{4F993831-AB58-2FF9-7121-4DD5AAE4A82B}"/>
                    </a:ext>
                  </a:extLst>
                </p:cNvPr>
                <p:cNvSpPr/>
                <p:nvPr/>
              </p:nvSpPr>
              <p:spPr>
                <a:xfrm>
                  <a:off x="6846769" y="1126869"/>
                  <a:ext cx="588533" cy="588224"/>
                </a:xfrm>
                <a:custGeom>
                  <a:avLst/>
                  <a:gdLst>
                    <a:gd name="connsiteX0" fmla="*/ 7413 w 588533"/>
                    <a:gd name="connsiteY0" fmla="*/ 71398 h 588224"/>
                    <a:gd name="connsiteX1" fmla="*/ 33130 w 588533"/>
                    <a:gd name="connsiteY1" fmla="*/ 45680 h 588224"/>
                    <a:gd name="connsiteX2" fmla="*/ 33130 w 588533"/>
                    <a:gd name="connsiteY2" fmla="*/ 45680 h 588224"/>
                    <a:gd name="connsiteX3" fmla="*/ 71230 w 588533"/>
                    <a:gd name="connsiteY3" fmla="*/ 7580 h 588224"/>
                    <a:gd name="connsiteX4" fmla="*/ 112283 w 588533"/>
                    <a:gd name="connsiteY4" fmla="*/ 11390 h 588224"/>
                    <a:gd name="connsiteX5" fmla="*/ 588533 w 588533"/>
                    <a:gd name="connsiteY5" fmla="*/ 488879 h 588224"/>
                    <a:gd name="connsiteX6" fmla="*/ 548814 w 588533"/>
                    <a:gd name="connsiteY6" fmla="*/ 528503 h 588224"/>
                    <a:gd name="connsiteX7" fmla="*/ 548814 w 588533"/>
                    <a:gd name="connsiteY7" fmla="*/ 528503 h 588224"/>
                    <a:gd name="connsiteX8" fmla="*/ 489188 w 588533"/>
                    <a:gd name="connsiteY8" fmla="*/ 588224 h 588224"/>
                    <a:gd name="connsiteX9" fmla="*/ 310689 w 588533"/>
                    <a:gd name="connsiteY9" fmla="*/ 410583 h 588224"/>
                    <a:gd name="connsiteX10" fmla="*/ 226297 w 588533"/>
                    <a:gd name="connsiteY10" fmla="*/ 326573 h 588224"/>
                    <a:gd name="connsiteX11" fmla="*/ 222868 w 588533"/>
                    <a:gd name="connsiteY11" fmla="*/ 323048 h 588224"/>
                    <a:gd name="connsiteX12" fmla="*/ 115331 w 588533"/>
                    <a:gd name="connsiteY12" fmla="*/ 215987 h 588224"/>
                    <a:gd name="connsiteX13" fmla="*/ 11223 w 588533"/>
                    <a:gd name="connsiteY13" fmla="*/ 112451 h 588224"/>
                    <a:gd name="connsiteX14" fmla="*/ 7413 w 588533"/>
                    <a:gd name="connsiteY14" fmla="*/ 71398 h 58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8533" h="588224">
                      <a:moveTo>
                        <a:pt x="7413" y="71398"/>
                      </a:moveTo>
                      <a:lnTo>
                        <a:pt x="33130" y="45680"/>
                      </a:lnTo>
                      <a:lnTo>
                        <a:pt x="33130" y="45680"/>
                      </a:lnTo>
                      <a:lnTo>
                        <a:pt x="71230" y="7580"/>
                      </a:lnTo>
                      <a:cubicBezTo>
                        <a:pt x="90280" y="-11470"/>
                        <a:pt x="112283" y="11390"/>
                        <a:pt x="112283" y="11390"/>
                      </a:cubicBezTo>
                      <a:lnTo>
                        <a:pt x="588533" y="488879"/>
                      </a:lnTo>
                      <a:lnTo>
                        <a:pt x="548814" y="528503"/>
                      </a:lnTo>
                      <a:lnTo>
                        <a:pt x="548814" y="528503"/>
                      </a:lnTo>
                      <a:lnTo>
                        <a:pt x="489188" y="588224"/>
                      </a:lnTo>
                      <a:lnTo>
                        <a:pt x="310689" y="410583"/>
                      </a:lnTo>
                      <a:lnTo>
                        <a:pt x="226297" y="326573"/>
                      </a:lnTo>
                      <a:lnTo>
                        <a:pt x="222868" y="323048"/>
                      </a:lnTo>
                      <a:lnTo>
                        <a:pt x="115331" y="215987"/>
                      </a:lnTo>
                      <a:lnTo>
                        <a:pt x="11223" y="112451"/>
                      </a:lnTo>
                      <a:cubicBezTo>
                        <a:pt x="11223" y="112451"/>
                        <a:pt x="-11256" y="90067"/>
                        <a:pt x="7413" y="71398"/>
                      </a:cubicBezTo>
                      <a:close/>
                    </a:path>
                  </a:pathLst>
                </a:custGeom>
                <a:solidFill>
                  <a:srgbClr val="2167A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27" name="Freeform: Shape 26">
                  <a:extLst>
                    <a:ext uri="{FF2B5EF4-FFF2-40B4-BE49-F238E27FC236}">
                      <a16:creationId xmlns:a16="http://schemas.microsoft.com/office/drawing/2014/main" id="{9E606ED6-21B1-BE08-A900-72E13CC0B3A2}"/>
                    </a:ext>
                  </a:extLst>
                </p:cNvPr>
                <p:cNvSpPr/>
                <p:nvPr/>
              </p:nvSpPr>
              <p:spPr>
                <a:xfrm>
                  <a:off x="6846657" y="1125591"/>
                  <a:ext cx="589978" cy="590359"/>
                </a:xfrm>
                <a:custGeom>
                  <a:avLst/>
                  <a:gdLst>
                    <a:gd name="connsiteX0" fmla="*/ 489299 w 589978"/>
                    <a:gd name="connsiteY0" fmla="*/ 590360 h 590359"/>
                    <a:gd name="connsiteX1" fmla="*/ 10859 w 589978"/>
                    <a:gd name="connsiteY1" fmla="*/ 114109 h 590359"/>
                    <a:gd name="connsiteX2" fmla="*/ 0 w 589978"/>
                    <a:gd name="connsiteY2" fmla="*/ 89154 h 590359"/>
                    <a:gd name="connsiteX3" fmla="*/ 7525 w 589978"/>
                    <a:gd name="connsiteY3" fmla="*/ 71914 h 590359"/>
                    <a:gd name="connsiteX4" fmla="*/ 71819 w 589978"/>
                    <a:gd name="connsiteY4" fmla="*/ 7620 h 590359"/>
                    <a:gd name="connsiteX5" fmla="*/ 89059 w 589978"/>
                    <a:gd name="connsiteY5" fmla="*/ 0 h 590359"/>
                    <a:gd name="connsiteX6" fmla="*/ 89059 w 589978"/>
                    <a:gd name="connsiteY6" fmla="*/ 0 h 590359"/>
                    <a:gd name="connsiteX7" fmla="*/ 113729 w 589978"/>
                    <a:gd name="connsiteY7" fmla="*/ 11430 h 590359"/>
                    <a:gd name="connsiteX8" fmla="*/ 589979 w 589978"/>
                    <a:gd name="connsiteY8" fmla="*/ 489871 h 590359"/>
                    <a:gd name="connsiteX9" fmla="*/ 7525 w 589978"/>
                    <a:gd name="connsiteY9" fmla="*/ 72676 h 590359"/>
                    <a:gd name="connsiteX10" fmla="*/ 8001 w 589978"/>
                    <a:gd name="connsiteY10" fmla="*/ 72676 h 590359"/>
                    <a:gd name="connsiteX11" fmla="*/ 762 w 589978"/>
                    <a:gd name="connsiteY11" fmla="*/ 89154 h 590359"/>
                    <a:gd name="connsiteX12" fmla="*/ 11811 w 589978"/>
                    <a:gd name="connsiteY12" fmla="*/ 112967 h 590359"/>
                    <a:gd name="connsiteX13" fmla="*/ 489299 w 589978"/>
                    <a:gd name="connsiteY13" fmla="*/ 588264 h 590359"/>
                    <a:gd name="connsiteX14" fmla="*/ 587693 w 589978"/>
                    <a:gd name="connsiteY14" fmla="*/ 490061 h 590359"/>
                    <a:gd name="connsiteX15" fmla="*/ 112395 w 589978"/>
                    <a:gd name="connsiteY15" fmla="*/ 12954 h 590359"/>
                    <a:gd name="connsiteX16" fmla="*/ 88583 w 589978"/>
                    <a:gd name="connsiteY16" fmla="*/ 1905 h 590359"/>
                    <a:gd name="connsiteX17" fmla="*/ 88583 w 589978"/>
                    <a:gd name="connsiteY17" fmla="*/ 1905 h 590359"/>
                    <a:gd name="connsiteX18" fmla="*/ 72295 w 589978"/>
                    <a:gd name="connsiteY18" fmla="*/ 9144 h 590359"/>
                    <a:gd name="connsiteX19" fmla="*/ 8001 w 589978"/>
                    <a:gd name="connsiteY19" fmla="*/ 73438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9978" h="590359">
                      <a:moveTo>
                        <a:pt x="489299" y="590360"/>
                      </a:moveTo>
                      <a:lnTo>
                        <a:pt x="10859" y="114109"/>
                      </a:lnTo>
                      <a:cubicBezTo>
                        <a:pt x="4481" y="107285"/>
                        <a:pt x="647" y="98472"/>
                        <a:pt x="0" y="89154"/>
                      </a:cubicBezTo>
                      <a:cubicBezTo>
                        <a:pt x="-9" y="82608"/>
                        <a:pt x="2718" y="76357"/>
                        <a:pt x="7525" y="71914"/>
                      </a:cubicBezTo>
                      <a:lnTo>
                        <a:pt x="71819" y="7620"/>
                      </a:lnTo>
                      <a:cubicBezTo>
                        <a:pt x="76279" y="2826"/>
                        <a:pt x="82511" y="71"/>
                        <a:pt x="89059" y="0"/>
                      </a:cubicBezTo>
                      <a:lnTo>
                        <a:pt x="89059" y="0"/>
                      </a:lnTo>
                      <a:cubicBezTo>
                        <a:pt x="98356" y="844"/>
                        <a:pt x="107073" y="4883"/>
                        <a:pt x="113729" y="11430"/>
                      </a:cubicBezTo>
                      <a:lnTo>
                        <a:pt x="589979" y="489871"/>
                      </a:lnTo>
                      <a:close/>
                      <a:moveTo>
                        <a:pt x="7525" y="72676"/>
                      </a:moveTo>
                      <a:lnTo>
                        <a:pt x="8001" y="72676"/>
                      </a:lnTo>
                      <a:cubicBezTo>
                        <a:pt x="3418" y="76934"/>
                        <a:pt x="798" y="82898"/>
                        <a:pt x="762" y="89154"/>
                      </a:cubicBezTo>
                      <a:cubicBezTo>
                        <a:pt x="1617" y="98121"/>
                        <a:pt x="5517" y="106524"/>
                        <a:pt x="11811" y="112967"/>
                      </a:cubicBezTo>
                      <a:lnTo>
                        <a:pt x="489299" y="588264"/>
                      </a:lnTo>
                      <a:lnTo>
                        <a:pt x="587693" y="490061"/>
                      </a:lnTo>
                      <a:lnTo>
                        <a:pt x="112395" y="12954"/>
                      </a:lnTo>
                      <a:cubicBezTo>
                        <a:pt x="105952" y="6660"/>
                        <a:pt x="97549" y="2760"/>
                        <a:pt x="88583" y="1905"/>
                      </a:cubicBezTo>
                      <a:lnTo>
                        <a:pt x="88583" y="1905"/>
                      </a:lnTo>
                      <a:cubicBezTo>
                        <a:pt x="82392" y="1993"/>
                        <a:pt x="76508" y="4608"/>
                        <a:pt x="72295" y="9144"/>
                      </a:cubicBezTo>
                      <a:lnTo>
                        <a:pt x="8001" y="73438"/>
                      </a:lnTo>
                      <a:close/>
                    </a:path>
                  </a:pathLst>
                </a:custGeom>
                <a:solidFill>
                  <a:srgbClr val="2167A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28" name="Freeform: Shape 27">
                  <a:extLst>
                    <a:ext uri="{FF2B5EF4-FFF2-40B4-BE49-F238E27FC236}">
                      <a16:creationId xmlns:a16="http://schemas.microsoft.com/office/drawing/2014/main" id="{5A059135-3224-DF90-6824-BBFA437470AB}"/>
                    </a:ext>
                  </a:extLst>
                </p:cNvPr>
                <p:cNvSpPr/>
                <p:nvPr/>
              </p:nvSpPr>
              <p:spPr>
                <a:xfrm>
                  <a:off x="6836180" y="1515164"/>
                  <a:ext cx="493400" cy="199548"/>
                </a:xfrm>
                <a:custGeom>
                  <a:avLst/>
                  <a:gdLst>
                    <a:gd name="connsiteX0" fmla="*/ 413861 w 493400"/>
                    <a:gd name="connsiteY0" fmla="*/ 28670 h 199548"/>
                    <a:gd name="connsiteX1" fmla="*/ 493173 w 493400"/>
                    <a:gd name="connsiteY1" fmla="*/ 120361 h 199548"/>
                    <a:gd name="connsiteX2" fmla="*/ 415385 w 493400"/>
                    <a:gd name="connsiteY2" fmla="*/ 199549 h 199548"/>
                    <a:gd name="connsiteX3" fmla="*/ 0 w 493400"/>
                    <a:gd name="connsiteY3" fmla="*/ 167259 h 199548"/>
                    <a:gd name="connsiteX4" fmla="*/ 0 w 493400"/>
                    <a:gd name="connsiteY4" fmla="*/ 0 h 199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400" h="199548">
                      <a:moveTo>
                        <a:pt x="413861" y="28670"/>
                      </a:moveTo>
                      <a:cubicBezTo>
                        <a:pt x="461082" y="32089"/>
                        <a:pt x="496592" y="73141"/>
                        <a:pt x="493173" y="120361"/>
                      </a:cubicBezTo>
                      <a:cubicBezTo>
                        <a:pt x="490140" y="162248"/>
                        <a:pt x="457210" y="195770"/>
                        <a:pt x="415385" y="199549"/>
                      </a:cubicBezTo>
                      <a:lnTo>
                        <a:pt x="0" y="167259"/>
                      </a:lnTo>
                      <a:lnTo>
                        <a:pt x="0" y="0"/>
                      </a:lnTo>
                      <a:close/>
                    </a:path>
                  </a:pathLst>
                </a:custGeom>
                <a:solidFill>
                  <a:srgbClr val="DAD2B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29" name="Freeform: Shape 28">
                  <a:extLst>
                    <a:ext uri="{FF2B5EF4-FFF2-40B4-BE49-F238E27FC236}">
                      <a16:creationId xmlns:a16="http://schemas.microsoft.com/office/drawing/2014/main" id="{CDA5C9D7-9781-0C34-AF90-D7AACD727408}"/>
                    </a:ext>
                  </a:extLst>
                </p:cNvPr>
                <p:cNvSpPr/>
                <p:nvPr/>
              </p:nvSpPr>
              <p:spPr>
                <a:xfrm>
                  <a:off x="7335957" y="1615939"/>
                  <a:ext cx="146875" cy="147446"/>
                </a:xfrm>
                <a:custGeom>
                  <a:avLst/>
                  <a:gdLst>
                    <a:gd name="connsiteX0" fmla="*/ 99060 w 146875"/>
                    <a:gd name="connsiteY0" fmla="*/ 0 h 147446"/>
                    <a:gd name="connsiteX1" fmla="*/ 0 w 146875"/>
                    <a:gd name="connsiteY1" fmla="*/ 99155 h 147446"/>
                    <a:gd name="connsiteX2" fmla="*/ 118681 w 146875"/>
                    <a:gd name="connsiteY2" fmla="*/ 147447 h 147446"/>
                    <a:gd name="connsiteX3" fmla="*/ 146875 w 146875"/>
                    <a:gd name="connsiteY3" fmla="*/ 119253 h 147446"/>
                    <a:gd name="connsiteX4" fmla="*/ 99060 w 146875"/>
                    <a:gd name="connsiteY4" fmla="*/ 0 h 147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75" h="147446">
                      <a:moveTo>
                        <a:pt x="99060" y="0"/>
                      </a:moveTo>
                      <a:lnTo>
                        <a:pt x="0" y="99155"/>
                      </a:lnTo>
                      <a:lnTo>
                        <a:pt x="118681" y="147447"/>
                      </a:lnTo>
                      <a:lnTo>
                        <a:pt x="146875" y="119253"/>
                      </a:lnTo>
                      <a:lnTo>
                        <a:pt x="99060" y="0"/>
                      </a:lnTo>
                      <a:close/>
                    </a:path>
                  </a:pathLst>
                </a:custGeom>
                <a:solidFill>
                  <a:srgbClr val="ECEEE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30" name="Freeform: Shape 29">
                  <a:extLst>
                    <a:ext uri="{FF2B5EF4-FFF2-40B4-BE49-F238E27FC236}">
                      <a16:creationId xmlns:a16="http://schemas.microsoft.com/office/drawing/2014/main" id="{7E55EC5A-B7F5-DEC1-14B9-76CE4F028847}"/>
                    </a:ext>
                  </a:extLst>
                </p:cNvPr>
                <p:cNvSpPr/>
                <p:nvPr/>
              </p:nvSpPr>
              <p:spPr>
                <a:xfrm>
                  <a:off x="7454638" y="1735191"/>
                  <a:ext cx="47720" cy="47339"/>
                </a:xfrm>
                <a:custGeom>
                  <a:avLst/>
                  <a:gdLst>
                    <a:gd name="connsiteX0" fmla="*/ 47720 w 47720"/>
                    <a:gd name="connsiteY0" fmla="*/ 47339 h 47339"/>
                    <a:gd name="connsiteX1" fmla="*/ 0 w 47720"/>
                    <a:gd name="connsiteY1" fmla="*/ 28194 h 47339"/>
                    <a:gd name="connsiteX2" fmla="*/ 28194 w 47720"/>
                    <a:gd name="connsiteY2" fmla="*/ 0 h 47339"/>
                    <a:gd name="connsiteX3" fmla="*/ 47720 w 47720"/>
                    <a:gd name="connsiteY3" fmla="*/ 47339 h 47339"/>
                  </a:gdLst>
                  <a:ahLst/>
                  <a:cxnLst>
                    <a:cxn ang="0">
                      <a:pos x="connsiteX0" y="connsiteY0"/>
                    </a:cxn>
                    <a:cxn ang="0">
                      <a:pos x="connsiteX1" y="connsiteY1"/>
                    </a:cxn>
                    <a:cxn ang="0">
                      <a:pos x="connsiteX2" y="connsiteY2"/>
                    </a:cxn>
                    <a:cxn ang="0">
                      <a:pos x="connsiteX3" y="connsiteY3"/>
                    </a:cxn>
                  </a:cxnLst>
                  <a:rect l="l" t="t" r="r" b="b"/>
                  <a:pathLst>
                    <a:path w="47720" h="47339">
                      <a:moveTo>
                        <a:pt x="47720" y="47339"/>
                      </a:moveTo>
                      <a:lnTo>
                        <a:pt x="0" y="28194"/>
                      </a:lnTo>
                      <a:lnTo>
                        <a:pt x="28194" y="0"/>
                      </a:lnTo>
                      <a:lnTo>
                        <a:pt x="47720" y="47339"/>
                      </a:lnTo>
                      <a:close/>
                    </a:path>
                  </a:pathLst>
                </a:custGeom>
                <a:solidFill>
                  <a:srgbClr val="2167A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31" name="Freeform: Shape 30">
                  <a:extLst>
                    <a:ext uri="{FF2B5EF4-FFF2-40B4-BE49-F238E27FC236}">
                      <a16:creationId xmlns:a16="http://schemas.microsoft.com/office/drawing/2014/main" id="{05EC3F75-72CA-E774-9A3B-45CB8BE3B183}"/>
                    </a:ext>
                  </a:extLst>
                </p:cNvPr>
                <p:cNvSpPr/>
                <p:nvPr/>
              </p:nvSpPr>
              <p:spPr>
                <a:xfrm>
                  <a:off x="7183652" y="1562884"/>
                  <a:ext cx="132778" cy="132778"/>
                </a:xfrm>
                <a:custGeom>
                  <a:avLst/>
                  <a:gdLst>
                    <a:gd name="connsiteX0" fmla="*/ 132779 w 132778"/>
                    <a:gd name="connsiteY0" fmla="*/ 66389 h 132778"/>
                    <a:gd name="connsiteX1" fmla="*/ 66389 w 132778"/>
                    <a:gd name="connsiteY1" fmla="*/ 132778 h 132778"/>
                    <a:gd name="connsiteX2" fmla="*/ 0 w 132778"/>
                    <a:gd name="connsiteY2" fmla="*/ 66389 h 132778"/>
                    <a:gd name="connsiteX3" fmla="*/ 66389 w 132778"/>
                    <a:gd name="connsiteY3" fmla="*/ 0 h 132778"/>
                    <a:gd name="connsiteX4" fmla="*/ 132779 w 132778"/>
                    <a:gd name="connsiteY4" fmla="*/ 66389 h 132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778" h="132778">
                      <a:moveTo>
                        <a:pt x="132779" y="66389"/>
                      </a:moveTo>
                      <a:cubicBezTo>
                        <a:pt x="132779" y="103055"/>
                        <a:pt x="103055" y="132778"/>
                        <a:pt x="66389" y="132778"/>
                      </a:cubicBezTo>
                      <a:cubicBezTo>
                        <a:pt x="29723" y="132778"/>
                        <a:pt x="0" y="103055"/>
                        <a:pt x="0" y="66389"/>
                      </a:cubicBezTo>
                      <a:cubicBezTo>
                        <a:pt x="0" y="29723"/>
                        <a:pt x="29723" y="0"/>
                        <a:pt x="66389" y="0"/>
                      </a:cubicBezTo>
                      <a:cubicBezTo>
                        <a:pt x="103055" y="0"/>
                        <a:pt x="132779" y="29723"/>
                        <a:pt x="132779" y="66389"/>
                      </a:cubicBezTo>
                      <a:close/>
                    </a:path>
                  </a:pathLst>
                </a:custGeom>
                <a:solidFill>
                  <a:srgbClr val="ECEEE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32" name="Freeform: Shape 31">
                  <a:extLst>
                    <a:ext uri="{FF2B5EF4-FFF2-40B4-BE49-F238E27FC236}">
                      <a16:creationId xmlns:a16="http://schemas.microsoft.com/office/drawing/2014/main" id="{28BCBC84-F9CE-02B8-8355-99345B3CC51E}"/>
                    </a:ext>
                  </a:extLst>
                </p:cNvPr>
                <p:cNvSpPr/>
                <p:nvPr/>
              </p:nvSpPr>
              <p:spPr>
                <a:xfrm>
                  <a:off x="7345240" y="1428201"/>
                  <a:ext cx="68155" cy="87348"/>
                </a:xfrm>
                <a:custGeom>
                  <a:avLst/>
                  <a:gdLst>
                    <a:gd name="connsiteX0" fmla="*/ 24340 w 68155"/>
                    <a:gd name="connsiteY0" fmla="*/ 0 h 87348"/>
                    <a:gd name="connsiteX1" fmla="*/ 68155 w 68155"/>
                    <a:gd name="connsiteY1" fmla="*/ 81820 h 87348"/>
                    <a:gd name="connsiteX2" fmla="*/ 5528 w 68155"/>
                    <a:gd name="connsiteY2" fmla="*/ 63008 h 87348"/>
                    <a:gd name="connsiteX3" fmla="*/ 24340 w 68155"/>
                    <a:gd name="connsiteY3" fmla="*/ 381 h 87348"/>
                  </a:gdLst>
                  <a:ahLst/>
                  <a:cxnLst>
                    <a:cxn ang="0">
                      <a:pos x="connsiteX0" y="connsiteY0"/>
                    </a:cxn>
                    <a:cxn ang="0">
                      <a:pos x="connsiteX1" y="connsiteY1"/>
                    </a:cxn>
                    <a:cxn ang="0">
                      <a:pos x="connsiteX2" y="connsiteY2"/>
                    </a:cxn>
                    <a:cxn ang="0">
                      <a:pos x="connsiteX3" y="connsiteY3"/>
                    </a:cxn>
                  </a:cxnLst>
                  <a:rect l="l" t="t" r="r" b="b"/>
                  <a:pathLst>
                    <a:path w="68155" h="87348">
                      <a:moveTo>
                        <a:pt x="24340" y="0"/>
                      </a:moveTo>
                      <a:lnTo>
                        <a:pt x="68155" y="81820"/>
                      </a:lnTo>
                      <a:cubicBezTo>
                        <a:pt x="45667" y="93919"/>
                        <a:pt x="17628" y="85496"/>
                        <a:pt x="5528" y="63008"/>
                      </a:cubicBezTo>
                      <a:cubicBezTo>
                        <a:pt x="-6571" y="40519"/>
                        <a:pt x="1852" y="12481"/>
                        <a:pt x="24340" y="381"/>
                      </a:cubicBezTo>
                      <a:close/>
                    </a:path>
                  </a:pathLst>
                </a:custGeom>
                <a:solidFill>
                  <a:srgbClr val="ECEEE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33" name="Freeform: Shape 32">
                  <a:extLst>
                    <a:ext uri="{FF2B5EF4-FFF2-40B4-BE49-F238E27FC236}">
                      <a16:creationId xmlns:a16="http://schemas.microsoft.com/office/drawing/2014/main" id="{DDB42B33-098D-C2BB-83C0-9A80DE32F1B9}"/>
                    </a:ext>
                  </a:extLst>
                </p:cNvPr>
                <p:cNvSpPr/>
                <p:nvPr/>
              </p:nvSpPr>
              <p:spPr>
                <a:xfrm>
                  <a:off x="6836180" y="1342857"/>
                  <a:ext cx="233457" cy="182594"/>
                </a:xfrm>
                <a:custGeom>
                  <a:avLst/>
                  <a:gdLst>
                    <a:gd name="connsiteX0" fmla="*/ 57436 w 233457"/>
                    <a:gd name="connsiteY0" fmla="*/ 39815 h 182594"/>
                    <a:gd name="connsiteX1" fmla="*/ 125920 w 233457"/>
                    <a:gd name="connsiteY1" fmla="*/ 0 h 182594"/>
                    <a:gd name="connsiteX2" fmla="*/ 233458 w 233457"/>
                    <a:gd name="connsiteY2" fmla="*/ 107061 h 182594"/>
                    <a:gd name="connsiteX3" fmla="*/ 153352 w 233457"/>
                    <a:gd name="connsiteY3" fmla="*/ 167164 h 182594"/>
                    <a:gd name="connsiteX4" fmla="*/ 149288 w 233457"/>
                    <a:gd name="connsiteY4" fmla="*/ 180006 h 182594"/>
                    <a:gd name="connsiteX5" fmla="*/ 151257 w 233457"/>
                    <a:gd name="connsiteY5" fmla="*/ 182594 h 182594"/>
                    <a:gd name="connsiteX6" fmla="*/ 0 w 233457"/>
                    <a:gd name="connsiteY6" fmla="*/ 172307 h 182594"/>
                    <a:gd name="connsiteX7" fmla="*/ 0 w 233457"/>
                    <a:gd name="connsiteY7" fmla="*/ 38957 h 182594"/>
                    <a:gd name="connsiteX8" fmla="*/ 57436 w 233457"/>
                    <a:gd name="connsiteY8" fmla="*/ 39815 h 182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457" h="182594">
                      <a:moveTo>
                        <a:pt x="57436" y="39815"/>
                      </a:moveTo>
                      <a:lnTo>
                        <a:pt x="125920" y="0"/>
                      </a:lnTo>
                      <a:lnTo>
                        <a:pt x="233458" y="107061"/>
                      </a:lnTo>
                      <a:lnTo>
                        <a:pt x="153352" y="167164"/>
                      </a:lnTo>
                      <a:cubicBezTo>
                        <a:pt x="148683" y="169588"/>
                        <a:pt x="146864" y="175337"/>
                        <a:pt x="149288" y="180006"/>
                      </a:cubicBezTo>
                      <a:cubicBezTo>
                        <a:pt x="149791" y="180975"/>
                        <a:pt x="150457" y="181851"/>
                        <a:pt x="151257" y="182594"/>
                      </a:cubicBezTo>
                      <a:lnTo>
                        <a:pt x="0" y="172307"/>
                      </a:lnTo>
                      <a:lnTo>
                        <a:pt x="0" y="38957"/>
                      </a:lnTo>
                      <a:cubicBezTo>
                        <a:pt x="17600" y="49542"/>
                        <a:pt x="39528" y="49870"/>
                        <a:pt x="57436" y="39815"/>
                      </a:cubicBezTo>
                      <a:close/>
                    </a:path>
                  </a:pathLst>
                </a:custGeom>
                <a:solidFill>
                  <a:srgbClr val="DAD2B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34" name="Freeform: Shape 33">
                  <a:extLst>
                    <a:ext uri="{FF2B5EF4-FFF2-40B4-BE49-F238E27FC236}">
                      <a16:creationId xmlns:a16="http://schemas.microsoft.com/office/drawing/2014/main" id="{BF0250E2-04AB-F573-6523-A2775FD0CF8D}"/>
                    </a:ext>
                  </a:extLst>
                </p:cNvPr>
                <p:cNvSpPr/>
                <p:nvPr/>
              </p:nvSpPr>
              <p:spPr>
                <a:xfrm>
                  <a:off x="6984139" y="1449727"/>
                  <a:ext cx="173509" cy="87534"/>
                </a:xfrm>
                <a:custGeom>
                  <a:avLst/>
                  <a:gdLst>
                    <a:gd name="connsiteX0" fmla="*/ 5393 w 173509"/>
                    <a:gd name="connsiteY0" fmla="*/ 60293 h 87534"/>
                    <a:gd name="connsiteX1" fmla="*/ 85689 w 173509"/>
                    <a:gd name="connsiteY1" fmla="*/ 0 h 87534"/>
                    <a:gd name="connsiteX2" fmla="*/ 89118 w 173509"/>
                    <a:gd name="connsiteY2" fmla="*/ 3524 h 87534"/>
                    <a:gd name="connsiteX3" fmla="*/ 173510 w 173509"/>
                    <a:gd name="connsiteY3" fmla="*/ 87535 h 87534"/>
                    <a:gd name="connsiteX4" fmla="*/ 3107 w 173509"/>
                    <a:gd name="connsiteY4" fmla="*/ 75914 h 87534"/>
                    <a:gd name="connsiteX5" fmla="*/ 2486 w 173509"/>
                    <a:gd name="connsiteY5" fmla="*/ 62458 h 87534"/>
                    <a:gd name="connsiteX6" fmla="*/ 5393 w 173509"/>
                    <a:gd name="connsiteY6" fmla="*/ 60293 h 8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509" h="87534">
                      <a:moveTo>
                        <a:pt x="5393" y="60293"/>
                      </a:moveTo>
                      <a:lnTo>
                        <a:pt x="85689" y="0"/>
                      </a:lnTo>
                      <a:lnTo>
                        <a:pt x="89118" y="3524"/>
                      </a:lnTo>
                      <a:lnTo>
                        <a:pt x="173510" y="87535"/>
                      </a:lnTo>
                      <a:lnTo>
                        <a:pt x="3107" y="75914"/>
                      </a:lnTo>
                      <a:cubicBezTo>
                        <a:pt x="-780" y="72370"/>
                        <a:pt x="-1058" y="66345"/>
                        <a:pt x="2486" y="62458"/>
                      </a:cubicBezTo>
                      <a:cubicBezTo>
                        <a:pt x="3307" y="61557"/>
                        <a:pt x="4294" y="60822"/>
                        <a:pt x="5393" y="60293"/>
                      </a:cubicBezTo>
                      <a:close/>
                    </a:path>
                  </a:pathLst>
                </a:custGeom>
                <a:solidFill>
                  <a:srgbClr val="C4BDA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35" name="Freeform: Shape 34">
                  <a:extLst>
                    <a:ext uri="{FF2B5EF4-FFF2-40B4-BE49-F238E27FC236}">
                      <a16:creationId xmlns:a16="http://schemas.microsoft.com/office/drawing/2014/main" id="{997AE096-5B78-2EE4-889D-4D76CE534AB1}"/>
                    </a:ext>
                  </a:extLst>
                </p:cNvPr>
                <p:cNvSpPr/>
                <p:nvPr/>
              </p:nvSpPr>
              <p:spPr>
                <a:xfrm>
                  <a:off x="6503668" y="1280563"/>
                  <a:ext cx="332125" cy="495300"/>
                </a:xfrm>
                <a:custGeom>
                  <a:avLst/>
                  <a:gdLst>
                    <a:gd name="connsiteX0" fmla="*/ 302984 w 332125"/>
                    <a:gd name="connsiteY0" fmla="*/ 36195 h 495300"/>
                    <a:gd name="connsiteX1" fmla="*/ 25426 w 332125"/>
                    <a:gd name="connsiteY1" fmla="*/ 0 h 495300"/>
                    <a:gd name="connsiteX2" fmla="*/ 78099 w 332125"/>
                    <a:gd name="connsiteY2" fmla="*/ 495300 h 495300"/>
                    <a:gd name="connsiteX3" fmla="*/ 302984 w 332125"/>
                    <a:gd name="connsiteY3" fmla="*/ 478060 h 495300"/>
                    <a:gd name="connsiteX4" fmla="*/ 332035 w 332125"/>
                    <a:gd name="connsiteY4" fmla="*/ 442817 h 495300"/>
                    <a:gd name="connsiteX5" fmla="*/ 332035 w 332125"/>
                    <a:gd name="connsiteY5" fmla="*/ 71438 h 495300"/>
                    <a:gd name="connsiteX6" fmla="*/ 302984 w 332125"/>
                    <a:gd name="connsiteY6" fmla="*/ 36195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125" h="495300">
                      <a:moveTo>
                        <a:pt x="302984" y="36195"/>
                      </a:moveTo>
                      <a:lnTo>
                        <a:pt x="25426" y="0"/>
                      </a:lnTo>
                      <a:cubicBezTo>
                        <a:pt x="-21711" y="165701"/>
                        <a:pt x="-2832" y="343218"/>
                        <a:pt x="78099" y="495300"/>
                      </a:cubicBezTo>
                      <a:lnTo>
                        <a:pt x="302984" y="478060"/>
                      </a:lnTo>
                      <a:cubicBezTo>
                        <a:pt x="320533" y="475964"/>
                        <a:pt x="333331" y="460442"/>
                        <a:pt x="332035" y="442817"/>
                      </a:cubicBezTo>
                      <a:lnTo>
                        <a:pt x="332035" y="71438"/>
                      </a:lnTo>
                      <a:cubicBezTo>
                        <a:pt x="333331" y="53812"/>
                        <a:pt x="320533" y="38287"/>
                        <a:pt x="302984" y="36195"/>
                      </a:cubicBezTo>
                      <a:close/>
                    </a:path>
                  </a:pathLst>
                </a:custGeom>
                <a:solidFill>
                  <a:srgbClr val="5495C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66F"/>
                    </a:solidFill>
                    <a:effectLst/>
                    <a:uLnTx/>
                    <a:uFillTx/>
                    <a:latin typeface="Zurich Sans Light"/>
                    <a:ea typeface="+mn-ea"/>
                    <a:cs typeface="+mn-cs"/>
                  </a:endParaRPr>
                </a:p>
              </p:txBody>
            </p:sp>
          </p:grpSp>
        </p:grpSp>
      </p:grpSp>
      <p:grpSp>
        <p:nvGrpSpPr>
          <p:cNvPr id="3" name="Group 1">
            <a:extLst>
              <a:ext uri="{FF2B5EF4-FFF2-40B4-BE49-F238E27FC236}">
                <a16:creationId xmlns:a16="http://schemas.microsoft.com/office/drawing/2014/main" id="{12A7340B-F523-BFA6-429A-A53561626B5C}"/>
              </a:ext>
            </a:extLst>
          </p:cNvPr>
          <p:cNvGrpSpPr/>
          <p:nvPr/>
        </p:nvGrpSpPr>
        <p:grpSpPr>
          <a:xfrm>
            <a:off x="250823" y="289004"/>
            <a:ext cx="9724302" cy="320056"/>
            <a:chOff x="250823" y="289004"/>
            <a:chExt cx="9724302" cy="320056"/>
          </a:xfrm>
        </p:grpSpPr>
        <p:sp>
          <p:nvSpPr>
            <p:cNvPr id="8" name="Rounded Rectangle 5">
              <a:extLst>
                <a:ext uri="{FF2B5EF4-FFF2-40B4-BE49-F238E27FC236}">
                  <a16:creationId xmlns:a16="http://schemas.microsoft.com/office/drawing/2014/main" id="{B5F7665C-1987-E8FF-584D-349CE5215912}"/>
                </a:ext>
              </a:extLst>
            </p:cNvPr>
            <p:cNvSpPr/>
            <p:nvPr/>
          </p:nvSpPr>
          <p:spPr>
            <a:xfrm>
              <a:off x="250823" y="289004"/>
              <a:ext cx="1620000" cy="32005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chemeClr val="accent5"/>
                  </a:solidFill>
                </a:rPr>
                <a:t>Portfolioebene</a:t>
              </a:r>
            </a:p>
          </p:txBody>
        </p:sp>
        <p:sp>
          <p:nvSpPr>
            <p:cNvPr id="13" name="Rounded Rectangle 6">
              <a:extLst>
                <a:ext uri="{FF2B5EF4-FFF2-40B4-BE49-F238E27FC236}">
                  <a16:creationId xmlns:a16="http://schemas.microsoft.com/office/drawing/2014/main" id="{43F6FFCF-48F0-0F15-A8E9-0012AC883E22}"/>
                </a:ext>
              </a:extLst>
            </p:cNvPr>
            <p:cNvSpPr/>
            <p:nvPr/>
          </p:nvSpPr>
          <p:spPr>
            <a:xfrm>
              <a:off x="1873116" y="289004"/>
              <a:ext cx="1620000" cy="32005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5"/>
                  </a:solidFill>
                </a:rPr>
                <a:t>Identifikation</a:t>
              </a:r>
            </a:p>
          </p:txBody>
        </p:sp>
        <p:sp>
          <p:nvSpPr>
            <p:cNvPr id="14" name="Rounded Rectangle 11">
              <a:extLst>
                <a:ext uri="{FF2B5EF4-FFF2-40B4-BE49-F238E27FC236}">
                  <a16:creationId xmlns:a16="http://schemas.microsoft.com/office/drawing/2014/main" id="{6AD44906-66F6-7B8C-41C8-D222BBAFF58F}"/>
                </a:ext>
              </a:extLst>
            </p:cNvPr>
            <p:cNvSpPr/>
            <p:nvPr/>
          </p:nvSpPr>
          <p:spPr>
            <a:xfrm>
              <a:off x="3488837" y="289004"/>
              <a:ext cx="1620000" cy="32005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5"/>
                  </a:solidFill>
                </a:rPr>
                <a:t>Priorisierung</a:t>
              </a:r>
            </a:p>
          </p:txBody>
        </p:sp>
        <p:sp>
          <p:nvSpPr>
            <p:cNvPr id="17" name="Rounded Rectangle 13">
              <a:extLst>
                <a:ext uri="{FF2B5EF4-FFF2-40B4-BE49-F238E27FC236}">
                  <a16:creationId xmlns:a16="http://schemas.microsoft.com/office/drawing/2014/main" id="{AC5ED323-AEA8-B909-C5C5-9DEFE048F86E}"/>
                </a:ext>
              </a:extLst>
            </p:cNvPr>
            <p:cNvSpPr/>
            <p:nvPr/>
          </p:nvSpPr>
          <p:spPr>
            <a:xfrm>
              <a:off x="5113770"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rgbClr val="2167AE"/>
                  </a:solidFill>
                </a:rPr>
                <a:t>Standortebene</a:t>
              </a:r>
            </a:p>
          </p:txBody>
        </p:sp>
        <p:sp>
          <p:nvSpPr>
            <p:cNvPr id="18" name="Rounded Rectangle 17">
              <a:extLst>
                <a:ext uri="{FF2B5EF4-FFF2-40B4-BE49-F238E27FC236}">
                  <a16:creationId xmlns:a16="http://schemas.microsoft.com/office/drawing/2014/main" id="{2750EE0C-89AE-7EAC-A0AF-738C8B48FA59}"/>
                </a:ext>
              </a:extLst>
            </p:cNvPr>
            <p:cNvSpPr/>
            <p:nvPr/>
          </p:nvSpPr>
          <p:spPr>
            <a:xfrm>
              <a:off x="6732879"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Quantifizierung</a:t>
              </a:r>
            </a:p>
          </p:txBody>
        </p:sp>
        <p:sp>
          <p:nvSpPr>
            <p:cNvPr id="36" name="Rounded Rectangle 18">
              <a:extLst>
                <a:ext uri="{FF2B5EF4-FFF2-40B4-BE49-F238E27FC236}">
                  <a16:creationId xmlns:a16="http://schemas.microsoft.com/office/drawing/2014/main" id="{CA87CA22-AB15-77B2-AFFD-C003CCAAB4B9}"/>
                </a:ext>
              </a:extLst>
            </p:cNvPr>
            <p:cNvSpPr/>
            <p:nvPr/>
          </p:nvSpPr>
          <p:spPr>
            <a:xfrm>
              <a:off x="8355125"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Adaption</a:t>
              </a:r>
            </a:p>
          </p:txBody>
        </p:sp>
      </p:grpSp>
      <p:sp>
        <p:nvSpPr>
          <p:cNvPr id="38" name="Foliennummernplatzhalter 4">
            <a:extLst>
              <a:ext uri="{FF2B5EF4-FFF2-40B4-BE49-F238E27FC236}">
                <a16:creationId xmlns:a16="http://schemas.microsoft.com/office/drawing/2014/main" id="{D1A7162F-D927-7490-4F1E-4F74CE1DCDA3}"/>
              </a:ext>
            </a:extLst>
          </p:cNvPr>
          <p:cNvSpPr>
            <a:spLocks noGrp="1"/>
          </p:cNvSpPr>
          <p:nvPr>
            <p:ph type="sldNum" sz="quarter" idx="4"/>
          </p:nvPr>
        </p:nvSpPr>
        <p:spPr>
          <a:xfrm>
            <a:off x="10733088" y="6530942"/>
            <a:ext cx="551115" cy="181960"/>
          </a:xfrm>
        </p:spPr>
        <p:txBody>
          <a:bodyPr/>
          <a:lstStyle/>
          <a:p>
            <a:fld id="{FA58F0B4-6BC7-4BFB-804F-EE9B892902C7}" type="slidenum">
              <a:rPr lang="en-US" smtClean="0"/>
              <a:pPr/>
              <a:t>21</a:t>
            </a:fld>
            <a:endParaRPr lang="en-US"/>
          </a:p>
        </p:txBody>
      </p:sp>
    </p:spTree>
    <p:extLst>
      <p:ext uri="{BB962C8B-B14F-4D97-AF65-F5344CB8AC3E}">
        <p14:creationId xmlns:p14="http://schemas.microsoft.com/office/powerpoint/2010/main" val="20137354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9" name="Freeform 48">
            <a:extLst>
              <a:ext uri="{FF2B5EF4-FFF2-40B4-BE49-F238E27FC236}">
                <a16:creationId xmlns:a16="http://schemas.microsoft.com/office/drawing/2014/main" id="{5F3631D6-8933-0944-7E45-038E96EB64CB}"/>
              </a:ext>
            </a:extLst>
          </p:cNvPr>
          <p:cNvSpPr>
            <a:spLocks noGrp="1" noRot="1" noMove="1" noResize="1" noEditPoints="1" noAdjustHandles="1" noChangeArrowheads="1" noChangeShapeType="1"/>
          </p:cNvSpPr>
          <p:nvPr/>
        </p:nvSpPr>
        <p:spPr>
          <a:xfrm>
            <a:off x="0" y="1443473"/>
            <a:ext cx="12192000" cy="5423405"/>
          </a:xfrm>
          <a:custGeom>
            <a:avLst/>
            <a:gdLst>
              <a:gd name="connsiteX0" fmla="*/ 5564829 w 12192000"/>
              <a:gd name="connsiteY0" fmla="*/ 0 h 5423405"/>
              <a:gd name="connsiteX1" fmla="*/ 6121117 w 12192000"/>
              <a:gd name="connsiteY1" fmla="*/ 0 h 5423405"/>
              <a:gd name="connsiteX2" fmla="*/ 6121117 w 12192000"/>
              <a:gd name="connsiteY2" fmla="*/ 0 h 5423405"/>
              <a:gd name="connsiteX3" fmla="*/ 12192000 w 12192000"/>
              <a:gd name="connsiteY3" fmla="*/ 0 h 5423405"/>
              <a:gd name="connsiteX4" fmla="*/ 12192000 w 12192000"/>
              <a:gd name="connsiteY4" fmla="*/ 5423405 h 5423405"/>
              <a:gd name="connsiteX5" fmla="*/ 6121117 w 12192000"/>
              <a:gd name="connsiteY5" fmla="*/ 5423405 h 5423405"/>
              <a:gd name="connsiteX6" fmla="*/ 5694781 w 12192000"/>
              <a:gd name="connsiteY6" fmla="*/ 5423405 h 5423405"/>
              <a:gd name="connsiteX7" fmla="*/ 5564829 w 12192000"/>
              <a:gd name="connsiteY7" fmla="*/ 5423405 h 5423405"/>
              <a:gd name="connsiteX8" fmla="*/ 0 w 12192000"/>
              <a:gd name="connsiteY8" fmla="*/ 5423405 h 5423405"/>
              <a:gd name="connsiteX9" fmla="*/ 0 w 12192000"/>
              <a:gd name="connsiteY9" fmla="*/ 0 h 5423405"/>
              <a:gd name="connsiteX10" fmla="*/ 5564829 w 12192000"/>
              <a:gd name="connsiteY10" fmla="*/ 0 h 5423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5423405">
                <a:moveTo>
                  <a:pt x="5564829" y="0"/>
                </a:moveTo>
                <a:lnTo>
                  <a:pt x="6121117" y="0"/>
                </a:lnTo>
                <a:lnTo>
                  <a:pt x="6121117" y="0"/>
                </a:lnTo>
                <a:lnTo>
                  <a:pt x="12192000" y="0"/>
                </a:lnTo>
                <a:lnTo>
                  <a:pt x="12192000" y="5423405"/>
                </a:lnTo>
                <a:lnTo>
                  <a:pt x="6121117" y="5423405"/>
                </a:lnTo>
                <a:lnTo>
                  <a:pt x="5694781" y="5423405"/>
                </a:lnTo>
                <a:lnTo>
                  <a:pt x="5564829" y="5423405"/>
                </a:lnTo>
                <a:lnTo>
                  <a:pt x="0" y="5423405"/>
                </a:lnTo>
                <a:lnTo>
                  <a:pt x="0" y="0"/>
                </a:lnTo>
                <a:lnTo>
                  <a:pt x="556482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ES" sz="1000" b="0" i="0" u="none" strike="noStrike" kern="1200" cap="none" spc="0" normalizeH="0" baseline="0" noProof="0">
              <a:ln>
                <a:noFill/>
              </a:ln>
              <a:solidFill>
                <a:srgbClr val="FFFFFF"/>
              </a:solidFill>
              <a:effectLst/>
              <a:uLnTx/>
              <a:uFillTx/>
              <a:latin typeface="Zurich Sans Light"/>
              <a:ea typeface="+mn-ea"/>
              <a:cs typeface="+mn-cs"/>
            </a:endParaRPr>
          </a:p>
        </p:txBody>
      </p:sp>
      <p:grpSp>
        <p:nvGrpSpPr>
          <p:cNvPr id="3" name="Group 2">
            <a:extLst>
              <a:ext uri="{FF2B5EF4-FFF2-40B4-BE49-F238E27FC236}">
                <a16:creationId xmlns:a16="http://schemas.microsoft.com/office/drawing/2014/main" id="{EB5AF455-B66E-1C11-E7B3-655C8256C8A1}"/>
              </a:ext>
            </a:extLst>
          </p:cNvPr>
          <p:cNvGrpSpPr/>
          <p:nvPr/>
        </p:nvGrpSpPr>
        <p:grpSpPr>
          <a:xfrm>
            <a:off x="135639" y="2651541"/>
            <a:ext cx="6089923" cy="4215338"/>
            <a:chOff x="3141788" y="1716111"/>
            <a:chExt cx="7286228" cy="5043400"/>
          </a:xfrm>
        </p:grpSpPr>
        <p:pic>
          <p:nvPicPr>
            <p:cNvPr id="8" name="Picture 7" descr="A computer monitor with a blank screen&#10;&#10;Description automatically generated">
              <a:extLst>
                <a:ext uri="{FF2B5EF4-FFF2-40B4-BE49-F238E27FC236}">
                  <a16:creationId xmlns:a16="http://schemas.microsoft.com/office/drawing/2014/main" id="{0BEC97D0-3C1F-0855-E470-568661CBFAAB}"/>
                </a:ext>
              </a:extLst>
            </p:cNvPr>
            <p:cNvPicPr>
              <a:picLocks noChangeAspect="1"/>
            </p:cNvPicPr>
            <p:nvPr/>
          </p:nvPicPr>
          <p:blipFill rotWithShape="1">
            <a:blip r:embed="rId3">
              <a:extLst>
                <a:ext uri="{28A0092B-C50C-407E-A947-70E740481C1C}">
                  <a14:useLocalDpi xmlns:a14="http://schemas.microsoft.com/office/drawing/2010/main" val="0"/>
                </a:ext>
              </a:extLst>
            </a:blip>
            <a:srcRect l="125" t="12332" r="-125" b="18449"/>
            <a:stretch/>
          </p:blipFill>
          <p:spPr>
            <a:xfrm>
              <a:off x="3141788" y="1716111"/>
              <a:ext cx="7286228" cy="5043400"/>
            </a:xfrm>
            <a:prstGeom prst="rect">
              <a:avLst/>
            </a:prstGeom>
          </p:spPr>
        </p:pic>
        <p:sp>
          <p:nvSpPr>
            <p:cNvPr id="10" name="Rectangle 9">
              <a:extLst>
                <a:ext uri="{FF2B5EF4-FFF2-40B4-BE49-F238E27FC236}">
                  <a16:creationId xmlns:a16="http://schemas.microsoft.com/office/drawing/2014/main" id="{99B534D4-32EC-5DC9-D6B1-BA2A6C234A8E}"/>
                </a:ext>
              </a:extLst>
            </p:cNvPr>
            <p:cNvSpPr/>
            <p:nvPr/>
          </p:nvSpPr>
          <p:spPr>
            <a:xfrm>
              <a:off x="3739941" y="1954059"/>
              <a:ext cx="6110443" cy="346046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Zurich Sans Light"/>
                  <a:ea typeface="+mn-ea"/>
                  <a:cs typeface="+mn-cs"/>
                </a:rPr>
                <a:t>  </a:t>
              </a:r>
            </a:p>
          </p:txBody>
        </p:sp>
      </p:grpSp>
      <p:sp>
        <p:nvSpPr>
          <p:cNvPr id="43" name="Rectangle 42">
            <a:extLst>
              <a:ext uri="{FF2B5EF4-FFF2-40B4-BE49-F238E27FC236}">
                <a16:creationId xmlns:a16="http://schemas.microsoft.com/office/drawing/2014/main" id="{7A9536DE-35DC-D2D2-66DF-3EDF5B0562A8}"/>
              </a:ext>
            </a:extLst>
          </p:cNvPr>
          <p:cNvSpPr/>
          <p:nvPr/>
        </p:nvSpPr>
        <p:spPr>
          <a:xfrm>
            <a:off x="328791" y="1221090"/>
            <a:ext cx="6089923" cy="12396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360000" bIns="108000" rtlCol="0" anchor="t"/>
          <a:lstStyle/>
          <a:p>
            <a:pPr marL="88900" marR="0" lvl="0" indent="0" algn="l" defTabSz="914400" rtl="0" eaLnBrk="1" fontAlgn="auto" latinLnBrk="0" hangingPunct="1">
              <a:lnSpc>
                <a:spcPct val="100000"/>
              </a:lnSpc>
              <a:spcBef>
                <a:spcPts val="600"/>
              </a:spcBef>
              <a:spcAft>
                <a:spcPts val="600"/>
              </a:spcAft>
              <a:buClrTx/>
              <a:buSzTx/>
              <a:buFontTx/>
              <a:buNone/>
              <a:tabLst/>
              <a:defRPr/>
            </a:pPr>
            <a:br>
              <a:rPr kumimoji="0" lang="de-DE" sz="1200" b="1" i="0" u="none" strike="noStrike" kern="1200" cap="none" spc="0" normalizeH="0" baseline="0">
                <a:ln>
                  <a:noFill/>
                </a:ln>
                <a:solidFill>
                  <a:srgbClr val="2167AE"/>
                </a:solidFill>
                <a:effectLst/>
                <a:uLnTx/>
                <a:uFillTx/>
                <a:latin typeface="Zurich Sans Medium"/>
                <a:ea typeface="+mn-ea"/>
                <a:cs typeface="+mn-cs"/>
              </a:rPr>
            </a:br>
            <a:r>
              <a:rPr kumimoji="0" lang="de-DE" sz="1400" b="1" i="0" u="none" strike="noStrike" kern="1200" cap="none" spc="0" normalizeH="0" baseline="0">
                <a:ln>
                  <a:noFill/>
                </a:ln>
                <a:solidFill>
                  <a:srgbClr val="2167AE"/>
                </a:solidFill>
                <a:effectLst/>
                <a:uLnTx/>
                <a:uFillTx/>
                <a:latin typeface="Zurich Sans Medium"/>
                <a:ea typeface="+mn-ea"/>
                <a:cs typeface="+mn-cs"/>
              </a:rPr>
              <a:t>Risikokarte für Einzelgefahren</a:t>
            </a:r>
          </a:p>
          <a:p>
            <a:pPr marL="88900" marR="0" lvl="1" indent="0" algn="l" defTabSz="914400" rtl="0" eaLnBrk="1" fontAlgn="auto" latinLnBrk="0" hangingPunct="1">
              <a:lnSpc>
                <a:spcPct val="100000"/>
              </a:lnSpc>
              <a:spcBef>
                <a:spcPts val="600"/>
              </a:spcBef>
              <a:spcAft>
                <a:spcPts val="0"/>
              </a:spcAft>
              <a:buClrTx/>
              <a:buSzTx/>
              <a:buFontTx/>
              <a:buNone/>
              <a:tabLst/>
              <a:defRPr/>
            </a:pPr>
            <a:r>
              <a:rPr kumimoji="0" lang="de-DE" sz="1200" b="0" i="0" u="none" strike="noStrike" kern="1200" cap="none" spc="0" normalizeH="0" baseline="0">
                <a:ln>
                  <a:noFill/>
                </a:ln>
                <a:solidFill>
                  <a:srgbClr val="2167AE"/>
                </a:solidFill>
                <a:effectLst/>
                <a:uLnTx/>
                <a:uFillTx/>
                <a:latin typeface="Zurich Sans Light"/>
                <a:ea typeface="+mn-ea"/>
                <a:cs typeface="+mn-cs"/>
              </a:rPr>
              <a:t>Ein Überblick über die Kritikalität des Kunden (Gefährdungsmaß) gegenüber einzelnen Naturgefahren über verschiedene Zeithorizonte und Szenarien. Ermöglicht einen Deep Dive in jede der relevanten Gefahren in der Analyse.</a:t>
            </a:r>
          </a:p>
        </p:txBody>
      </p:sp>
      <p:sp>
        <p:nvSpPr>
          <p:cNvPr id="50" name="Rectangle 49">
            <a:extLst>
              <a:ext uri="{FF2B5EF4-FFF2-40B4-BE49-F238E27FC236}">
                <a16:creationId xmlns:a16="http://schemas.microsoft.com/office/drawing/2014/main" id="{193D5FA0-4A11-6FE6-AA9B-BC8F6C6C6149}"/>
              </a:ext>
            </a:extLst>
          </p:cNvPr>
          <p:cNvSpPr/>
          <p:nvPr/>
        </p:nvSpPr>
        <p:spPr>
          <a:xfrm>
            <a:off x="6096000" y="1184978"/>
            <a:ext cx="6291390" cy="13026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360000" bIns="108000" rtlCol="0" anchor="t"/>
          <a:lstStyle/>
          <a:p>
            <a:pPr marL="88900" marR="0" lvl="0" indent="0" algn="l" defTabSz="914400" rtl="0" eaLnBrk="1" fontAlgn="auto" latinLnBrk="0" hangingPunct="1">
              <a:lnSpc>
                <a:spcPct val="100000"/>
              </a:lnSpc>
              <a:spcBef>
                <a:spcPts val="600"/>
              </a:spcBef>
              <a:spcAft>
                <a:spcPts val="600"/>
              </a:spcAft>
              <a:buClrTx/>
              <a:buSzTx/>
              <a:buFontTx/>
              <a:buNone/>
              <a:tabLst/>
              <a:defRPr/>
            </a:pPr>
            <a:br>
              <a:rPr kumimoji="0" lang="de-DE" sz="1400" b="1" i="0" u="none" strike="noStrike" kern="1200" cap="none" spc="0" normalizeH="0" baseline="0">
                <a:ln>
                  <a:noFill/>
                </a:ln>
                <a:solidFill>
                  <a:srgbClr val="2167AE"/>
                </a:solidFill>
                <a:effectLst/>
                <a:uLnTx/>
                <a:uFillTx/>
                <a:latin typeface="Zurich Sans Medium"/>
                <a:ea typeface="+mn-ea"/>
                <a:cs typeface="+mn-cs"/>
              </a:rPr>
            </a:br>
            <a:r>
              <a:rPr kumimoji="0" lang="de-DE" sz="1400" b="1" i="0" u="none" strike="noStrike" kern="1200" cap="none" spc="0" normalizeH="0" baseline="0">
                <a:ln>
                  <a:noFill/>
                </a:ln>
                <a:solidFill>
                  <a:srgbClr val="2167AE"/>
                </a:solidFill>
                <a:effectLst/>
                <a:uLnTx/>
                <a:uFillTx/>
                <a:latin typeface="Zurich Sans Medium"/>
                <a:ea typeface="+mn-ea"/>
                <a:cs typeface="+mn-cs"/>
              </a:rPr>
              <a:t>Multi-Naturgefahren-Risikokarte</a:t>
            </a:r>
          </a:p>
          <a:p>
            <a:pPr marL="88900" marR="0" lvl="1" indent="0" algn="l" defTabSz="914400" rtl="0" eaLnBrk="1" fontAlgn="auto" latinLnBrk="0" hangingPunct="1">
              <a:lnSpc>
                <a:spcPct val="100000"/>
              </a:lnSpc>
              <a:spcBef>
                <a:spcPts val="600"/>
              </a:spcBef>
              <a:spcAft>
                <a:spcPts val="0"/>
              </a:spcAft>
              <a:buClrTx/>
              <a:buSzTx/>
              <a:buFontTx/>
              <a:buNone/>
              <a:tabLst/>
              <a:defRPr/>
            </a:pPr>
            <a:r>
              <a:rPr kumimoji="0" lang="de-DE" sz="1200" b="0" i="0" u="none" strike="noStrike" kern="1200" cap="none" spc="0" normalizeH="0" baseline="0">
                <a:ln>
                  <a:noFill/>
                </a:ln>
                <a:solidFill>
                  <a:srgbClr val="2167AE"/>
                </a:solidFill>
                <a:effectLst/>
                <a:uLnTx/>
                <a:uFillTx/>
                <a:latin typeface="Zurich Sans Light"/>
                <a:ea typeface="+mn-ea"/>
                <a:cs typeface="+mn-cs"/>
              </a:rPr>
              <a:t>Eine Ansicht der kritischen Punkte des Kunden (Gefährdungsmaß) gegenüber einer Kombination von  definierten Gefahren, über variable Zeithorizonte und Szenarien. Ermöglicht eine ganzheitliche Betrachtung der kritischen Punkte, die dem Klimarisiko ausgesetzt sind und hilft bei der Priorisierung von Klimaanpassungsmaßnahmen.</a:t>
            </a:r>
          </a:p>
        </p:txBody>
      </p:sp>
      <p:grpSp>
        <p:nvGrpSpPr>
          <p:cNvPr id="13" name="Group 12">
            <a:extLst>
              <a:ext uri="{FF2B5EF4-FFF2-40B4-BE49-F238E27FC236}">
                <a16:creationId xmlns:a16="http://schemas.microsoft.com/office/drawing/2014/main" id="{3BFC6705-46FD-8FC0-BE7E-3AA712CE1537}"/>
              </a:ext>
            </a:extLst>
          </p:cNvPr>
          <p:cNvGrpSpPr/>
          <p:nvPr/>
        </p:nvGrpSpPr>
        <p:grpSpPr>
          <a:xfrm>
            <a:off x="5966438" y="2642662"/>
            <a:ext cx="6089923" cy="4215338"/>
            <a:chOff x="3141788" y="1716111"/>
            <a:chExt cx="7286228" cy="5043400"/>
          </a:xfrm>
        </p:grpSpPr>
        <p:pic>
          <p:nvPicPr>
            <p:cNvPr id="16" name="Picture 15" descr="A computer monitor with a blank screen&#10;&#10;Description automatically generated">
              <a:extLst>
                <a:ext uri="{FF2B5EF4-FFF2-40B4-BE49-F238E27FC236}">
                  <a16:creationId xmlns:a16="http://schemas.microsoft.com/office/drawing/2014/main" id="{27FA2856-F89D-C62E-EE8F-686EED988104}"/>
                </a:ext>
              </a:extLst>
            </p:cNvPr>
            <p:cNvPicPr>
              <a:picLocks noChangeAspect="1"/>
            </p:cNvPicPr>
            <p:nvPr/>
          </p:nvPicPr>
          <p:blipFill rotWithShape="1">
            <a:blip r:embed="rId3">
              <a:extLst>
                <a:ext uri="{28A0092B-C50C-407E-A947-70E740481C1C}">
                  <a14:useLocalDpi xmlns:a14="http://schemas.microsoft.com/office/drawing/2010/main" val="0"/>
                </a:ext>
              </a:extLst>
            </a:blip>
            <a:srcRect l="125" t="12332" r="-125" b="18449"/>
            <a:stretch/>
          </p:blipFill>
          <p:spPr>
            <a:xfrm>
              <a:off x="3141788" y="1716111"/>
              <a:ext cx="7286228" cy="5043400"/>
            </a:xfrm>
            <a:prstGeom prst="rect">
              <a:avLst/>
            </a:prstGeom>
          </p:spPr>
        </p:pic>
        <p:sp>
          <p:nvSpPr>
            <p:cNvPr id="17" name="Rectangle 16">
              <a:extLst>
                <a:ext uri="{FF2B5EF4-FFF2-40B4-BE49-F238E27FC236}">
                  <a16:creationId xmlns:a16="http://schemas.microsoft.com/office/drawing/2014/main" id="{B92AA30D-9E3E-7A1B-D76F-A7A5B9D1EA08}"/>
                </a:ext>
              </a:extLst>
            </p:cNvPr>
            <p:cNvSpPr/>
            <p:nvPr/>
          </p:nvSpPr>
          <p:spPr>
            <a:xfrm>
              <a:off x="3739941" y="1954059"/>
              <a:ext cx="6110443" cy="346046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Zurich Sans Light"/>
                  <a:ea typeface="+mn-ea"/>
                  <a:cs typeface="+mn-cs"/>
                </a:rPr>
                <a:t>  </a:t>
              </a:r>
            </a:p>
          </p:txBody>
        </p:sp>
      </p:grpSp>
      <p:sp>
        <p:nvSpPr>
          <p:cNvPr id="39" name="TextBox 38">
            <a:extLst>
              <a:ext uri="{FF2B5EF4-FFF2-40B4-BE49-F238E27FC236}">
                <a16:creationId xmlns:a16="http://schemas.microsoft.com/office/drawing/2014/main" id="{3B1F1D15-FE1E-02E2-DE16-F002C5245FDB}"/>
              </a:ext>
            </a:extLst>
          </p:cNvPr>
          <p:cNvSpPr txBox="1"/>
          <p:nvPr/>
        </p:nvSpPr>
        <p:spPr>
          <a:xfrm>
            <a:off x="11158232" y="6548969"/>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67AE"/>
                </a:solidFill>
                <a:effectLst/>
                <a:uLnTx/>
                <a:uFillTx/>
                <a:latin typeface="Zurich Sans Light"/>
                <a:ea typeface="+mn-ea"/>
                <a:cs typeface="+mn-cs"/>
              </a:rPr>
              <a:t>© Zurich</a:t>
            </a:r>
          </a:p>
        </p:txBody>
      </p:sp>
      <p:pic>
        <p:nvPicPr>
          <p:cNvPr id="15" name="Grafik 14">
            <a:extLst>
              <a:ext uri="{FF2B5EF4-FFF2-40B4-BE49-F238E27FC236}">
                <a16:creationId xmlns:a16="http://schemas.microsoft.com/office/drawing/2014/main" id="{E07CBB93-F97E-F9CD-782F-19A8E17504A6}"/>
              </a:ext>
            </a:extLst>
          </p:cNvPr>
          <p:cNvPicPr>
            <a:picLocks noChangeAspect="1"/>
          </p:cNvPicPr>
          <p:nvPr/>
        </p:nvPicPr>
        <p:blipFill>
          <a:blip r:embed="rId4"/>
          <a:stretch>
            <a:fillRect/>
          </a:stretch>
        </p:blipFill>
        <p:spPr>
          <a:xfrm>
            <a:off x="631895" y="2933007"/>
            <a:ext cx="4723032" cy="2791108"/>
          </a:xfrm>
          <a:prstGeom prst="rect">
            <a:avLst/>
          </a:prstGeom>
        </p:spPr>
      </p:pic>
      <p:pic>
        <p:nvPicPr>
          <p:cNvPr id="22" name="Grafik 21">
            <a:extLst>
              <a:ext uri="{FF2B5EF4-FFF2-40B4-BE49-F238E27FC236}">
                <a16:creationId xmlns:a16="http://schemas.microsoft.com/office/drawing/2014/main" id="{A937831D-371C-85A0-0ADF-5237B7A10D18}"/>
              </a:ext>
            </a:extLst>
          </p:cNvPr>
          <p:cNvPicPr>
            <a:picLocks noChangeAspect="1"/>
          </p:cNvPicPr>
          <p:nvPr/>
        </p:nvPicPr>
        <p:blipFill>
          <a:blip r:embed="rId5"/>
          <a:stretch>
            <a:fillRect/>
          </a:stretch>
        </p:blipFill>
        <p:spPr>
          <a:xfrm>
            <a:off x="6540338" y="2871362"/>
            <a:ext cx="5037767" cy="2850420"/>
          </a:xfrm>
          <a:prstGeom prst="rect">
            <a:avLst/>
          </a:prstGeom>
        </p:spPr>
      </p:pic>
      <p:sp>
        <p:nvSpPr>
          <p:cNvPr id="4" name="TextBox 57">
            <a:extLst>
              <a:ext uri="{FF2B5EF4-FFF2-40B4-BE49-F238E27FC236}">
                <a16:creationId xmlns:a16="http://schemas.microsoft.com/office/drawing/2014/main" id="{CEA85BC0-F935-08A1-D850-FE11C34FDB10}"/>
              </a:ext>
            </a:extLst>
          </p:cNvPr>
          <p:cNvSpPr txBox="1"/>
          <p:nvPr/>
        </p:nvSpPr>
        <p:spPr>
          <a:xfrm>
            <a:off x="328791" y="807940"/>
            <a:ext cx="11656387" cy="11387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dirty="0">
                <a:ln>
                  <a:noFill/>
                </a:ln>
                <a:solidFill>
                  <a:srgbClr val="2167AE"/>
                </a:solidFill>
                <a:effectLst/>
                <a:uLnTx/>
                <a:uFillTx/>
                <a:latin typeface="Zurich Sans Light" panose="02000000000000000000" pitchFamily="2" charset="0"/>
                <a:ea typeface="+mn-ea"/>
                <a:cs typeface="+mn-cs"/>
              </a:rPr>
              <a:t>Maßgeschneiderte Ranking-Methodi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dirty="0">
                <a:ln>
                  <a:noFill/>
                </a:ln>
                <a:solidFill>
                  <a:srgbClr val="2167AE"/>
                </a:solidFill>
                <a:effectLst/>
                <a:uLnTx/>
                <a:uFillTx/>
                <a:latin typeface="Zurich Sans Light" panose="02000000000000000000" pitchFamily="2" charset="0"/>
                <a:ea typeface="+mn-ea"/>
                <a:cs typeface="+mn-cs"/>
              </a:rPr>
              <a:t>Risikobetrachtungen zur Priorisierung von Standorten und zum Handeln</a:t>
            </a:r>
            <a:endParaRPr kumimoji="0" lang="de-DE" sz="2000" b="0" i="0" u="none" strike="noStrike" kern="1200" cap="none" spc="0" normalizeH="0" baseline="0" dirty="0">
              <a:ln>
                <a:noFill/>
              </a:ln>
              <a:solidFill>
                <a:srgbClr val="2167AE"/>
              </a:solidFill>
              <a:effectLst/>
              <a:uLnTx/>
              <a:uFillTx/>
              <a:latin typeface="Zurich Sans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dirty="0">
              <a:ln>
                <a:noFill/>
              </a:ln>
              <a:solidFill>
                <a:srgbClr val="2167AE"/>
              </a:solidFill>
              <a:effectLst/>
              <a:uLnTx/>
              <a:uFillTx/>
              <a:latin typeface="Zurich Sans Light" panose="02000000000000000000" pitchFamily="2" charset="0"/>
              <a:ea typeface="+mn-ea"/>
              <a:cs typeface="+mn-cs"/>
            </a:endParaRPr>
          </a:p>
        </p:txBody>
      </p:sp>
      <p:grpSp>
        <p:nvGrpSpPr>
          <p:cNvPr id="11" name="Group 1">
            <a:extLst>
              <a:ext uri="{FF2B5EF4-FFF2-40B4-BE49-F238E27FC236}">
                <a16:creationId xmlns:a16="http://schemas.microsoft.com/office/drawing/2014/main" id="{8021906A-050B-B407-5358-D9285A163730}"/>
              </a:ext>
            </a:extLst>
          </p:cNvPr>
          <p:cNvGrpSpPr/>
          <p:nvPr/>
        </p:nvGrpSpPr>
        <p:grpSpPr>
          <a:xfrm>
            <a:off x="250823" y="289004"/>
            <a:ext cx="9724302" cy="320056"/>
            <a:chOff x="250823" y="289004"/>
            <a:chExt cx="9724302" cy="320056"/>
          </a:xfrm>
        </p:grpSpPr>
        <p:sp>
          <p:nvSpPr>
            <p:cNvPr id="20" name="Rounded Rectangle 5">
              <a:extLst>
                <a:ext uri="{FF2B5EF4-FFF2-40B4-BE49-F238E27FC236}">
                  <a16:creationId xmlns:a16="http://schemas.microsoft.com/office/drawing/2014/main" id="{3F4E2B77-ABB7-9D68-F01B-50927ACB14DF}"/>
                </a:ext>
              </a:extLst>
            </p:cNvPr>
            <p:cNvSpPr/>
            <p:nvPr/>
          </p:nvSpPr>
          <p:spPr>
            <a:xfrm>
              <a:off x="250823" y="289004"/>
              <a:ext cx="1620000" cy="32005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chemeClr val="accent5"/>
                  </a:solidFill>
                </a:rPr>
                <a:t>Portfolioebene</a:t>
              </a:r>
            </a:p>
          </p:txBody>
        </p:sp>
        <p:sp>
          <p:nvSpPr>
            <p:cNvPr id="21" name="Rounded Rectangle 6">
              <a:extLst>
                <a:ext uri="{FF2B5EF4-FFF2-40B4-BE49-F238E27FC236}">
                  <a16:creationId xmlns:a16="http://schemas.microsoft.com/office/drawing/2014/main" id="{5E3DBC18-9A52-3A2E-F8A7-48D122BA0668}"/>
                </a:ext>
              </a:extLst>
            </p:cNvPr>
            <p:cNvSpPr/>
            <p:nvPr/>
          </p:nvSpPr>
          <p:spPr>
            <a:xfrm>
              <a:off x="1873116" y="289004"/>
              <a:ext cx="1620000" cy="320056"/>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Identifikation</a:t>
              </a:r>
            </a:p>
          </p:txBody>
        </p:sp>
        <p:sp>
          <p:nvSpPr>
            <p:cNvPr id="23" name="Rounded Rectangle 11">
              <a:extLst>
                <a:ext uri="{FF2B5EF4-FFF2-40B4-BE49-F238E27FC236}">
                  <a16:creationId xmlns:a16="http://schemas.microsoft.com/office/drawing/2014/main" id="{738A13C7-B4BD-0A85-B681-A6335587AB70}"/>
                </a:ext>
              </a:extLst>
            </p:cNvPr>
            <p:cNvSpPr/>
            <p:nvPr/>
          </p:nvSpPr>
          <p:spPr>
            <a:xfrm>
              <a:off x="3493601" y="289004"/>
              <a:ext cx="1620000" cy="32005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5"/>
                  </a:solidFill>
                </a:rPr>
                <a:t>Priorisierung</a:t>
              </a:r>
            </a:p>
          </p:txBody>
        </p:sp>
        <p:sp>
          <p:nvSpPr>
            <p:cNvPr id="24" name="Rounded Rectangle 13">
              <a:extLst>
                <a:ext uri="{FF2B5EF4-FFF2-40B4-BE49-F238E27FC236}">
                  <a16:creationId xmlns:a16="http://schemas.microsoft.com/office/drawing/2014/main" id="{3328A71C-85BE-B2E7-D18C-ED1A0064468F}"/>
                </a:ext>
              </a:extLst>
            </p:cNvPr>
            <p:cNvSpPr/>
            <p:nvPr/>
          </p:nvSpPr>
          <p:spPr>
            <a:xfrm>
              <a:off x="5113770"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rgbClr val="2167AE"/>
                  </a:solidFill>
                </a:rPr>
                <a:t>Standortebene</a:t>
              </a:r>
            </a:p>
          </p:txBody>
        </p:sp>
        <p:sp>
          <p:nvSpPr>
            <p:cNvPr id="25" name="Rounded Rectangle 17">
              <a:extLst>
                <a:ext uri="{FF2B5EF4-FFF2-40B4-BE49-F238E27FC236}">
                  <a16:creationId xmlns:a16="http://schemas.microsoft.com/office/drawing/2014/main" id="{8AA89CDE-4C12-AE2A-A45A-29D58DD7B717}"/>
                </a:ext>
              </a:extLst>
            </p:cNvPr>
            <p:cNvSpPr/>
            <p:nvPr/>
          </p:nvSpPr>
          <p:spPr>
            <a:xfrm>
              <a:off x="6732879"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Quantifizierung</a:t>
              </a:r>
            </a:p>
          </p:txBody>
        </p:sp>
        <p:sp>
          <p:nvSpPr>
            <p:cNvPr id="26" name="Rounded Rectangle 18">
              <a:extLst>
                <a:ext uri="{FF2B5EF4-FFF2-40B4-BE49-F238E27FC236}">
                  <a16:creationId xmlns:a16="http://schemas.microsoft.com/office/drawing/2014/main" id="{548A4E01-4481-1136-1B00-A7593BE541B1}"/>
                </a:ext>
              </a:extLst>
            </p:cNvPr>
            <p:cNvSpPr/>
            <p:nvPr/>
          </p:nvSpPr>
          <p:spPr>
            <a:xfrm>
              <a:off x="8355125"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Adaption</a:t>
              </a:r>
            </a:p>
          </p:txBody>
        </p:sp>
      </p:grpSp>
      <p:sp>
        <p:nvSpPr>
          <p:cNvPr id="2" name="Foliennummernplatzhalter 1">
            <a:extLst>
              <a:ext uri="{FF2B5EF4-FFF2-40B4-BE49-F238E27FC236}">
                <a16:creationId xmlns:a16="http://schemas.microsoft.com/office/drawing/2014/main" id="{4E840322-1582-49CE-E71E-85E1C3F9AF8F}"/>
              </a:ext>
            </a:extLst>
          </p:cNvPr>
          <p:cNvSpPr>
            <a:spLocks noGrp="1"/>
          </p:cNvSpPr>
          <p:nvPr>
            <p:ph type="sldNum" sz="quarter" idx="16"/>
          </p:nvPr>
        </p:nvSpPr>
        <p:spPr>
          <a:xfrm>
            <a:off x="10959440" y="6527871"/>
            <a:ext cx="359953" cy="180693"/>
          </a:xfrm>
        </p:spPr>
        <p:txBody>
          <a:bodyPr/>
          <a:lstStyle/>
          <a:p>
            <a:fld id="{389075F7-7510-4B87-94F8-2C8610BEE4CA}" type="slidenum">
              <a:rPr lang="en-US" smtClean="0"/>
              <a:pPr/>
              <a:t>22</a:t>
            </a:fld>
            <a:endParaRPr lang="en-US"/>
          </a:p>
        </p:txBody>
      </p:sp>
    </p:spTree>
    <p:extLst>
      <p:ext uri="{BB962C8B-B14F-4D97-AF65-F5344CB8AC3E}">
        <p14:creationId xmlns:p14="http://schemas.microsoft.com/office/powerpoint/2010/main" val="28035110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782C7CF5-1584-9C2E-E74A-82514CDF59F6}"/>
              </a:ext>
            </a:extLst>
          </p:cNvPr>
          <p:cNvGrpSpPr/>
          <p:nvPr/>
        </p:nvGrpSpPr>
        <p:grpSpPr>
          <a:xfrm>
            <a:off x="426287" y="1943073"/>
            <a:ext cx="8024193" cy="4189464"/>
            <a:chOff x="442913" y="1793173"/>
            <a:chExt cx="8024193" cy="4189464"/>
          </a:xfrm>
          <a:solidFill>
            <a:schemeClr val="accent2"/>
          </a:solidFill>
        </p:grpSpPr>
        <p:sp>
          <p:nvSpPr>
            <p:cNvPr id="5" name="Rounded Rectangle 4">
              <a:extLst>
                <a:ext uri="{FF2B5EF4-FFF2-40B4-BE49-F238E27FC236}">
                  <a16:creationId xmlns:a16="http://schemas.microsoft.com/office/drawing/2014/main" id="{ADE93AF4-C27D-7DC0-20F4-95C3D0222D85}"/>
                </a:ext>
              </a:extLst>
            </p:cNvPr>
            <p:cNvSpPr/>
            <p:nvPr/>
          </p:nvSpPr>
          <p:spPr>
            <a:xfrm>
              <a:off x="442913" y="1793173"/>
              <a:ext cx="8024193" cy="55814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a:ln>
                  <a:noFill/>
                </a:ln>
                <a:solidFill>
                  <a:srgbClr val="FFFFFF"/>
                </a:solidFill>
                <a:effectLst/>
                <a:uLnTx/>
                <a:uFillTx/>
                <a:latin typeface="Zurich Sans Light"/>
                <a:ea typeface="+mn-ea"/>
                <a:cs typeface="+mn-cs"/>
              </a:endParaRPr>
            </a:p>
          </p:txBody>
        </p:sp>
        <p:sp>
          <p:nvSpPr>
            <p:cNvPr id="7" name="Rounded Rectangle 6">
              <a:extLst>
                <a:ext uri="{FF2B5EF4-FFF2-40B4-BE49-F238E27FC236}">
                  <a16:creationId xmlns:a16="http://schemas.microsoft.com/office/drawing/2014/main" id="{269B20F1-0923-1331-CD93-915C173237F6}"/>
                </a:ext>
              </a:extLst>
            </p:cNvPr>
            <p:cNvSpPr/>
            <p:nvPr/>
          </p:nvSpPr>
          <p:spPr>
            <a:xfrm>
              <a:off x="442913" y="2398394"/>
              <a:ext cx="8024193" cy="55814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a:ln>
                  <a:noFill/>
                </a:ln>
                <a:solidFill>
                  <a:srgbClr val="FFFFFF"/>
                </a:solidFill>
                <a:effectLst/>
                <a:uLnTx/>
                <a:uFillTx/>
                <a:latin typeface="Zurich Sans Light"/>
                <a:ea typeface="+mn-ea"/>
                <a:cs typeface="+mn-cs"/>
              </a:endParaRPr>
            </a:p>
          </p:txBody>
        </p:sp>
        <p:sp>
          <p:nvSpPr>
            <p:cNvPr id="10" name="Rounded Rectangle 9">
              <a:extLst>
                <a:ext uri="{FF2B5EF4-FFF2-40B4-BE49-F238E27FC236}">
                  <a16:creationId xmlns:a16="http://schemas.microsoft.com/office/drawing/2014/main" id="{B988FEC5-5695-D655-97F3-6A28F21BB362}"/>
                </a:ext>
              </a:extLst>
            </p:cNvPr>
            <p:cNvSpPr/>
            <p:nvPr/>
          </p:nvSpPr>
          <p:spPr>
            <a:xfrm>
              <a:off x="442913" y="3003615"/>
              <a:ext cx="8024193" cy="55814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a:ln>
                  <a:noFill/>
                </a:ln>
                <a:solidFill>
                  <a:srgbClr val="FFFFFF"/>
                </a:solidFill>
                <a:effectLst/>
                <a:uLnTx/>
                <a:uFillTx/>
                <a:latin typeface="Zurich Sans Light"/>
                <a:ea typeface="+mn-ea"/>
                <a:cs typeface="+mn-cs"/>
              </a:endParaRPr>
            </a:p>
          </p:txBody>
        </p:sp>
        <p:sp>
          <p:nvSpPr>
            <p:cNvPr id="11" name="Rounded Rectangle 10">
              <a:extLst>
                <a:ext uri="{FF2B5EF4-FFF2-40B4-BE49-F238E27FC236}">
                  <a16:creationId xmlns:a16="http://schemas.microsoft.com/office/drawing/2014/main" id="{E4A5790E-D895-F98C-1345-2DC6C96A260B}"/>
                </a:ext>
              </a:extLst>
            </p:cNvPr>
            <p:cNvSpPr/>
            <p:nvPr/>
          </p:nvSpPr>
          <p:spPr>
            <a:xfrm>
              <a:off x="442913" y="3608836"/>
              <a:ext cx="8024193" cy="55814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a:ln>
                  <a:noFill/>
                </a:ln>
                <a:solidFill>
                  <a:srgbClr val="FFFFFF"/>
                </a:solidFill>
                <a:effectLst/>
                <a:uLnTx/>
                <a:uFillTx/>
                <a:latin typeface="Zurich Sans Light"/>
                <a:ea typeface="+mn-ea"/>
                <a:cs typeface="+mn-cs"/>
              </a:endParaRPr>
            </a:p>
          </p:txBody>
        </p:sp>
        <p:sp>
          <p:nvSpPr>
            <p:cNvPr id="12" name="Rounded Rectangle 11">
              <a:extLst>
                <a:ext uri="{FF2B5EF4-FFF2-40B4-BE49-F238E27FC236}">
                  <a16:creationId xmlns:a16="http://schemas.microsoft.com/office/drawing/2014/main" id="{D36B1BC1-C7AF-4067-C661-8E1465B0BC7E}"/>
                </a:ext>
              </a:extLst>
            </p:cNvPr>
            <p:cNvSpPr/>
            <p:nvPr/>
          </p:nvSpPr>
          <p:spPr>
            <a:xfrm>
              <a:off x="442913" y="4214057"/>
              <a:ext cx="8024193" cy="55814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a:ln>
                  <a:noFill/>
                </a:ln>
                <a:solidFill>
                  <a:srgbClr val="FFFFFF"/>
                </a:solidFill>
                <a:effectLst/>
                <a:uLnTx/>
                <a:uFillTx/>
                <a:latin typeface="Zurich Sans Light"/>
                <a:ea typeface="+mn-ea"/>
                <a:cs typeface="+mn-cs"/>
              </a:endParaRPr>
            </a:p>
          </p:txBody>
        </p:sp>
        <p:sp>
          <p:nvSpPr>
            <p:cNvPr id="13" name="Rounded Rectangle 12">
              <a:extLst>
                <a:ext uri="{FF2B5EF4-FFF2-40B4-BE49-F238E27FC236}">
                  <a16:creationId xmlns:a16="http://schemas.microsoft.com/office/drawing/2014/main" id="{82DA01A6-9CAF-CD47-FEE0-96F79DC9AE5B}"/>
                </a:ext>
              </a:extLst>
            </p:cNvPr>
            <p:cNvSpPr/>
            <p:nvPr/>
          </p:nvSpPr>
          <p:spPr>
            <a:xfrm>
              <a:off x="442913" y="4819278"/>
              <a:ext cx="8024193" cy="55814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a:ln>
                  <a:noFill/>
                </a:ln>
                <a:solidFill>
                  <a:srgbClr val="FFFFFF"/>
                </a:solidFill>
                <a:effectLst/>
                <a:uLnTx/>
                <a:uFillTx/>
                <a:latin typeface="Zurich Sans Light"/>
                <a:ea typeface="+mn-ea"/>
                <a:cs typeface="+mn-cs"/>
              </a:endParaRPr>
            </a:p>
          </p:txBody>
        </p:sp>
        <p:sp>
          <p:nvSpPr>
            <p:cNvPr id="14" name="Rounded Rectangle 13">
              <a:extLst>
                <a:ext uri="{FF2B5EF4-FFF2-40B4-BE49-F238E27FC236}">
                  <a16:creationId xmlns:a16="http://schemas.microsoft.com/office/drawing/2014/main" id="{04BBCCBA-DE7C-980C-938D-373805AD0F98}"/>
                </a:ext>
              </a:extLst>
            </p:cNvPr>
            <p:cNvSpPr/>
            <p:nvPr/>
          </p:nvSpPr>
          <p:spPr>
            <a:xfrm>
              <a:off x="442913" y="5424497"/>
              <a:ext cx="8024193" cy="55814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a:ln>
                  <a:noFill/>
                </a:ln>
                <a:solidFill>
                  <a:srgbClr val="FFFFFF"/>
                </a:solidFill>
                <a:effectLst/>
                <a:uLnTx/>
                <a:uFillTx/>
                <a:latin typeface="Zurich Sans Light"/>
                <a:ea typeface="+mn-ea"/>
                <a:cs typeface="+mn-cs"/>
              </a:endParaRPr>
            </a:p>
          </p:txBody>
        </p:sp>
      </p:grpSp>
      <p:sp>
        <p:nvSpPr>
          <p:cNvPr id="64" name="Oval 63">
            <a:extLst>
              <a:ext uri="{FF2B5EF4-FFF2-40B4-BE49-F238E27FC236}">
                <a16:creationId xmlns:a16="http://schemas.microsoft.com/office/drawing/2014/main" id="{BC89FF85-7D63-FA6D-EE95-8DCDB200BD9F}"/>
              </a:ext>
            </a:extLst>
          </p:cNvPr>
          <p:cNvSpPr/>
          <p:nvPr/>
        </p:nvSpPr>
        <p:spPr>
          <a:xfrm rot="16200000">
            <a:off x="6526237" y="1366258"/>
            <a:ext cx="5164564" cy="516456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a:ln>
                <a:noFill/>
              </a:ln>
              <a:solidFill>
                <a:srgbClr val="FFFFFF"/>
              </a:solidFill>
              <a:effectLst/>
              <a:uLnTx/>
              <a:uFillTx/>
              <a:latin typeface="Zurich Sans Light"/>
              <a:ea typeface="+mn-ea"/>
              <a:cs typeface="+mn-cs"/>
            </a:endParaRPr>
          </a:p>
        </p:txBody>
      </p:sp>
      <p:sp>
        <p:nvSpPr>
          <p:cNvPr id="16" name="TextBox 15">
            <a:extLst>
              <a:ext uri="{FF2B5EF4-FFF2-40B4-BE49-F238E27FC236}">
                <a16:creationId xmlns:a16="http://schemas.microsoft.com/office/drawing/2014/main" id="{CC99136C-AE4E-3E4F-4821-3F6AFD0338A4}"/>
              </a:ext>
            </a:extLst>
          </p:cNvPr>
          <p:cNvSpPr txBox="1"/>
          <p:nvPr/>
        </p:nvSpPr>
        <p:spPr>
          <a:xfrm>
            <a:off x="332659" y="861075"/>
            <a:ext cx="985494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a:ln>
                  <a:noFill/>
                </a:ln>
                <a:solidFill>
                  <a:srgbClr val="2167AE"/>
                </a:solidFill>
                <a:effectLst/>
                <a:uLnTx/>
                <a:uFillTx/>
                <a:latin typeface="Zurich Sans Light"/>
                <a:ea typeface="+mn-ea"/>
                <a:cs typeface="+mn-cs"/>
              </a:rPr>
              <a:t>Standortbewertungen: Gemeinsamer Deep Dive am Standort</a:t>
            </a:r>
          </a:p>
        </p:txBody>
      </p:sp>
      <p:sp>
        <p:nvSpPr>
          <p:cNvPr id="18" name="TextBox 99">
            <a:extLst>
              <a:ext uri="{FF2B5EF4-FFF2-40B4-BE49-F238E27FC236}">
                <a16:creationId xmlns:a16="http://schemas.microsoft.com/office/drawing/2014/main" id="{4DF9BBDD-B9C9-48D0-7969-A830D571CD53}"/>
              </a:ext>
            </a:extLst>
          </p:cNvPr>
          <p:cNvSpPr txBox="1"/>
          <p:nvPr/>
        </p:nvSpPr>
        <p:spPr>
          <a:xfrm>
            <a:off x="346023" y="1347135"/>
            <a:ext cx="6784214"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a:ln>
                  <a:noFill/>
                </a:ln>
                <a:solidFill>
                  <a:srgbClr val="2167AE"/>
                </a:solidFill>
                <a:effectLst/>
                <a:uLnTx/>
                <a:uFillTx/>
                <a:latin typeface="Zurich Sans Light"/>
                <a:ea typeface="+mn-ea"/>
                <a:cs typeface="Arial" panose="020B0604020202020204" pitchFamily="34" charset="0"/>
              </a:rPr>
              <a:t>Detaillierte Standortbewertung durch einen ZRS-Experten für </a:t>
            </a:r>
            <a:r>
              <a:rPr kumimoji="0" lang="de-DE" sz="1600" b="0" i="0" u="none" strike="noStrike" kern="1200" cap="none" spc="0" normalizeH="0" baseline="0" err="1">
                <a:ln>
                  <a:noFill/>
                </a:ln>
                <a:solidFill>
                  <a:srgbClr val="2167AE"/>
                </a:solidFill>
                <a:effectLst/>
                <a:uLnTx/>
                <a:uFillTx/>
                <a:latin typeface="Zurich Sans Light"/>
                <a:ea typeface="+mn-ea"/>
                <a:cs typeface="Arial" panose="020B0604020202020204" pitchFamily="34" charset="0"/>
              </a:rPr>
              <a:t>Klimaresilienz</a:t>
            </a:r>
            <a:r>
              <a:rPr kumimoji="0" lang="de-DE" sz="1600" b="0" i="0" u="none" strike="noStrike" kern="1200" cap="none" spc="0" normalizeH="0" baseline="0">
                <a:ln>
                  <a:noFill/>
                </a:ln>
                <a:solidFill>
                  <a:srgbClr val="2167AE"/>
                </a:solidFill>
                <a:effectLst/>
                <a:uLnTx/>
                <a:uFillTx/>
                <a:latin typeface="Zurich Sans Light"/>
                <a:ea typeface="+mn-ea"/>
                <a:cs typeface="Arial" panose="020B0604020202020204" pitchFamily="34" charset="0"/>
              </a:rPr>
              <a:t>, die persönlich oder per Fernzugriff durchgeführt wird:</a:t>
            </a:r>
          </a:p>
        </p:txBody>
      </p:sp>
      <p:pic>
        <p:nvPicPr>
          <p:cNvPr id="20" name="Picture 4">
            <a:extLst>
              <a:ext uri="{FF2B5EF4-FFF2-40B4-BE49-F238E27FC236}">
                <a16:creationId xmlns:a16="http://schemas.microsoft.com/office/drawing/2014/main" id="{C7B84538-4AFD-59A6-53B1-DA1E9790C7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462" y="1982361"/>
            <a:ext cx="459564" cy="45956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a:extLst>
              <a:ext uri="{FF2B5EF4-FFF2-40B4-BE49-F238E27FC236}">
                <a16:creationId xmlns:a16="http://schemas.microsoft.com/office/drawing/2014/main" id="{2B1A3A50-05C3-B547-E7CC-034FACB5523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0460" y="2597584"/>
            <a:ext cx="459564" cy="45956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a:extLst>
              <a:ext uri="{FF2B5EF4-FFF2-40B4-BE49-F238E27FC236}">
                <a16:creationId xmlns:a16="http://schemas.microsoft.com/office/drawing/2014/main" id="{A9F16D70-7928-26EF-78AD-71347B62E8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0460" y="3197405"/>
            <a:ext cx="459564" cy="45956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0">
            <a:extLst>
              <a:ext uri="{FF2B5EF4-FFF2-40B4-BE49-F238E27FC236}">
                <a16:creationId xmlns:a16="http://schemas.microsoft.com/office/drawing/2014/main" id="{9C61679C-8E3F-99D6-DF4F-43D38A9A98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0460" y="3806861"/>
            <a:ext cx="459564" cy="45956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2">
            <a:extLst>
              <a:ext uri="{FF2B5EF4-FFF2-40B4-BE49-F238E27FC236}">
                <a16:creationId xmlns:a16="http://schemas.microsoft.com/office/drawing/2014/main" id="{D329A2A0-ED9B-D490-C228-FB58FB6B53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0460" y="5014125"/>
            <a:ext cx="459564" cy="45956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4">
            <a:extLst>
              <a:ext uri="{FF2B5EF4-FFF2-40B4-BE49-F238E27FC236}">
                <a16:creationId xmlns:a16="http://schemas.microsoft.com/office/drawing/2014/main" id="{86A26DEA-5572-4F85-754D-CE14720C88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0460" y="4398924"/>
            <a:ext cx="459564" cy="45956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6">
            <a:extLst>
              <a:ext uri="{FF2B5EF4-FFF2-40B4-BE49-F238E27FC236}">
                <a16:creationId xmlns:a16="http://schemas.microsoft.com/office/drawing/2014/main" id="{27B5E5A0-7A4F-F60E-3B5A-4DBC651FFC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0460" y="5615814"/>
            <a:ext cx="459563" cy="459563"/>
          </a:xfrm>
          <a:prstGeom prst="rect">
            <a:avLst/>
          </a:prstGeom>
          <a:noFill/>
          <a:extLst>
            <a:ext uri="{909E8E84-426E-40DD-AFC4-6F175D3DCCD1}">
              <a14:hiddenFill xmlns:a14="http://schemas.microsoft.com/office/drawing/2010/main">
                <a:solidFill>
                  <a:srgbClr val="FFFFFF"/>
                </a:solidFill>
              </a14:hiddenFill>
            </a:ext>
          </a:extLst>
        </p:spPr>
      </p:pic>
      <p:sp>
        <p:nvSpPr>
          <p:cNvPr id="30" name="Content Placeholder 95">
            <a:extLst>
              <a:ext uri="{FF2B5EF4-FFF2-40B4-BE49-F238E27FC236}">
                <a16:creationId xmlns:a16="http://schemas.microsoft.com/office/drawing/2014/main" id="{4DC703E3-BEF3-07E8-AE88-E4FF89FB0897}"/>
              </a:ext>
            </a:extLst>
          </p:cNvPr>
          <p:cNvSpPr txBox="1">
            <a:spLocks/>
          </p:cNvSpPr>
          <p:nvPr/>
        </p:nvSpPr>
        <p:spPr>
          <a:xfrm>
            <a:off x="1045543" y="2036616"/>
            <a:ext cx="5898181" cy="360000"/>
          </a:xfrm>
          <a:prstGeom prst="rect">
            <a:avLst/>
          </a:prstGeom>
        </p:spPr>
        <p:txBody>
          <a:bodyPr anchor="ctr"/>
          <a:lstStyle>
            <a:lvl1pPr marL="265107" indent="-265107" algn="l" defTabSz="914354" rtl="0" eaLnBrk="1" latinLnBrk="0" hangingPunct="1">
              <a:lnSpc>
                <a:spcPct val="100000"/>
              </a:lnSpc>
              <a:spcBef>
                <a:spcPts val="0"/>
              </a:spcBef>
              <a:spcAft>
                <a:spcPts val="800"/>
              </a:spcAft>
              <a:buFont typeface="Arial" panose="020B0604020202020204" pitchFamily="34" charset="0"/>
              <a:buChar char="•"/>
              <a:defRPr sz="1800" kern="1200">
                <a:solidFill>
                  <a:schemeClr val="accent1"/>
                </a:solidFill>
                <a:latin typeface="+mn-lt"/>
                <a:ea typeface="+mn-ea"/>
                <a:cs typeface="+mn-cs"/>
              </a:defRPr>
            </a:lvl1pPr>
            <a:lvl2pPr marL="536561" indent="-271456" algn="l" defTabSz="914354"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mn-cs"/>
              </a:defRPr>
            </a:lvl2pPr>
            <a:lvl3pPr marL="719121" indent="-273044" algn="l" defTabSz="914354"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mn-cs"/>
              </a:defRPr>
            </a:lvl3pPr>
            <a:lvl4pPr marL="959952" indent="-239989" algn="l" defTabSz="914354"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mn-cs"/>
              </a:defRPr>
            </a:lvl4pPr>
            <a:lvl5pPr marL="1069948" indent="-171446" algn="l" defTabSz="914354"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de-DE" sz="1600" b="0" i="0" u="none" strike="noStrike" kern="1200" cap="none" spc="0" normalizeH="0" baseline="0">
                <a:ln>
                  <a:noFill/>
                </a:ln>
                <a:solidFill>
                  <a:srgbClr val="EEF0F1"/>
                </a:solidFill>
                <a:effectLst/>
                <a:uLnTx/>
                <a:uFillTx/>
                <a:latin typeface="Zurich Sans Light"/>
                <a:ea typeface="+mn-ea"/>
                <a:cs typeface="+mn-cs"/>
              </a:rPr>
              <a:t>Abbildung der Wertschöpfungskette und der Prozesse</a:t>
            </a:r>
          </a:p>
        </p:txBody>
      </p:sp>
      <p:sp>
        <p:nvSpPr>
          <p:cNvPr id="31" name="Content Placeholder 95">
            <a:extLst>
              <a:ext uri="{FF2B5EF4-FFF2-40B4-BE49-F238E27FC236}">
                <a16:creationId xmlns:a16="http://schemas.microsoft.com/office/drawing/2014/main" id="{5E20637C-E79C-5A85-863C-6A53BAA64A56}"/>
              </a:ext>
            </a:extLst>
          </p:cNvPr>
          <p:cNvSpPr txBox="1">
            <a:spLocks/>
          </p:cNvSpPr>
          <p:nvPr/>
        </p:nvSpPr>
        <p:spPr>
          <a:xfrm>
            <a:off x="1042251" y="2641267"/>
            <a:ext cx="5033830" cy="360000"/>
          </a:xfrm>
          <a:prstGeom prst="rect">
            <a:avLst/>
          </a:prstGeom>
        </p:spPr>
        <p:txBody>
          <a:bodyPr anchor="ctr"/>
          <a:lstStyle>
            <a:lvl1pPr marL="265107" indent="-265107" algn="l" defTabSz="914354" rtl="0" eaLnBrk="1" latinLnBrk="0" hangingPunct="1">
              <a:lnSpc>
                <a:spcPct val="100000"/>
              </a:lnSpc>
              <a:spcBef>
                <a:spcPts val="0"/>
              </a:spcBef>
              <a:spcAft>
                <a:spcPts val="800"/>
              </a:spcAft>
              <a:buFont typeface="Arial" panose="020B0604020202020204" pitchFamily="34" charset="0"/>
              <a:buChar char="•"/>
              <a:defRPr sz="1800" kern="1200">
                <a:solidFill>
                  <a:schemeClr val="accent1"/>
                </a:solidFill>
                <a:latin typeface="+mn-lt"/>
                <a:ea typeface="+mn-ea"/>
                <a:cs typeface="+mn-cs"/>
              </a:defRPr>
            </a:lvl1pPr>
            <a:lvl2pPr marL="536561" indent="-271456" algn="l" defTabSz="914354"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mn-cs"/>
              </a:defRPr>
            </a:lvl2pPr>
            <a:lvl3pPr marL="719121" indent="-273044" algn="l" defTabSz="914354"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mn-cs"/>
              </a:defRPr>
            </a:lvl3pPr>
            <a:lvl4pPr marL="959952" indent="-239989" algn="l" defTabSz="914354"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mn-cs"/>
              </a:defRPr>
            </a:lvl4pPr>
            <a:lvl5pPr marL="1069948" indent="-171446" algn="l" defTabSz="914354"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de-DE" sz="1600" b="0" i="0" u="none" strike="noStrike" kern="1200" cap="none" spc="0" normalizeH="0" baseline="0">
                <a:ln>
                  <a:noFill/>
                </a:ln>
                <a:solidFill>
                  <a:srgbClr val="EEF0F1"/>
                </a:solidFill>
                <a:effectLst/>
                <a:uLnTx/>
                <a:uFillTx/>
                <a:latin typeface="Zurich Sans Light"/>
                <a:ea typeface="+mn-ea"/>
                <a:cs typeface="+mn-cs"/>
              </a:rPr>
              <a:t>Detaillierung und Spezifikationen</a:t>
            </a:r>
          </a:p>
        </p:txBody>
      </p:sp>
      <p:sp>
        <p:nvSpPr>
          <p:cNvPr id="32" name="Content Placeholder 95">
            <a:extLst>
              <a:ext uri="{FF2B5EF4-FFF2-40B4-BE49-F238E27FC236}">
                <a16:creationId xmlns:a16="http://schemas.microsoft.com/office/drawing/2014/main" id="{BD3B471E-6A16-774C-5D4B-E54A757D8B41}"/>
              </a:ext>
            </a:extLst>
          </p:cNvPr>
          <p:cNvSpPr txBox="1">
            <a:spLocks/>
          </p:cNvSpPr>
          <p:nvPr/>
        </p:nvSpPr>
        <p:spPr>
          <a:xfrm>
            <a:off x="1052132" y="3245918"/>
            <a:ext cx="5033830" cy="360000"/>
          </a:xfrm>
          <a:prstGeom prst="rect">
            <a:avLst/>
          </a:prstGeom>
        </p:spPr>
        <p:txBody>
          <a:bodyPr anchor="ctr"/>
          <a:lstStyle>
            <a:lvl1pPr marL="265107" indent="-265107" algn="l" defTabSz="914354" rtl="0" eaLnBrk="1" latinLnBrk="0" hangingPunct="1">
              <a:lnSpc>
                <a:spcPct val="100000"/>
              </a:lnSpc>
              <a:spcBef>
                <a:spcPts val="0"/>
              </a:spcBef>
              <a:spcAft>
                <a:spcPts val="800"/>
              </a:spcAft>
              <a:buFont typeface="Arial" panose="020B0604020202020204" pitchFamily="34" charset="0"/>
              <a:buChar char="•"/>
              <a:defRPr sz="1800" kern="1200">
                <a:solidFill>
                  <a:schemeClr val="accent1"/>
                </a:solidFill>
                <a:latin typeface="+mn-lt"/>
                <a:ea typeface="+mn-ea"/>
                <a:cs typeface="+mn-cs"/>
              </a:defRPr>
            </a:lvl1pPr>
            <a:lvl2pPr marL="536561" indent="-271456" algn="l" defTabSz="914354"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mn-cs"/>
              </a:defRPr>
            </a:lvl2pPr>
            <a:lvl3pPr marL="719121" indent="-273044" algn="l" defTabSz="914354"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mn-cs"/>
              </a:defRPr>
            </a:lvl3pPr>
            <a:lvl4pPr marL="959952" indent="-239989" algn="l" defTabSz="914354"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mn-cs"/>
              </a:defRPr>
            </a:lvl4pPr>
            <a:lvl5pPr marL="1069948" indent="-171446" algn="l" defTabSz="914354"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de-DE" sz="1600" b="0" i="0" u="none" strike="noStrike" kern="1200" cap="none" spc="0" normalizeH="0" baseline="0">
                <a:ln>
                  <a:noFill/>
                </a:ln>
                <a:solidFill>
                  <a:srgbClr val="EEF0F1"/>
                </a:solidFill>
                <a:effectLst/>
                <a:uLnTx/>
                <a:uFillTx/>
                <a:latin typeface="Zurich Sans Light"/>
                <a:ea typeface="+mn-ea"/>
                <a:cs typeface="+mn-cs"/>
              </a:rPr>
              <a:t>Operative Kritikalität</a:t>
            </a:r>
          </a:p>
        </p:txBody>
      </p:sp>
      <p:sp>
        <p:nvSpPr>
          <p:cNvPr id="33" name="Content Placeholder 95">
            <a:extLst>
              <a:ext uri="{FF2B5EF4-FFF2-40B4-BE49-F238E27FC236}">
                <a16:creationId xmlns:a16="http://schemas.microsoft.com/office/drawing/2014/main" id="{01316B93-D00F-A01C-AE62-22FA640E7700}"/>
              </a:ext>
            </a:extLst>
          </p:cNvPr>
          <p:cNvSpPr txBox="1">
            <a:spLocks/>
          </p:cNvSpPr>
          <p:nvPr/>
        </p:nvSpPr>
        <p:spPr>
          <a:xfrm>
            <a:off x="1048839" y="3850569"/>
            <a:ext cx="5033830" cy="360000"/>
          </a:xfrm>
          <a:prstGeom prst="rect">
            <a:avLst/>
          </a:prstGeom>
        </p:spPr>
        <p:txBody>
          <a:bodyPr anchor="ctr"/>
          <a:lstStyle>
            <a:lvl1pPr marL="265107" indent="-265107" algn="l" defTabSz="914354" rtl="0" eaLnBrk="1" latinLnBrk="0" hangingPunct="1">
              <a:lnSpc>
                <a:spcPct val="100000"/>
              </a:lnSpc>
              <a:spcBef>
                <a:spcPts val="0"/>
              </a:spcBef>
              <a:spcAft>
                <a:spcPts val="800"/>
              </a:spcAft>
              <a:buFont typeface="Arial" panose="020B0604020202020204" pitchFamily="34" charset="0"/>
              <a:buChar char="•"/>
              <a:defRPr sz="1800" kern="1200">
                <a:solidFill>
                  <a:schemeClr val="accent1"/>
                </a:solidFill>
                <a:latin typeface="+mn-lt"/>
                <a:ea typeface="+mn-ea"/>
                <a:cs typeface="+mn-cs"/>
              </a:defRPr>
            </a:lvl1pPr>
            <a:lvl2pPr marL="536561" indent="-271456" algn="l" defTabSz="914354"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mn-cs"/>
              </a:defRPr>
            </a:lvl2pPr>
            <a:lvl3pPr marL="719121" indent="-273044" algn="l" defTabSz="914354"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mn-cs"/>
              </a:defRPr>
            </a:lvl3pPr>
            <a:lvl4pPr marL="959952" indent="-239989" algn="l" defTabSz="914354"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mn-cs"/>
              </a:defRPr>
            </a:lvl4pPr>
            <a:lvl5pPr marL="1069948" indent="-171446" algn="l" defTabSz="914354"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de-DE" sz="1600" b="0" i="0" u="none" strike="noStrike" kern="1200" cap="none" spc="0" normalizeH="0" baseline="0">
                <a:ln>
                  <a:noFill/>
                </a:ln>
                <a:solidFill>
                  <a:srgbClr val="EEF0F1"/>
                </a:solidFill>
                <a:effectLst/>
                <a:uLnTx/>
                <a:uFillTx/>
                <a:latin typeface="Zurich Sans Light"/>
                <a:ea typeface="+mn-ea"/>
                <a:cs typeface="+mn-cs"/>
              </a:rPr>
              <a:t>Kontrollen</a:t>
            </a:r>
          </a:p>
        </p:txBody>
      </p:sp>
      <p:sp>
        <p:nvSpPr>
          <p:cNvPr id="34" name="Content Placeholder 95">
            <a:extLst>
              <a:ext uri="{FF2B5EF4-FFF2-40B4-BE49-F238E27FC236}">
                <a16:creationId xmlns:a16="http://schemas.microsoft.com/office/drawing/2014/main" id="{9F160890-F974-8C77-A238-E2B47F2F48A1}"/>
              </a:ext>
            </a:extLst>
          </p:cNvPr>
          <p:cNvSpPr txBox="1">
            <a:spLocks/>
          </p:cNvSpPr>
          <p:nvPr/>
        </p:nvSpPr>
        <p:spPr>
          <a:xfrm>
            <a:off x="1048839" y="4455220"/>
            <a:ext cx="5033830" cy="360000"/>
          </a:xfrm>
          <a:prstGeom prst="rect">
            <a:avLst/>
          </a:prstGeom>
        </p:spPr>
        <p:txBody>
          <a:bodyPr anchor="ctr"/>
          <a:lstStyle>
            <a:lvl1pPr marL="265107" indent="-265107" algn="l" defTabSz="914354" rtl="0" eaLnBrk="1" latinLnBrk="0" hangingPunct="1">
              <a:lnSpc>
                <a:spcPct val="100000"/>
              </a:lnSpc>
              <a:spcBef>
                <a:spcPts val="0"/>
              </a:spcBef>
              <a:spcAft>
                <a:spcPts val="800"/>
              </a:spcAft>
              <a:buFont typeface="Arial" panose="020B0604020202020204" pitchFamily="34" charset="0"/>
              <a:buChar char="•"/>
              <a:defRPr sz="1800" kern="1200">
                <a:solidFill>
                  <a:schemeClr val="accent1"/>
                </a:solidFill>
                <a:latin typeface="+mn-lt"/>
                <a:ea typeface="+mn-ea"/>
                <a:cs typeface="+mn-cs"/>
              </a:defRPr>
            </a:lvl1pPr>
            <a:lvl2pPr marL="536561" indent="-271456" algn="l" defTabSz="914354"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mn-cs"/>
              </a:defRPr>
            </a:lvl2pPr>
            <a:lvl3pPr marL="719121" indent="-273044" algn="l" defTabSz="914354"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mn-cs"/>
              </a:defRPr>
            </a:lvl3pPr>
            <a:lvl4pPr marL="959952" indent="-239989" algn="l" defTabSz="914354"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mn-cs"/>
              </a:defRPr>
            </a:lvl4pPr>
            <a:lvl5pPr marL="1069948" indent="-171446" algn="l" defTabSz="914354"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de-DE" sz="1600" b="0" i="0" u="none" strike="noStrike" kern="1200" cap="none" spc="0" normalizeH="0" baseline="0">
                <a:ln>
                  <a:noFill/>
                </a:ln>
                <a:solidFill>
                  <a:srgbClr val="EEF0F1"/>
                </a:solidFill>
                <a:effectLst/>
                <a:uLnTx/>
                <a:uFillTx/>
                <a:latin typeface="Zurich Sans Light"/>
                <a:ea typeface="+mn-ea"/>
                <a:cs typeface="+mn-cs"/>
              </a:rPr>
              <a:t>Vulnerabilitäten</a:t>
            </a:r>
          </a:p>
        </p:txBody>
      </p:sp>
      <p:sp>
        <p:nvSpPr>
          <p:cNvPr id="35" name="Content Placeholder 95">
            <a:extLst>
              <a:ext uri="{FF2B5EF4-FFF2-40B4-BE49-F238E27FC236}">
                <a16:creationId xmlns:a16="http://schemas.microsoft.com/office/drawing/2014/main" id="{50411CCD-2810-DF03-4781-781707338D92}"/>
              </a:ext>
            </a:extLst>
          </p:cNvPr>
          <p:cNvSpPr txBox="1">
            <a:spLocks/>
          </p:cNvSpPr>
          <p:nvPr/>
        </p:nvSpPr>
        <p:spPr>
          <a:xfrm>
            <a:off x="1048839" y="5059871"/>
            <a:ext cx="5033830" cy="360000"/>
          </a:xfrm>
          <a:prstGeom prst="rect">
            <a:avLst/>
          </a:prstGeom>
        </p:spPr>
        <p:txBody>
          <a:bodyPr anchor="ctr"/>
          <a:lstStyle>
            <a:lvl1pPr marL="265107" indent="-265107" algn="l" defTabSz="914354" rtl="0" eaLnBrk="1" latinLnBrk="0" hangingPunct="1">
              <a:lnSpc>
                <a:spcPct val="100000"/>
              </a:lnSpc>
              <a:spcBef>
                <a:spcPts val="0"/>
              </a:spcBef>
              <a:spcAft>
                <a:spcPts val="800"/>
              </a:spcAft>
              <a:buFont typeface="Arial" panose="020B0604020202020204" pitchFamily="34" charset="0"/>
              <a:buChar char="•"/>
              <a:defRPr sz="1800" kern="1200">
                <a:solidFill>
                  <a:schemeClr val="accent1"/>
                </a:solidFill>
                <a:latin typeface="+mn-lt"/>
                <a:ea typeface="+mn-ea"/>
                <a:cs typeface="+mn-cs"/>
              </a:defRPr>
            </a:lvl1pPr>
            <a:lvl2pPr marL="536561" indent="-271456" algn="l" defTabSz="914354"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mn-cs"/>
              </a:defRPr>
            </a:lvl2pPr>
            <a:lvl3pPr marL="719121" indent="-273044" algn="l" defTabSz="914354"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mn-cs"/>
              </a:defRPr>
            </a:lvl3pPr>
            <a:lvl4pPr marL="959952" indent="-239989" algn="l" defTabSz="914354"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mn-cs"/>
              </a:defRPr>
            </a:lvl4pPr>
            <a:lvl5pPr marL="1069948" indent="-171446" algn="l" defTabSz="914354"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de-DE" sz="1600" b="0" i="0" u="none" strike="noStrike" kern="1200" cap="none" spc="0" normalizeH="0" baseline="0">
                <a:ln>
                  <a:noFill/>
                </a:ln>
                <a:solidFill>
                  <a:srgbClr val="EEF0F1"/>
                </a:solidFill>
                <a:effectLst/>
                <a:uLnTx/>
                <a:uFillTx/>
                <a:latin typeface="Zurich Sans Light"/>
                <a:ea typeface="+mn-ea"/>
                <a:cs typeface="+mn-cs"/>
              </a:rPr>
              <a:t>Verlustschätzungen</a:t>
            </a:r>
          </a:p>
        </p:txBody>
      </p:sp>
      <p:sp>
        <p:nvSpPr>
          <p:cNvPr id="36" name="Content Placeholder 95">
            <a:extLst>
              <a:ext uri="{FF2B5EF4-FFF2-40B4-BE49-F238E27FC236}">
                <a16:creationId xmlns:a16="http://schemas.microsoft.com/office/drawing/2014/main" id="{A9BD06E0-16C1-9279-5662-76D02987906E}"/>
              </a:ext>
            </a:extLst>
          </p:cNvPr>
          <p:cNvSpPr txBox="1">
            <a:spLocks/>
          </p:cNvSpPr>
          <p:nvPr/>
        </p:nvSpPr>
        <p:spPr>
          <a:xfrm>
            <a:off x="1042251" y="5664520"/>
            <a:ext cx="5033830" cy="360000"/>
          </a:xfrm>
          <a:prstGeom prst="rect">
            <a:avLst/>
          </a:prstGeom>
        </p:spPr>
        <p:txBody>
          <a:bodyPr anchor="ctr"/>
          <a:lstStyle>
            <a:lvl1pPr marL="265107" indent="-265107" algn="l" defTabSz="914354" rtl="0" eaLnBrk="1" latinLnBrk="0" hangingPunct="1">
              <a:lnSpc>
                <a:spcPct val="100000"/>
              </a:lnSpc>
              <a:spcBef>
                <a:spcPts val="0"/>
              </a:spcBef>
              <a:spcAft>
                <a:spcPts val="800"/>
              </a:spcAft>
              <a:buFont typeface="Arial" panose="020B0604020202020204" pitchFamily="34" charset="0"/>
              <a:buChar char="•"/>
              <a:defRPr sz="1800" kern="1200">
                <a:solidFill>
                  <a:schemeClr val="accent1"/>
                </a:solidFill>
                <a:latin typeface="+mn-lt"/>
                <a:ea typeface="+mn-ea"/>
                <a:cs typeface="+mn-cs"/>
              </a:defRPr>
            </a:lvl1pPr>
            <a:lvl2pPr marL="536561" indent="-271456" algn="l" defTabSz="914354"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mn-cs"/>
              </a:defRPr>
            </a:lvl2pPr>
            <a:lvl3pPr marL="719121" indent="-273044" algn="l" defTabSz="914354"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mn-cs"/>
              </a:defRPr>
            </a:lvl3pPr>
            <a:lvl4pPr marL="959952" indent="-239989" algn="l" defTabSz="914354"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mn-cs"/>
              </a:defRPr>
            </a:lvl4pPr>
            <a:lvl5pPr marL="1069948" indent="-171446" algn="l" defTabSz="914354"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de-DE" sz="1600" b="0" i="0" u="none" strike="noStrike" kern="1200" cap="none" spc="0" normalizeH="0" baseline="0">
                <a:ln>
                  <a:noFill/>
                </a:ln>
                <a:solidFill>
                  <a:srgbClr val="EEF0F1"/>
                </a:solidFill>
                <a:effectLst/>
                <a:uLnTx/>
                <a:uFillTx/>
                <a:latin typeface="Zurich Sans Light"/>
                <a:ea typeface="+mn-ea"/>
                <a:cs typeface="+mn-cs"/>
              </a:rPr>
              <a:t>Anpassungsstrategien</a:t>
            </a:r>
          </a:p>
        </p:txBody>
      </p:sp>
      <p:pic>
        <p:nvPicPr>
          <p:cNvPr id="42" name="Picture 41">
            <a:extLst>
              <a:ext uri="{FF2B5EF4-FFF2-40B4-BE49-F238E27FC236}">
                <a16:creationId xmlns:a16="http://schemas.microsoft.com/office/drawing/2014/main" id="{B3998DD0-9C5A-7B74-1129-A42FEC81B34A}"/>
              </a:ext>
            </a:extLst>
          </p:cNvPr>
          <p:cNvPicPr>
            <a:picLocks noChangeAspect="1"/>
          </p:cNvPicPr>
          <p:nvPr/>
        </p:nvPicPr>
        <p:blipFill rotWithShape="1">
          <a:blip r:embed="rId10"/>
          <a:srcRect t="409" b="409"/>
          <a:stretch/>
        </p:blipFill>
        <p:spPr>
          <a:xfrm>
            <a:off x="7471550" y="2304694"/>
            <a:ext cx="3267306" cy="3267306"/>
          </a:xfrm>
          <a:prstGeom prst="ellipse">
            <a:avLst/>
          </a:prstGeom>
        </p:spPr>
      </p:pic>
      <p:sp>
        <p:nvSpPr>
          <p:cNvPr id="65" name="Oval 64">
            <a:extLst>
              <a:ext uri="{FF2B5EF4-FFF2-40B4-BE49-F238E27FC236}">
                <a16:creationId xmlns:a16="http://schemas.microsoft.com/office/drawing/2014/main" id="{0A150071-9E4B-6F8D-01B1-5316E3AFBA10}"/>
              </a:ext>
            </a:extLst>
          </p:cNvPr>
          <p:cNvSpPr/>
          <p:nvPr/>
        </p:nvSpPr>
        <p:spPr>
          <a:xfrm rot="16200000">
            <a:off x="7474866" y="2314886"/>
            <a:ext cx="3267307" cy="3267307"/>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a:ln>
                <a:noFill/>
              </a:ln>
              <a:solidFill>
                <a:srgbClr val="FFFFFF"/>
              </a:solidFill>
              <a:effectLst/>
              <a:uLnTx/>
              <a:uFillTx/>
              <a:latin typeface="Zurich Sans Light"/>
              <a:ea typeface="+mn-ea"/>
              <a:cs typeface="+mn-cs"/>
            </a:endParaRPr>
          </a:p>
        </p:txBody>
      </p:sp>
      <p:grpSp>
        <p:nvGrpSpPr>
          <p:cNvPr id="71" name="Group 70">
            <a:extLst>
              <a:ext uri="{FF2B5EF4-FFF2-40B4-BE49-F238E27FC236}">
                <a16:creationId xmlns:a16="http://schemas.microsoft.com/office/drawing/2014/main" id="{C1D7C81B-29DA-E09F-1922-7B1BFF3EADDA}"/>
              </a:ext>
            </a:extLst>
          </p:cNvPr>
          <p:cNvGrpSpPr/>
          <p:nvPr/>
        </p:nvGrpSpPr>
        <p:grpSpPr>
          <a:xfrm>
            <a:off x="7415308" y="2940146"/>
            <a:ext cx="509463" cy="509463"/>
            <a:chOff x="7900225" y="2153920"/>
            <a:chExt cx="481775" cy="481775"/>
          </a:xfrm>
        </p:grpSpPr>
        <p:sp>
          <p:nvSpPr>
            <p:cNvPr id="70" name="Oval 69">
              <a:extLst>
                <a:ext uri="{FF2B5EF4-FFF2-40B4-BE49-F238E27FC236}">
                  <a16:creationId xmlns:a16="http://schemas.microsoft.com/office/drawing/2014/main" id="{C8F22A71-5E2C-E94C-29E2-2FF37C5E46C8}"/>
                </a:ext>
              </a:extLst>
            </p:cNvPr>
            <p:cNvSpPr/>
            <p:nvPr/>
          </p:nvSpPr>
          <p:spPr>
            <a:xfrm>
              <a:off x="7900225" y="2153920"/>
              <a:ext cx="481775" cy="481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a:ln>
                  <a:noFill/>
                </a:ln>
                <a:solidFill>
                  <a:srgbClr val="2167AE"/>
                </a:solidFill>
                <a:effectLst/>
                <a:uLnTx/>
                <a:uFillTx/>
                <a:latin typeface="Zurich Sans Light"/>
                <a:ea typeface="+mn-ea"/>
                <a:cs typeface="+mn-cs"/>
              </a:endParaRPr>
            </a:p>
          </p:txBody>
        </p:sp>
        <p:pic>
          <p:nvPicPr>
            <p:cNvPr id="69" name="Graphic 68">
              <a:extLst>
                <a:ext uri="{FF2B5EF4-FFF2-40B4-BE49-F238E27FC236}">
                  <a16:creationId xmlns:a16="http://schemas.microsoft.com/office/drawing/2014/main" id="{04F35CED-F014-EF9B-265A-DBA246C568C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904480" y="2163355"/>
              <a:ext cx="457925" cy="457925"/>
            </a:xfrm>
            <a:prstGeom prst="rect">
              <a:avLst/>
            </a:prstGeom>
          </p:spPr>
        </p:pic>
      </p:grpSp>
      <p:grpSp>
        <p:nvGrpSpPr>
          <p:cNvPr id="74" name="Group 73">
            <a:extLst>
              <a:ext uri="{FF2B5EF4-FFF2-40B4-BE49-F238E27FC236}">
                <a16:creationId xmlns:a16="http://schemas.microsoft.com/office/drawing/2014/main" id="{5477A41D-94CB-484E-68F6-B044CF371D93}"/>
              </a:ext>
            </a:extLst>
          </p:cNvPr>
          <p:cNvGrpSpPr/>
          <p:nvPr/>
        </p:nvGrpSpPr>
        <p:grpSpPr>
          <a:xfrm>
            <a:off x="10261597" y="2928996"/>
            <a:ext cx="509463" cy="509463"/>
            <a:chOff x="7900225" y="2153920"/>
            <a:chExt cx="481775" cy="481775"/>
          </a:xfrm>
        </p:grpSpPr>
        <p:sp>
          <p:nvSpPr>
            <p:cNvPr id="75" name="Oval 74">
              <a:extLst>
                <a:ext uri="{FF2B5EF4-FFF2-40B4-BE49-F238E27FC236}">
                  <a16:creationId xmlns:a16="http://schemas.microsoft.com/office/drawing/2014/main" id="{1557EF57-4F07-452C-9349-FEEA7F6E89C0}"/>
                </a:ext>
              </a:extLst>
            </p:cNvPr>
            <p:cNvSpPr/>
            <p:nvPr/>
          </p:nvSpPr>
          <p:spPr>
            <a:xfrm>
              <a:off x="7900225" y="2153920"/>
              <a:ext cx="481775" cy="481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a:ln>
                  <a:noFill/>
                </a:ln>
                <a:solidFill>
                  <a:srgbClr val="2167AE"/>
                </a:solidFill>
                <a:effectLst/>
                <a:uLnTx/>
                <a:uFillTx/>
                <a:latin typeface="Zurich Sans Light"/>
                <a:ea typeface="+mn-ea"/>
                <a:cs typeface="+mn-cs"/>
              </a:endParaRPr>
            </a:p>
          </p:txBody>
        </p:sp>
        <p:pic>
          <p:nvPicPr>
            <p:cNvPr id="76" name="Graphic 75">
              <a:extLst>
                <a:ext uri="{FF2B5EF4-FFF2-40B4-BE49-F238E27FC236}">
                  <a16:creationId xmlns:a16="http://schemas.microsoft.com/office/drawing/2014/main" id="{EE52E7EE-146F-FCF7-CB67-DEE555C77D3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904480" y="2163355"/>
              <a:ext cx="457925" cy="457925"/>
            </a:xfrm>
            <a:prstGeom prst="rect">
              <a:avLst/>
            </a:prstGeom>
          </p:spPr>
        </p:pic>
      </p:grpSp>
      <p:grpSp>
        <p:nvGrpSpPr>
          <p:cNvPr id="77" name="Group 76">
            <a:extLst>
              <a:ext uri="{FF2B5EF4-FFF2-40B4-BE49-F238E27FC236}">
                <a16:creationId xmlns:a16="http://schemas.microsoft.com/office/drawing/2014/main" id="{F9F0FED8-8590-A47F-AB33-009BEE6F7EF9}"/>
              </a:ext>
            </a:extLst>
          </p:cNvPr>
          <p:cNvGrpSpPr/>
          <p:nvPr/>
        </p:nvGrpSpPr>
        <p:grpSpPr>
          <a:xfrm>
            <a:off x="8840399" y="5307851"/>
            <a:ext cx="509463" cy="509463"/>
            <a:chOff x="7900225" y="2153920"/>
            <a:chExt cx="481775" cy="481775"/>
          </a:xfrm>
        </p:grpSpPr>
        <p:sp>
          <p:nvSpPr>
            <p:cNvPr id="78" name="Oval 77">
              <a:extLst>
                <a:ext uri="{FF2B5EF4-FFF2-40B4-BE49-F238E27FC236}">
                  <a16:creationId xmlns:a16="http://schemas.microsoft.com/office/drawing/2014/main" id="{C3A03BFC-DD91-06CE-CD59-6FF7AA58EC8A}"/>
                </a:ext>
              </a:extLst>
            </p:cNvPr>
            <p:cNvSpPr/>
            <p:nvPr/>
          </p:nvSpPr>
          <p:spPr>
            <a:xfrm>
              <a:off x="7900225" y="2153920"/>
              <a:ext cx="481775" cy="481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a:ln>
                  <a:noFill/>
                </a:ln>
                <a:solidFill>
                  <a:srgbClr val="2167AE"/>
                </a:solidFill>
                <a:effectLst/>
                <a:uLnTx/>
                <a:uFillTx/>
                <a:latin typeface="Zurich Sans Light"/>
                <a:ea typeface="+mn-ea"/>
                <a:cs typeface="+mn-cs"/>
              </a:endParaRPr>
            </a:p>
          </p:txBody>
        </p:sp>
        <p:pic>
          <p:nvPicPr>
            <p:cNvPr id="79" name="Graphic 78">
              <a:extLst>
                <a:ext uri="{FF2B5EF4-FFF2-40B4-BE49-F238E27FC236}">
                  <a16:creationId xmlns:a16="http://schemas.microsoft.com/office/drawing/2014/main" id="{B16A666D-95CE-9374-BE36-7CBA22E9579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904480" y="2163355"/>
              <a:ext cx="457925" cy="457925"/>
            </a:xfrm>
            <a:prstGeom prst="rect">
              <a:avLst/>
            </a:prstGeom>
          </p:spPr>
        </p:pic>
      </p:grpSp>
      <p:sp>
        <p:nvSpPr>
          <p:cNvPr id="73" name="TextBox 72">
            <a:extLst>
              <a:ext uri="{FF2B5EF4-FFF2-40B4-BE49-F238E27FC236}">
                <a16:creationId xmlns:a16="http://schemas.microsoft.com/office/drawing/2014/main" id="{7F33F1BA-5577-6022-DDB7-B4A80E2BC0F0}"/>
              </a:ext>
            </a:extLst>
          </p:cNvPr>
          <p:cNvSpPr txBox="1"/>
          <p:nvPr/>
        </p:nvSpPr>
        <p:spPr>
          <a:xfrm>
            <a:off x="7322655" y="2720269"/>
            <a:ext cx="397524" cy="16927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a:ln>
                  <a:noFill/>
                </a:ln>
                <a:solidFill>
                  <a:srgbClr val="2167AE"/>
                </a:solidFill>
                <a:effectLst/>
                <a:uLnTx/>
                <a:uFillTx/>
                <a:latin typeface="Zurich Sans Light"/>
                <a:ea typeface="+mn-ea"/>
                <a:cs typeface="+mn-cs"/>
              </a:rPr>
              <a:t>Event</a:t>
            </a:r>
            <a:endParaRPr kumimoji="0" lang="de-DE" sz="1100" b="0" i="0" u="none" strike="noStrike" kern="1200" cap="none" spc="0" normalizeH="0" baseline="0">
              <a:ln>
                <a:noFill/>
              </a:ln>
              <a:solidFill>
                <a:srgbClr val="23366F"/>
              </a:solidFill>
              <a:effectLst/>
              <a:uLnTx/>
              <a:uFillTx/>
              <a:latin typeface="Zurich Sans Light"/>
              <a:ea typeface="+mn-ea"/>
              <a:cs typeface="+mn-cs"/>
            </a:endParaRPr>
          </a:p>
        </p:txBody>
      </p:sp>
      <p:grpSp>
        <p:nvGrpSpPr>
          <p:cNvPr id="41" name="Group 1">
            <a:extLst>
              <a:ext uri="{FF2B5EF4-FFF2-40B4-BE49-F238E27FC236}">
                <a16:creationId xmlns:a16="http://schemas.microsoft.com/office/drawing/2014/main" id="{2608BCBB-5931-2A09-C9DF-4BA54F19C7EB}"/>
              </a:ext>
            </a:extLst>
          </p:cNvPr>
          <p:cNvGrpSpPr/>
          <p:nvPr/>
        </p:nvGrpSpPr>
        <p:grpSpPr>
          <a:xfrm>
            <a:off x="250823" y="289004"/>
            <a:ext cx="9724302" cy="320056"/>
            <a:chOff x="250823" y="289004"/>
            <a:chExt cx="9724302" cy="320056"/>
          </a:xfrm>
        </p:grpSpPr>
        <p:sp>
          <p:nvSpPr>
            <p:cNvPr id="43" name="Rounded Rectangle 5">
              <a:extLst>
                <a:ext uri="{FF2B5EF4-FFF2-40B4-BE49-F238E27FC236}">
                  <a16:creationId xmlns:a16="http://schemas.microsoft.com/office/drawing/2014/main" id="{AB2B836D-8DCF-BCF7-DC7A-4E9F3119DB0B}"/>
                </a:ext>
              </a:extLst>
            </p:cNvPr>
            <p:cNvSpPr/>
            <p:nvPr/>
          </p:nvSpPr>
          <p:spPr>
            <a:xfrm>
              <a:off x="250823" y="289004"/>
              <a:ext cx="1620000" cy="320056"/>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chemeClr val="accent1"/>
                  </a:solidFill>
                </a:rPr>
                <a:t>Portfolioebene</a:t>
              </a:r>
            </a:p>
          </p:txBody>
        </p:sp>
        <p:sp>
          <p:nvSpPr>
            <p:cNvPr id="44" name="Rounded Rectangle 6">
              <a:extLst>
                <a:ext uri="{FF2B5EF4-FFF2-40B4-BE49-F238E27FC236}">
                  <a16:creationId xmlns:a16="http://schemas.microsoft.com/office/drawing/2014/main" id="{26B5003F-ACFC-DAD1-5C01-8D02DE9246F4}"/>
                </a:ext>
              </a:extLst>
            </p:cNvPr>
            <p:cNvSpPr/>
            <p:nvPr/>
          </p:nvSpPr>
          <p:spPr>
            <a:xfrm>
              <a:off x="1873116" y="289004"/>
              <a:ext cx="1620000" cy="320056"/>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Identifikation</a:t>
              </a:r>
            </a:p>
          </p:txBody>
        </p:sp>
        <p:sp>
          <p:nvSpPr>
            <p:cNvPr id="45" name="Rounded Rectangle 11">
              <a:extLst>
                <a:ext uri="{FF2B5EF4-FFF2-40B4-BE49-F238E27FC236}">
                  <a16:creationId xmlns:a16="http://schemas.microsoft.com/office/drawing/2014/main" id="{072C5DD0-E191-17C2-5512-6FE17CF5484E}"/>
                </a:ext>
              </a:extLst>
            </p:cNvPr>
            <p:cNvSpPr/>
            <p:nvPr/>
          </p:nvSpPr>
          <p:spPr>
            <a:xfrm>
              <a:off x="3488837" y="289004"/>
              <a:ext cx="1620000" cy="320056"/>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Priorisierung</a:t>
              </a:r>
            </a:p>
          </p:txBody>
        </p:sp>
        <p:sp>
          <p:nvSpPr>
            <p:cNvPr id="46" name="Rounded Rectangle 13">
              <a:extLst>
                <a:ext uri="{FF2B5EF4-FFF2-40B4-BE49-F238E27FC236}">
                  <a16:creationId xmlns:a16="http://schemas.microsoft.com/office/drawing/2014/main" id="{7A0DF92E-098D-E610-D43A-4D27F9DA31B0}"/>
                </a:ext>
              </a:extLst>
            </p:cNvPr>
            <p:cNvSpPr/>
            <p:nvPr/>
          </p:nvSpPr>
          <p:spPr>
            <a:xfrm>
              <a:off x="5113770" y="289004"/>
              <a:ext cx="1620000" cy="320056"/>
            </a:xfrm>
            <a:prstGeom prst="roundRect">
              <a:avLst>
                <a:gd name="adj" fmla="val 50000"/>
              </a:avLst>
            </a:prstGeom>
            <a:solidFill>
              <a:srgbClr val="9EB2A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chemeClr val="bg1"/>
                  </a:solidFill>
                </a:rPr>
                <a:t>Standortebene</a:t>
              </a:r>
            </a:p>
          </p:txBody>
        </p:sp>
        <p:sp>
          <p:nvSpPr>
            <p:cNvPr id="47" name="Rounded Rectangle 17">
              <a:extLst>
                <a:ext uri="{FF2B5EF4-FFF2-40B4-BE49-F238E27FC236}">
                  <a16:creationId xmlns:a16="http://schemas.microsoft.com/office/drawing/2014/main" id="{5B09FBBE-75B0-AEEA-3E70-08EE7358E9DF}"/>
                </a:ext>
              </a:extLst>
            </p:cNvPr>
            <p:cNvSpPr/>
            <p:nvPr/>
          </p:nvSpPr>
          <p:spPr>
            <a:xfrm>
              <a:off x="6732879"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Quantifizierung</a:t>
              </a:r>
            </a:p>
          </p:txBody>
        </p:sp>
        <p:sp>
          <p:nvSpPr>
            <p:cNvPr id="48" name="Rounded Rectangle 18">
              <a:extLst>
                <a:ext uri="{FF2B5EF4-FFF2-40B4-BE49-F238E27FC236}">
                  <a16:creationId xmlns:a16="http://schemas.microsoft.com/office/drawing/2014/main" id="{EDC11DFE-42A4-E813-0445-9647C70F2DD2}"/>
                </a:ext>
              </a:extLst>
            </p:cNvPr>
            <p:cNvSpPr/>
            <p:nvPr/>
          </p:nvSpPr>
          <p:spPr>
            <a:xfrm>
              <a:off x="8355125" y="289004"/>
              <a:ext cx="1620000" cy="320056"/>
            </a:xfrm>
            <a:prstGeom prst="roundRect">
              <a:avLst>
                <a:gd name="adj" fmla="val 50000"/>
              </a:avLst>
            </a:prstGeom>
            <a:solidFill>
              <a:srgbClr val="9EB2A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bg1"/>
                  </a:solidFill>
                </a:rPr>
                <a:t>Adaption</a:t>
              </a:r>
            </a:p>
          </p:txBody>
        </p:sp>
      </p:grpSp>
      <p:sp>
        <p:nvSpPr>
          <p:cNvPr id="2" name="Foliennummernplatzhalter 1">
            <a:extLst>
              <a:ext uri="{FF2B5EF4-FFF2-40B4-BE49-F238E27FC236}">
                <a16:creationId xmlns:a16="http://schemas.microsoft.com/office/drawing/2014/main" id="{AA99A760-6072-08DE-1189-E6C343036104}"/>
              </a:ext>
            </a:extLst>
          </p:cNvPr>
          <p:cNvSpPr>
            <a:spLocks noGrp="1"/>
          </p:cNvSpPr>
          <p:nvPr>
            <p:ph type="sldNum" sz="quarter" idx="4"/>
          </p:nvPr>
        </p:nvSpPr>
        <p:spPr/>
        <p:txBody>
          <a:bodyPr/>
          <a:lstStyle/>
          <a:p>
            <a:fld id="{FA58F0B4-6BC7-4BFB-804F-EE9B892902C7}" type="slidenum">
              <a:rPr lang="en-US" smtClean="0"/>
              <a:pPr/>
              <a:t>23</a:t>
            </a:fld>
            <a:endParaRPr lang="en-US"/>
          </a:p>
        </p:txBody>
      </p:sp>
    </p:spTree>
    <p:extLst>
      <p:ext uri="{BB962C8B-B14F-4D97-AF65-F5344CB8AC3E}">
        <p14:creationId xmlns:p14="http://schemas.microsoft.com/office/powerpoint/2010/main" val="9695317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17556886-5860-3D1C-A070-1095E25111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17" name="think-cell data - do not delete" hidden="1">
                        <a:extLst>
                          <a:ext uri="{FF2B5EF4-FFF2-40B4-BE49-F238E27FC236}">
                            <a16:creationId xmlns:a16="http://schemas.microsoft.com/office/drawing/2014/main" id="{17556886-5860-3D1C-A070-1095E25111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 name="Rectangle 40">
            <a:extLst>
              <a:ext uri="{FF2B5EF4-FFF2-40B4-BE49-F238E27FC236}">
                <a16:creationId xmlns:a16="http://schemas.microsoft.com/office/drawing/2014/main" id="{5F2B9407-9996-9D5E-157C-2EAA9E435755}"/>
              </a:ext>
            </a:extLst>
          </p:cNvPr>
          <p:cNvSpPr/>
          <p:nvPr/>
        </p:nvSpPr>
        <p:spPr>
          <a:xfrm>
            <a:off x="1290984" y="1419862"/>
            <a:ext cx="2099296" cy="5211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LID4096"/>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10000"/>
              </a:lnSpc>
              <a:defRPr/>
            </a:pPr>
            <a:r>
              <a:rPr lang="en-GB" sz="1400">
                <a:solidFill>
                  <a:schemeClr val="bg1"/>
                </a:solidFill>
                <a:latin typeface="+mj-lt"/>
              </a:rPr>
              <a:t>Greenfield 
</a:t>
            </a:r>
            <a:r>
              <a:rPr lang="en-GB" sz="1400" err="1">
                <a:solidFill>
                  <a:schemeClr val="bg1"/>
                </a:solidFill>
                <a:latin typeface="+mj-lt"/>
              </a:rPr>
              <a:t>Bewertung</a:t>
            </a:r>
            <a:endParaRPr lang="en-GB" sz="1400">
              <a:solidFill>
                <a:schemeClr val="bg1"/>
              </a:solidFill>
              <a:latin typeface="+mj-lt"/>
            </a:endParaRPr>
          </a:p>
        </p:txBody>
      </p:sp>
      <p:sp>
        <p:nvSpPr>
          <p:cNvPr id="42" name="Rectangle 41">
            <a:extLst>
              <a:ext uri="{FF2B5EF4-FFF2-40B4-BE49-F238E27FC236}">
                <a16:creationId xmlns:a16="http://schemas.microsoft.com/office/drawing/2014/main" id="{8ED41D7A-98D8-1F63-D8F3-9F468278989C}"/>
              </a:ext>
            </a:extLst>
          </p:cNvPr>
          <p:cNvSpPr/>
          <p:nvPr/>
        </p:nvSpPr>
        <p:spPr>
          <a:xfrm>
            <a:off x="3466894" y="1424871"/>
            <a:ext cx="2271788" cy="5211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LID4096"/>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10000"/>
              </a:lnSpc>
            </a:pPr>
            <a:r>
              <a:rPr lang="en-GB" sz="1400">
                <a:solidFill>
                  <a:schemeClr val="bg1"/>
                </a:solidFill>
                <a:latin typeface="+mj-lt"/>
              </a:rPr>
              <a:t>Desktop 
</a:t>
            </a:r>
            <a:r>
              <a:rPr lang="en-GB" sz="1400" err="1">
                <a:solidFill>
                  <a:schemeClr val="bg1"/>
                </a:solidFill>
                <a:latin typeface="+mj-lt"/>
              </a:rPr>
              <a:t>Bewertung</a:t>
            </a:r>
            <a:endParaRPr lang="en-GB" sz="1400">
              <a:solidFill>
                <a:schemeClr val="bg1"/>
              </a:solidFill>
              <a:latin typeface="+mj-lt"/>
            </a:endParaRPr>
          </a:p>
        </p:txBody>
      </p:sp>
      <p:sp>
        <p:nvSpPr>
          <p:cNvPr id="43" name="Rectangle 42">
            <a:extLst>
              <a:ext uri="{FF2B5EF4-FFF2-40B4-BE49-F238E27FC236}">
                <a16:creationId xmlns:a16="http://schemas.microsoft.com/office/drawing/2014/main" id="{F6BDC11B-695B-F5C7-61B6-02F60301BDA1}"/>
              </a:ext>
            </a:extLst>
          </p:cNvPr>
          <p:cNvSpPr/>
          <p:nvPr/>
        </p:nvSpPr>
        <p:spPr>
          <a:xfrm>
            <a:off x="5815296" y="1424196"/>
            <a:ext cx="2271788" cy="5211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LID4096"/>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10000"/>
              </a:lnSpc>
            </a:pPr>
            <a:r>
              <a:rPr lang="en-GB" sz="1400" err="1">
                <a:solidFill>
                  <a:schemeClr val="bg1"/>
                </a:solidFill>
                <a:latin typeface="+mj-lt"/>
              </a:rPr>
              <a:t>Vor</a:t>
            </a:r>
            <a:r>
              <a:rPr lang="en-GB" sz="1400">
                <a:solidFill>
                  <a:schemeClr val="bg1"/>
                </a:solidFill>
                <a:latin typeface="+mj-lt"/>
              </a:rPr>
              <a:t> Ort 
</a:t>
            </a:r>
            <a:r>
              <a:rPr lang="en-GB" sz="1400" err="1">
                <a:solidFill>
                  <a:schemeClr val="bg1"/>
                </a:solidFill>
                <a:latin typeface="+mj-lt"/>
              </a:rPr>
              <a:t>Bewertung</a:t>
            </a:r>
            <a:endParaRPr lang="en-GB" sz="1400">
              <a:solidFill>
                <a:schemeClr val="bg1"/>
              </a:solidFill>
              <a:latin typeface="+mj-lt"/>
            </a:endParaRPr>
          </a:p>
        </p:txBody>
      </p:sp>
      <p:sp>
        <p:nvSpPr>
          <p:cNvPr id="34" name="Rectangle 33">
            <a:extLst>
              <a:ext uri="{FF2B5EF4-FFF2-40B4-BE49-F238E27FC236}">
                <a16:creationId xmlns:a16="http://schemas.microsoft.com/office/drawing/2014/main" id="{A2C6664F-3E52-E60E-7C24-C27C55C3F087}"/>
              </a:ext>
            </a:extLst>
          </p:cNvPr>
          <p:cNvSpPr/>
          <p:nvPr/>
        </p:nvSpPr>
        <p:spPr>
          <a:xfrm>
            <a:off x="1287387" y="2038568"/>
            <a:ext cx="2103213" cy="115630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200" b="1">
                <a:solidFill>
                  <a:schemeClr val="accent1"/>
                </a:solidFill>
              </a:rPr>
              <a:t>Bewertung der potenziellen Auswirkungen von Klimarisiken auf den geplanten Erwerb oder die Investition in einen neuen Standort</a:t>
            </a:r>
            <a:endParaRPr lang="en-GB" sz="1200" b="1">
              <a:solidFill>
                <a:schemeClr val="accent1"/>
              </a:solidFill>
            </a:endParaRPr>
          </a:p>
        </p:txBody>
      </p:sp>
      <p:sp>
        <p:nvSpPr>
          <p:cNvPr id="35" name="Rectangle 34">
            <a:extLst>
              <a:ext uri="{FF2B5EF4-FFF2-40B4-BE49-F238E27FC236}">
                <a16:creationId xmlns:a16="http://schemas.microsoft.com/office/drawing/2014/main" id="{76228804-F25A-49CF-8181-912CEDD4CBB3}"/>
              </a:ext>
            </a:extLst>
          </p:cNvPr>
          <p:cNvSpPr/>
          <p:nvPr/>
        </p:nvSpPr>
        <p:spPr>
          <a:xfrm>
            <a:off x="3473577" y="2038568"/>
            <a:ext cx="4613508" cy="115630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400" b="1">
                <a:solidFill>
                  <a:schemeClr val="accent1"/>
                </a:solidFill>
              </a:rPr>
              <a:t>Klimarisiken managen und damit verbundene Verluste am bestehenden Standort verhindern</a:t>
            </a:r>
            <a:endParaRPr lang="en-US" sz="1400" b="1">
              <a:solidFill>
                <a:schemeClr val="accent1"/>
              </a:solidFill>
            </a:endParaRPr>
          </a:p>
        </p:txBody>
      </p:sp>
      <p:sp>
        <p:nvSpPr>
          <p:cNvPr id="49" name="TextBox 48">
            <a:extLst>
              <a:ext uri="{FF2B5EF4-FFF2-40B4-BE49-F238E27FC236}">
                <a16:creationId xmlns:a16="http://schemas.microsoft.com/office/drawing/2014/main" id="{679C4FC6-31ED-E394-E8E0-006ED903820E}"/>
              </a:ext>
            </a:extLst>
          </p:cNvPr>
          <p:cNvSpPr txBox="1"/>
          <p:nvPr/>
        </p:nvSpPr>
        <p:spPr>
          <a:xfrm>
            <a:off x="267671" y="2562538"/>
            <a:ext cx="853879" cy="215444"/>
          </a:xfrm>
          <a:prstGeom prst="rect">
            <a:avLst/>
          </a:prstGeom>
          <a:noFill/>
        </p:spPr>
        <p:txBody>
          <a:bodyPr wrap="square" lIns="0" tIns="0" rIns="0" bIns="0" rtlCol="0">
            <a:spAutoFit/>
          </a:bodyPr>
          <a:lstStyle/>
          <a:p>
            <a:r>
              <a:rPr lang="en-GB" sz="1400" b="1">
                <a:solidFill>
                  <a:schemeClr val="accent1"/>
                </a:solidFill>
                <a:latin typeface="Ogg" panose="02090504080706030203" pitchFamily="18" charset="0"/>
              </a:rPr>
              <a:t>Zweck</a:t>
            </a:r>
            <a:endParaRPr lang="en-GB" sz="1200" b="1">
              <a:solidFill>
                <a:schemeClr val="accent1"/>
              </a:solidFill>
              <a:latin typeface="Ogg" panose="02090504080706030203" pitchFamily="18" charset="0"/>
            </a:endParaRPr>
          </a:p>
        </p:txBody>
      </p:sp>
      <p:sp>
        <p:nvSpPr>
          <p:cNvPr id="36" name="Rectangle 35">
            <a:extLst>
              <a:ext uri="{FF2B5EF4-FFF2-40B4-BE49-F238E27FC236}">
                <a16:creationId xmlns:a16="http://schemas.microsoft.com/office/drawing/2014/main" id="{D0F45741-8AB7-D251-5C84-C7EFDE6073F1}"/>
              </a:ext>
            </a:extLst>
          </p:cNvPr>
          <p:cNvSpPr/>
          <p:nvPr/>
        </p:nvSpPr>
        <p:spPr>
          <a:xfrm>
            <a:off x="1287387" y="3268844"/>
            <a:ext cx="2103213" cy="227295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1450" indent="-171450">
              <a:spcBef>
                <a:spcPts val="600"/>
              </a:spcBef>
              <a:buFont typeface="Wingdings" panose="05000000000000000000" pitchFamily="2" charset="2"/>
              <a:buChar char="§"/>
            </a:pPr>
            <a:r>
              <a:rPr lang="de-DE" sz="1200">
                <a:solidFill>
                  <a:schemeClr val="accent1"/>
                </a:solidFill>
              </a:rPr>
              <a:t>Informieren Sie sich bei der Standortauswahl
Information über die Planung neuer Gebäude und des Betriebs
Planen Sie die erforderlichen Maßnahmen zur Resilienz der Infrastruktur über die geplante Lebensdauer der Entwicklung</a:t>
            </a:r>
            <a:endParaRPr lang="en-GB" sz="1200">
              <a:solidFill>
                <a:schemeClr val="accent1"/>
              </a:solidFill>
            </a:endParaRPr>
          </a:p>
        </p:txBody>
      </p:sp>
      <p:sp>
        <p:nvSpPr>
          <p:cNvPr id="37" name="Rectangle 36">
            <a:extLst>
              <a:ext uri="{FF2B5EF4-FFF2-40B4-BE49-F238E27FC236}">
                <a16:creationId xmlns:a16="http://schemas.microsoft.com/office/drawing/2014/main" id="{223178B1-5191-C1A0-7276-2F1C2A4E5760}"/>
              </a:ext>
            </a:extLst>
          </p:cNvPr>
          <p:cNvSpPr/>
          <p:nvPr/>
        </p:nvSpPr>
        <p:spPr>
          <a:xfrm>
            <a:off x="3479355" y="3268843"/>
            <a:ext cx="4613508" cy="227295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1450" indent="-171450">
              <a:spcBef>
                <a:spcPts val="600"/>
              </a:spcBef>
              <a:buFont typeface="Wingdings" panose="05000000000000000000" pitchFamily="2" charset="2"/>
              <a:buChar char="§"/>
            </a:pPr>
            <a:r>
              <a:rPr lang="de-DE" sz="1200">
                <a:solidFill>
                  <a:schemeClr val="accent1"/>
                </a:solidFill>
              </a:rPr>
              <a:t>Berechnen Sie Schadenszenarien und -schätzungen
Ermitteln der Gefahren, denen der Standort am stärksten ausgesetzt ist
Beurteilen Sie, wie diese Gefahren die physischen Anlagen, Personen und Abläufe am Standort gefährden könnten
Bestimmen Sie, ob die vorhandenen Kontrollen angemessen sind, um diese Risiken zu verhindern und zu mindern.
Schlagen Sie vor, welche weiteren Kontrollen und Anpassungsmaßnahmen ergriffen werden sollten.</a:t>
            </a:r>
            <a:endParaRPr lang="en-GB" sz="1200">
              <a:solidFill>
                <a:schemeClr val="accent1"/>
              </a:solidFill>
            </a:endParaRPr>
          </a:p>
        </p:txBody>
      </p:sp>
      <p:sp>
        <p:nvSpPr>
          <p:cNvPr id="53" name="TextBox 52">
            <a:extLst>
              <a:ext uri="{FF2B5EF4-FFF2-40B4-BE49-F238E27FC236}">
                <a16:creationId xmlns:a16="http://schemas.microsoft.com/office/drawing/2014/main" id="{9C02748B-20AC-E28D-4DB0-E514D9BDCCDF}"/>
              </a:ext>
            </a:extLst>
          </p:cNvPr>
          <p:cNvSpPr txBox="1"/>
          <p:nvPr/>
        </p:nvSpPr>
        <p:spPr>
          <a:xfrm>
            <a:off x="267671" y="4358413"/>
            <a:ext cx="853879" cy="215444"/>
          </a:xfrm>
          <a:prstGeom prst="rect">
            <a:avLst/>
          </a:prstGeom>
          <a:noFill/>
        </p:spPr>
        <p:txBody>
          <a:bodyPr wrap="square" lIns="0" tIns="0" rIns="0" bIns="0" rtlCol="0">
            <a:spAutoFit/>
          </a:bodyPr>
          <a:lstStyle/>
          <a:p>
            <a:pPr algn="l"/>
            <a:r>
              <a:rPr lang="en-GB" sz="1400" b="1" err="1">
                <a:solidFill>
                  <a:schemeClr val="accent1"/>
                </a:solidFill>
                <a:latin typeface="Ogg" panose="02090504080706030203" pitchFamily="18" charset="0"/>
              </a:rPr>
              <a:t>Vorteile</a:t>
            </a:r>
            <a:endParaRPr lang="en-GB" sz="1200" b="1">
              <a:solidFill>
                <a:schemeClr val="accent1"/>
              </a:solidFill>
              <a:latin typeface="Ogg" panose="02090504080706030203" pitchFamily="18" charset="0"/>
            </a:endParaRPr>
          </a:p>
        </p:txBody>
      </p:sp>
      <p:sp>
        <p:nvSpPr>
          <p:cNvPr id="38" name="Rectangle 37">
            <a:extLst>
              <a:ext uri="{FF2B5EF4-FFF2-40B4-BE49-F238E27FC236}">
                <a16:creationId xmlns:a16="http://schemas.microsoft.com/office/drawing/2014/main" id="{06F38876-0B5D-A83C-BCA9-B86DAC20E99F}"/>
              </a:ext>
            </a:extLst>
          </p:cNvPr>
          <p:cNvSpPr/>
          <p:nvPr/>
        </p:nvSpPr>
        <p:spPr>
          <a:xfrm>
            <a:off x="1277361" y="5617671"/>
            <a:ext cx="4277800" cy="52111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200">
                <a:solidFill>
                  <a:schemeClr val="accent1"/>
                </a:solidFill>
              </a:rPr>
              <a:t>Fernanalyse mit Klimadaten von </a:t>
            </a:r>
            <a:r>
              <a:rPr lang="de-DE" sz="1200" err="1">
                <a:solidFill>
                  <a:schemeClr val="accent1"/>
                </a:solidFill>
              </a:rPr>
              <a:t>Zurich</a:t>
            </a:r>
            <a:r>
              <a:rPr lang="de-DE" sz="1200">
                <a:solidFill>
                  <a:schemeClr val="accent1"/>
                </a:solidFill>
              </a:rPr>
              <a:t>, Immobilienberichten und lokalen Datenquellen</a:t>
            </a:r>
            <a:endParaRPr lang="en-US" sz="1200">
              <a:solidFill>
                <a:schemeClr val="accent1"/>
              </a:solidFill>
            </a:endParaRPr>
          </a:p>
        </p:txBody>
      </p:sp>
      <p:sp>
        <p:nvSpPr>
          <p:cNvPr id="39" name="Rectangle 38">
            <a:extLst>
              <a:ext uri="{FF2B5EF4-FFF2-40B4-BE49-F238E27FC236}">
                <a16:creationId xmlns:a16="http://schemas.microsoft.com/office/drawing/2014/main" id="{A360D4B5-3096-A763-726C-09959C6541F9}"/>
              </a:ext>
            </a:extLst>
          </p:cNvPr>
          <p:cNvSpPr/>
          <p:nvPr/>
        </p:nvSpPr>
        <p:spPr>
          <a:xfrm>
            <a:off x="5648697" y="5617670"/>
            <a:ext cx="2443659" cy="52111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err="1">
                <a:solidFill>
                  <a:schemeClr val="accent1"/>
                </a:solidFill>
              </a:rPr>
              <a:t>Begehungen</a:t>
            </a:r>
            <a:r>
              <a:rPr lang="en-GB" sz="1200">
                <a:solidFill>
                  <a:schemeClr val="accent1"/>
                </a:solidFill>
              </a:rPr>
              <a:t> </a:t>
            </a:r>
            <a:r>
              <a:rPr lang="en-GB" sz="1200" err="1">
                <a:solidFill>
                  <a:schemeClr val="accent1"/>
                </a:solidFill>
              </a:rPr>
              <a:t>vor</a:t>
            </a:r>
            <a:r>
              <a:rPr lang="en-GB" sz="1200">
                <a:solidFill>
                  <a:schemeClr val="accent1"/>
                </a:solidFill>
              </a:rPr>
              <a:t> Ort</a:t>
            </a:r>
            <a:endParaRPr lang="en-US" sz="1200">
              <a:solidFill>
                <a:schemeClr val="accent1"/>
              </a:solidFill>
            </a:endParaRPr>
          </a:p>
        </p:txBody>
      </p:sp>
      <p:sp>
        <p:nvSpPr>
          <p:cNvPr id="56" name="TextBox 55">
            <a:extLst>
              <a:ext uri="{FF2B5EF4-FFF2-40B4-BE49-F238E27FC236}">
                <a16:creationId xmlns:a16="http://schemas.microsoft.com/office/drawing/2014/main" id="{AEAB52CE-9251-ACB5-ADC0-050E1547E383}"/>
              </a:ext>
            </a:extLst>
          </p:cNvPr>
          <p:cNvSpPr txBox="1"/>
          <p:nvPr/>
        </p:nvSpPr>
        <p:spPr>
          <a:xfrm>
            <a:off x="267671" y="5617671"/>
            <a:ext cx="783268" cy="215444"/>
          </a:xfrm>
          <a:prstGeom prst="rect">
            <a:avLst/>
          </a:prstGeom>
          <a:noFill/>
        </p:spPr>
        <p:txBody>
          <a:bodyPr wrap="square" lIns="0" tIns="0" rIns="0" bIns="0" rtlCol="0">
            <a:spAutoFit/>
          </a:bodyPr>
          <a:lstStyle/>
          <a:p>
            <a:r>
              <a:rPr lang="en-GB" sz="1400" b="1">
                <a:solidFill>
                  <a:schemeClr val="accent1"/>
                </a:solidFill>
                <a:latin typeface="Ogg" panose="02090504080706030203" pitchFamily="18" charset="0"/>
              </a:rPr>
              <a:t>Methode</a:t>
            </a:r>
            <a:endParaRPr lang="en-GB" sz="1200" b="1">
              <a:solidFill>
                <a:schemeClr val="accent1"/>
              </a:solidFill>
              <a:latin typeface="Ogg" panose="02090504080706030203" pitchFamily="18" charset="0"/>
            </a:endParaRPr>
          </a:p>
        </p:txBody>
      </p:sp>
      <p:sp>
        <p:nvSpPr>
          <p:cNvPr id="71" name="Oval 70">
            <a:extLst>
              <a:ext uri="{FF2B5EF4-FFF2-40B4-BE49-F238E27FC236}">
                <a16:creationId xmlns:a16="http://schemas.microsoft.com/office/drawing/2014/main" id="{D1012370-7C9B-7B79-073A-DB5705131B9E}"/>
              </a:ext>
            </a:extLst>
          </p:cNvPr>
          <p:cNvSpPr/>
          <p:nvPr/>
        </p:nvSpPr>
        <p:spPr>
          <a:xfrm>
            <a:off x="5691907" y="5720631"/>
            <a:ext cx="252000" cy="252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b="1">
                <a:solidFill>
                  <a:srgbClr val="F2F2F2"/>
                </a:solidFill>
              </a:rPr>
              <a:t>+</a:t>
            </a:r>
            <a:endParaRPr lang="en-US" sz="1200" b="1">
              <a:solidFill>
                <a:srgbClr val="F2F2F2"/>
              </a:solidFill>
            </a:endParaRPr>
          </a:p>
        </p:txBody>
      </p:sp>
      <p:pic>
        <p:nvPicPr>
          <p:cNvPr id="77" name="Graphic 76" descr="Construction worker male outline">
            <a:extLst>
              <a:ext uri="{FF2B5EF4-FFF2-40B4-BE49-F238E27FC236}">
                <a16:creationId xmlns:a16="http://schemas.microsoft.com/office/drawing/2014/main" id="{42BB4489-8469-CC3A-FB3A-B627A2678CA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8989" y="1597396"/>
            <a:ext cx="367200" cy="367200"/>
          </a:xfrm>
          <a:prstGeom prst="rect">
            <a:avLst/>
          </a:prstGeom>
        </p:spPr>
      </p:pic>
      <p:pic>
        <p:nvPicPr>
          <p:cNvPr id="81" name="Graphic 80" descr="Map with pin outline">
            <a:extLst>
              <a:ext uri="{FF2B5EF4-FFF2-40B4-BE49-F238E27FC236}">
                <a16:creationId xmlns:a16="http://schemas.microsoft.com/office/drawing/2014/main" id="{C0AB6036-610B-4D3C-411D-F4F5F272722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57998" y="1597396"/>
            <a:ext cx="367200" cy="367200"/>
          </a:xfrm>
          <a:prstGeom prst="rect">
            <a:avLst/>
          </a:prstGeom>
        </p:spPr>
      </p:pic>
      <p:pic>
        <p:nvPicPr>
          <p:cNvPr id="83" name="Graphic 82" descr="Internet outline">
            <a:extLst>
              <a:ext uri="{FF2B5EF4-FFF2-40B4-BE49-F238E27FC236}">
                <a16:creationId xmlns:a16="http://schemas.microsoft.com/office/drawing/2014/main" id="{F24CE8BD-3878-4ABE-958A-AD55262E74A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08475" y="1582406"/>
            <a:ext cx="367200" cy="367200"/>
          </a:xfrm>
          <a:prstGeom prst="rect">
            <a:avLst/>
          </a:prstGeom>
        </p:spPr>
      </p:pic>
      <p:sp>
        <p:nvSpPr>
          <p:cNvPr id="2" name="TextBox 1">
            <a:extLst>
              <a:ext uri="{FF2B5EF4-FFF2-40B4-BE49-F238E27FC236}">
                <a16:creationId xmlns:a16="http://schemas.microsoft.com/office/drawing/2014/main" id="{FA58FF46-A16C-D829-CE83-E4CA69163F5D}"/>
              </a:ext>
            </a:extLst>
          </p:cNvPr>
          <p:cNvSpPr txBox="1"/>
          <p:nvPr/>
        </p:nvSpPr>
        <p:spPr>
          <a:xfrm>
            <a:off x="267671" y="6458999"/>
            <a:ext cx="912769" cy="215444"/>
          </a:xfrm>
          <a:prstGeom prst="rect">
            <a:avLst/>
          </a:prstGeom>
          <a:noFill/>
        </p:spPr>
        <p:txBody>
          <a:bodyPr wrap="square" lIns="0" tIns="0" rIns="0" bIns="0" rtlCol="0">
            <a:spAutoFit/>
          </a:bodyPr>
          <a:lstStyle/>
          <a:p>
            <a:r>
              <a:rPr lang="en-US" sz="1400" b="1" err="1">
                <a:solidFill>
                  <a:schemeClr val="accent1"/>
                </a:solidFill>
                <a:latin typeface="Ogg" panose="02090504080706030203" pitchFamily="18" charset="0"/>
              </a:rPr>
              <a:t>Granularität</a:t>
            </a:r>
            <a:endParaRPr lang="en-GB" sz="1200" b="1">
              <a:solidFill>
                <a:schemeClr val="accent1"/>
              </a:solidFill>
              <a:latin typeface="Ogg" panose="02090504080706030203" pitchFamily="18" charset="0"/>
            </a:endParaRPr>
          </a:p>
        </p:txBody>
      </p:sp>
      <p:sp>
        <p:nvSpPr>
          <p:cNvPr id="8" name="Freeform: Shape 7">
            <a:extLst>
              <a:ext uri="{FF2B5EF4-FFF2-40B4-BE49-F238E27FC236}">
                <a16:creationId xmlns:a16="http://schemas.microsoft.com/office/drawing/2014/main" id="{0CB048F8-7CC0-8D9F-F51E-7CBF7BF1315D}"/>
              </a:ext>
            </a:extLst>
          </p:cNvPr>
          <p:cNvSpPr/>
          <p:nvPr/>
        </p:nvSpPr>
        <p:spPr>
          <a:xfrm>
            <a:off x="1287385" y="6214662"/>
            <a:ext cx="6799699" cy="488674"/>
          </a:xfrm>
          <a:custGeom>
            <a:avLst/>
            <a:gdLst>
              <a:gd name="connsiteX0" fmla="*/ 0 w 6408000"/>
              <a:gd name="connsiteY0" fmla="*/ 320448 h 512625"/>
              <a:gd name="connsiteX1" fmla="*/ 6408000 w 6408000"/>
              <a:gd name="connsiteY1" fmla="*/ 320448 h 512625"/>
              <a:gd name="connsiteX2" fmla="*/ 6408000 w 6408000"/>
              <a:gd name="connsiteY2" fmla="*/ 512625 h 512625"/>
              <a:gd name="connsiteX3" fmla="*/ 0 w 6408000"/>
              <a:gd name="connsiteY3" fmla="*/ 512625 h 512625"/>
              <a:gd name="connsiteX4" fmla="*/ 0 w 6408000"/>
              <a:gd name="connsiteY4" fmla="*/ 320446 h 512625"/>
              <a:gd name="connsiteX5" fmla="*/ 40 w 6408000"/>
              <a:gd name="connsiteY5" fmla="*/ 320446 h 512625"/>
              <a:gd name="connsiteX6" fmla="*/ 0 w 6408000"/>
              <a:gd name="connsiteY6" fmla="*/ 320448 h 512625"/>
              <a:gd name="connsiteX7" fmla="*/ 6408000 w 6408000"/>
              <a:gd name="connsiteY7" fmla="*/ 0 h 512625"/>
              <a:gd name="connsiteX8" fmla="*/ 6408000 w 6408000"/>
              <a:gd name="connsiteY8" fmla="*/ 320446 h 512625"/>
              <a:gd name="connsiteX9" fmla="*/ 40 w 6408000"/>
              <a:gd name="connsiteY9" fmla="*/ 320446 h 51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8000" h="512625">
                <a:moveTo>
                  <a:pt x="0" y="320448"/>
                </a:moveTo>
                <a:lnTo>
                  <a:pt x="6408000" y="320448"/>
                </a:lnTo>
                <a:lnTo>
                  <a:pt x="6408000" y="512625"/>
                </a:lnTo>
                <a:lnTo>
                  <a:pt x="0" y="512625"/>
                </a:lnTo>
                <a:close/>
                <a:moveTo>
                  <a:pt x="0" y="320446"/>
                </a:moveTo>
                <a:lnTo>
                  <a:pt x="40" y="320446"/>
                </a:lnTo>
                <a:lnTo>
                  <a:pt x="0" y="320448"/>
                </a:lnTo>
                <a:close/>
                <a:moveTo>
                  <a:pt x="6408000" y="0"/>
                </a:moveTo>
                <a:lnTo>
                  <a:pt x="6408000" y="320446"/>
                </a:lnTo>
                <a:lnTo>
                  <a:pt x="40" y="320446"/>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b">
            <a:noAutofit/>
          </a:bodyPr>
          <a:lstStyle/>
          <a:p>
            <a:pPr algn="r"/>
            <a:r>
              <a:rPr lang="en-US" sz="1200" i="1" err="1">
                <a:solidFill>
                  <a:schemeClr val="accent1"/>
                </a:solidFill>
              </a:rPr>
              <a:t>Höchste</a:t>
            </a:r>
            <a:r>
              <a:rPr lang="en-US" sz="1200" i="1">
                <a:solidFill>
                  <a:schemeClr val="accent1"/>
                </a:solidFill>
              </a:rPr>
              <a:t> </a:t>
            </a:r>
            <a:r>
              <a:rPr lang="en-US" sz="1200" i="1" err="1">
                <a:solidFill>
                  <a:schemeClr val="accent1"/>
                </a:solidFill>
              </a:rPr>
              <a:t>Granularität</a:t>
            </a:r>
            <a:endParaRPr lang="en-US" sz="1200" i="1">
              <a:solidFill>
                <a:schemeClr val="accent1"/>
              </a:solidFill>
            </a:endParaRPr>
          </a:p>
        </p:txBody>
      </p:sp>
      <p:grpSp>
        <p:nvGrpSpPr>
          <p:cNvPr id="7" name="Group 6">
            <a:extLst>
              <a:ext uri="{FF2B5EF4-FFF2-40B4-BE49-F238E27FC236}">
                <a16:creationId xmlns:a16="http://schemas.microsoft.com/office/drawing/2014/main" id="{B14993E4-6B8F-DE51-EA2F-405AC3FE6526}"/>
              </a:ext>
            </a:extLst>
          </p:cNvPr>
          <p:cNvGrpSpPr/>
          <p:nvPr/>
        </p:nvGrpSpPr>
        <p:grpSpPr>
          <a:xfrm>
            <a:off x="8015682" y="5010091"/>
            <a:ext cx="2178706" cy="1857640"/>
            <a:chOff x="7524611" y="5013464"/>
            <a:chExt cx="2183649" cy="1844534"/>
          </a:xfrm>
        </p:grpSpPr>
        <p:sp>
          <p:nvSpPr>
            <p:cNvPr id="10" name="Oval 9">
              <a:extLst>
                <a:ext uri="{FF2B5EF4-FFF2-40B4-BE49-F238E27FC236}">
                  <a16:creationId xmlns:a16="http://schemas.microsoft.com/office/drawing/2014/main" id="{8490A684-FD03-FF28-1638-7C4BEDAF226F}"/>
                </a:ext>
              </a:extLst>
            </p:cNvPr>
            <p:cNvSpPr>
              <a:spLocks noChangeAspect="1"/>
            </p:cNvSpPr>
            <p:nvPr userDrawn="1"/>
          </p:nvSpPr>
          <p:spPr bwMode="auto">
            <a:xfrm rot="5400000">
              <a:off x="8321519" y="5013651"/>
              <a:ext cx="387076" cy="386702"/>
            </a:xfrm>
            <a:prstGeom prst="ellipse">
              <a:avLst/>
            </a:prstGeom>
            <a:solidFill>
              <a:srgbClr val="1C67AF"/>
            </a:solidFill>
            <a:ln w="9525" cap="flat" cmpd="sng" algn="ctr">
              <a:noFill/>
              <a:prstDash val="solid"/>
              <a:round/>
              <a:headEnd type="none" w="med" len="med"/>
              <a:tailEnd type="none" w="med" len="med"/>
            </a:ln>
            <a:effectLst/>
          </p:spPr>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defTabSz="1625519" fontAlgn="base">
                <a:spcBef>
                  <a:spcPct val="0"/>
                </a:spcBef>
                <a:spcAft>
                  <a:spcPct val="0"/>
                </a:spcAft>
              </a:pPr>
              <a:endParaRPr lang="en-ES" sz="3556">
                <a:latin typeface="Arial" panose="020B0604020202020204" pitchFamily="34" charset="0"/>
              </a:endParaRPr>
            </a:p>
          </p:txBody>
        </p:sp>
        <p:sp>
          <p:nvSpPr>
            <p:cNvPr id="11" name="Freeform 10">
              <a:extLst>
                <a:ext uri="{FF2B5EF4-FFF2-40B4-BE49-F238E27FC236}">
                  <a16:creationId xmlns:a16="http://schemas.microsoft.com/office/drawing/2014/main" id="{8CE99C4C-A022-B025-7427-86E062873B1F}"/>
                </a:ext>
              </a:extLst>
            </p:cNvPr>
            <p:cNvSpPr/>
            <p:nvPr userDrawn="1"/>
          </p:nvSpPr>
          <p:spPr bwMode="auto">
            <a:xfrm rot="8315714" flipH="1">
              <a:off x="7524611" y="5487427"/>
              <a:ext cx="1754731" cy="903177"/>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23366E"/>
            </a:solidFill>
            <a:ln w="9525" cap="flat" cmpd="sng" algn="ctr">
              <a:noFill/>
              <a:prstDash val="solid"/>
              <a:round/>
              <a:headEnd type="none" w="med" len="med"/>
              <a:tailEnd type="none" w="med" len="med"/>
            </a:ln>
            <a:effectLst/>
          </p:spPr>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defTabSz="1625519" fontAlgn="base">
                <a:spcBef>
                  <a:spcPct val="0"/>
                </a:spcBef>
                <a:spcAft>
                  <a:spcPct val="0"/>
                </a:spcAft>
              </a:pPr>
              <a:endParaRPr lang="en-ES" sz="3556">
                <a:latin typeface="Arial" panose="020B0604020202020204" pitchFamily="34" charset="0"/>
              </a:endParaRPr>
            </a:p>
          </p:txBody>
        </p:sp>
        <p:sp>
          <p:nvSpPr>
            <p:cNvPr id="12" name="Oval 11">
              <a:extLst>
                <a:ext uri="{FF2B5EF4-FFF2-40B4-BE49-F238E27FC236}">
                  <a16:creationId xmlns:a16="http://schemas.microsoft.com/office/drawing/2014/main" id="{9189C2CD-D64D-91D3-753E-02797EA82B87}"/>
                </a:ext>
              </a:extLst>
            </p:cNvPr>
            <p:cNvSpPr>
              <a:spLocks noChangeAspect="1"/>
            </p:cNvSpPr>
            <p:nvPr userDrawn="1"/>
          </p:nvSpPr>
          <p:spPr bwMode="auto">
            <a:xfrm rot="5400000">
              <a:off x="8792978" y="5942716"/>
              <a:ext cx="915724" cy="914840"/>
            </a:xfrm>
            <a:prstGeom prst="ellipse">
              <a:avLst/>
            </a:prstGeom>
            <a:solidFill>
              <a:srgbClr val="DBD3BC"/>
            </a:solidFill>
            <a:ln w="9525" cap="flat" cmpd="sng" algn="ctr">
              <a:noFill/>
              <a:prstDash val="solid"/>
              <a:round/>
              <a:headEnd type="none" w="med" len="med"/>
              <a:tailEnd type="none" w="med" len="med"/>
            </a:ln>
            <a:effectLst/>
          </p:spPr>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defTabSz="1625519" fontAlgn="base">
                <a:spcBef>
                  <a:spcPct val="0"/>
                </a:spcBef>
                <a:spcAft>
                  <a:spcPct val="0"/>
                </a:spcAft>
              </a:pPr>
              <a:endParaRPr lang="en-ES" sz="3556">
                <a:latin typeface="Arial" panose="020B0604020202020204" pitchFamily="34" charset="0"/>
              </a:endParaRPr>
            </a:p>
          </p:txBody>
        </p:sp>
      </p:grpSp>
      <p:sp>
        <p:nvSpPr>
          <p:cNvPr id="5" name="Title 3">
            <a:extLst>
              <a:ext uri="{FF2B5EF4-FFF2-40B4-BE49-F238E27FC236}">
                <a16:creationId xmlns:a16="http://schemas.microsoft.com/office/drawing/2014/main" id="{F5695A8A-2C04-762F-5001-0F4C6F2580C4}"/>
              </a:ext>
            </a:extLst>
          </p:cNvPr>
          <p:cNvSpPr txBox="1">
            <a:spLocks/>
          </p:cNvSpPr>
          <p:nvPr/>
        </p:nvSpPr>
        <p:spPr>
          <a:xfrm>
            <a:off x="409761" y="583610"/>
            <a:ext cx="9270420" cy="738664"/>
          </a:xfrm>
          <a:prstGeom prst="rect">
            <a:avLst/>
          </a:prstGeom>
        </p:spPr>
        <p:txBody>
          <a:bodyPr vert="horz" wrap="square" lIns="0" tIns="0" rIns="0" bIns="0" rtlCol="0" anchor="t" anchorCtr="0">
            <a:spAutoFit/>
          </a:bodyPr>
          <a:lstStyle>
            <a:lvl1pPr algn="l" defTabSz="914377" rtl="0" eaLnBrk="1" latinLnBrk="0" hangingPunct="1">
              <a:lnSpc>
                <a:spcPct val="90000"/>
              </a:lnSpc>
              <a:spcBef>
                <a:spcPct val="0"/>
              </a:spcBef>
              <a:buNone/>
              <a:defRPr sz="2400" kern="1200">
                <a:solidFill>
                  <a:schemeClr val="accent1"/>
                </a:solidFill>
                <a:latin typeface="Zurich Sans Light" panose="02000000000000000000" pitchFamily="2" charset="0"/>
                <a:ea typeface="+mj-ea"/>
                <a:cs typeface="Arial" panose="020B0604020202020204" pitchFamily="34" charset="0"/>
                <a:sym typeface="Zurich Sans Light" panose="02000000000000000000" pitchFamily="2" charset="0"/>
              </a:defRPr>
            </a:lvl1pPr>
          </a:lstStyle>
          <a:p>
            <a:pPr lvl="0" defTabSz="914400">
              <a:lnSpc>
                <a:spcPct val="100000"/>
              </a:lnSpc>
              <a:spcBef>
                <a:spcPts val="0"/>
              </a:spcBef>
              <a:defRPr/>
            </a:pPr>
            <a:r>
              <a:rPr lang="de-DE">
                <a:latin typeface="+mn-lt"/>
              </a:rPr>
              <a:t>Deep-Dive-Standortbewertungen: eine Reihe von Bewertungen, die Ihren Geschäftsanforderungen entsprechen</a:t>
            </a:r>
            <a:endParaRPr kumimoji="0" lang="en-US" sz="2400" b="0" i="0" u="none" strike="noStrike" kern="1200" cap="none" spc="0" normalizeH="0" baseline="0" noProof="0">
              <a:ln>
                <a:noFill/>
              </a:ln>
              <a:solidFill>
                <a:srgbClr val="2167AE"/>
              </a:solidFill>
              <a:effectLst/>
              <a:uLnTx/>
              <a:uFillTx/>
              <a:latin typeface="Zurich Sans Light" panose="02000000000000000000" pitchFamily="2" charset="0"/>
              <a:ea typeface="+mn-ea"/>
              <a:cs typeface="+mn-cs"/>
            </a:endParaRPr>
          </a:p>
        </p:txBody>
      </p:sp>
      <p:pic>
        <p:nvPicPr>
          <p:cNvPr id="32" name="Picture 2">
            <a:extLst>
              <a:ext uri="{FF2B5EF4-FFF2-40B4-BE49-F238E27FC236}">
                <a16:creationId xmlns:a16="http://schemas.microsoft.com/office/drawing/2014/main" id="{8C4D16B8-122B-2659-F86A-8EB078A07E1B}"/>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28594" r="4780"/>
          <a:stretch/>
        </p:blipFill>
        <p:spPr bwMode="auto">
          <a:xfrm>
            <a:off x="8348040" y="1582406"/>
            <a:ext cx="3842830" cy="3842830"/>
          </a:xfrm>
          <a:prstGeom prst="ellipse">
            <a:avLst/>
          </a:prstGeom>
          <a:noFill/>
          <a:extLst>
            <a:ext uri="{909E8E84-426E-40DD-AFC4-6F175D3DCCD1}">
              <a14:hiddenFill xmlns:a14="http://schemas.microsoft.com/office/drawing/2010/main">
                <a:solidFill>
                  <a:srgbClr val="FFFFFF"/>
                </a:solidFill>
              </a14:hiddenFill>
            </a:ext>
          </a:extLst>
        </p:spPr>
      </p:pic>
      <p:grpSp>
        <p:nvGrpSpPr>
          <p:cNvPr id="3" name="Group 1">
            <a:extLst>
              <a:ext uri="{FF2B5EF4-FFF2-40B4-BE49-F238E27FC236}">
                <a16:creationId xmlns:a16="http://schemas.microsoft.com/office/drawing/2014/main" id="{ABFAF352-5A6D-5EB7-F02F-DAA2F93F64BB}"/>
              </a:ext>
            </a:extLst>
          </p:cNvPr>
          <p:cNvGrpSpPr/>
          <p:nvPr/>
        </p:nvGrpSpPr>
        <p:grpSpPr>
          <a:xfrm>
            <a:off x="267671" y="210978"/>
            <a:ext cx="9724302" cy="320056"/>
            <a:chOff x="250823" y="289004"/>
            <a:chExt cx="9724302" cy="320056"/>
          </a:xfrm>
        </p:grpSpPr>
        <p:sp>
          <p:nvSpPr>
            <p:cNvPr id="4" name="Rounded Rectangle 5">
              <a:extLst>
                <a:ext uri="{FF2B5EF4-FFF2-40B4-BE49-F238E27FC236}">
                  <a16:creationId xmlns:a16="http://schemas.microsoft.com/office/drawing/2014/main" id="{5734DAEB-83AB-EE2C-2A0F-9C498DED548E}"/>
                </a:ext>
              </a:extLst>
            </p:cNvPr>
            <p:cNvSpPr/>
            <p:nvPr/>
          </p:nvSpPr>
          <p:spPr>
            <a:xfrm>
              <a:off x="250823" y="289004"/>
              <a:ext cx="1620000" cy="320056"/>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chemeClr val="accent1"/>
                  </a:solidFill>
                </a:rPr>
                <a:t>Portfolioebene</a:t>
              </a:r>
            </a:p>
          </p:txBody>
        </p:sp>
        <p:sp>
          <p:nvSpPr>
            <p:cNvPr id="9" name="Rounded Rectangle 6">
              <a:extLst>
                <a:ext uri="{FF2B5EF4-FFF2-40B4-BE49-F238E27FC236}">
                  <a16:creationId xmlns:a16="http://schemas.microsoft.com/office/drawing/2014/main" id="{84394112-2F6F-8E06-67EB-78C55E8E2E3D}"/>
                </a:ext>
              </a:extLst>
            </p:cNvPr>
            <p:cNvSpPr/>
            <p:nvPr/>
          </p:nvSpPr>
          <p:spPr>
            <a:xfrm>
              <a:off x="1873116" y="289004"/>
              <a:ext cx="1620000" cy="320056"/>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Identifikation</a:t>
              </a:r>
            </a:p>
          </p:txBody>
        </p:sp>
        <p:sp>
          <p:nvSpPr>
            <p:cNvPr id="14" name="Rounded Rectangle 11">
              <a:extLst>
                <a:ext uri="{FF2B5EF4-FFF2-40B4-BE49-F238E27FC236}">
                  <a16:creationId xmlns:a16="http://schemas.microsoft.com/office/drawing/2014/main" id="{8D25976B-3AE3-437F-7500-227A94373358}"/>
                </a:ext>
              </a:extLst>
            </p:cNvPr>
            <p:cNvSpPr/>
            <p:nvPr/>
          </p:nvSpPr>
          <p:spPr>
            <a:xfrm>
              <a:off x="3488837" y="289004"/>
              <a:ext cx="1620000" cy="320056"/>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Priorisierung</a:t>
              </a:r>
            </a:p>
          </p:txBody>
        </p:sp>
        <p:sp>
          <p:nvSpPr>
            <p:cNvPr id="15" name="Rounded Rectangle 13">
              <a:extLst>
                <a:ext uri="{FF2B5EF4-FFF2-40B4-BE49-F238E27FC236}">
                  <a16:creationId xmlns:a16="http://schemas.microsoft.com/office/drawing/2014/main" id="{43BEC16E-A6D0-1D16-9882-44B4B8270EFC}"/>
                </a:ext>
              </a:extLst>
            </p:cNvPr>
            <p:cNvSpPr/>
            <p:nvPr/>
          </p:nvSpPr>
          <p:spPr>
            <a:xfrm>
              <a:off x="5113770" y="289004"/>
              <a:ext cx="1620000" cy="320056"/>
            </a:xfrm>
            <a:prstGeom prst="roundRect">
              <a:avLst>
                <a:gd name="adj" fmla="val 50000"/>
              </a:avLst>
            </a:prstGeom>
            <a:solidFill>
              <a:srgbClr val="9EB2A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chemeClr val="bg1"/>
                  </a:solidFill>
                </a:rPr>
                <a:t>Standortebene</a:t>
              </a:r>
            </a:p>
          </p:txBody>
        </p:sp>
        <p:sp>
          <p:nvSpPr>
            <p:cNvPr id="20" name="Rounded Rectangle 17">
              <a:extLst>
                <a:ext uri="{FF2B5EF4-FFF2-40B4-BE49-F238E27FC236}">
                  <a16:creationId xmlns:a16="http://schemas.microsoft.com/office/drawing/2014/main" id="{8D9C8EE2-A82E-8A96-9798-055E4791319C}"/>
                </a:ext>
              </a:extLst>
            </p:cNvPr>
            <p:cNvSpPr/>
            <p:nvPr/>
          </p:nvSpPr>
          <p:spPr>
            <a:xfrm>
              <a:off x="6732879"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Quantifizierung</a:t>
              </a:r>
            </a:p>
          </p:txBody>
        </p:sp>
        <p:sp>
          <p:nvSpPr>
            <p:cNvPr id="21" name="Rounded Rectangle 18">
              <a:extLst>
                <a:ext uri="{FF2B5EF4-FFF2-40B4-BE49-F238E27FC236}">
                  <a16:creationId xmlns:a16="http://schemas.microsoft.com/office/drawing/2014/main" id="{6653ADB9-EB66-BA20-9218-DB419EED1778}"/>
                </a:ext>
              </a:extLst>
            </p:cNvPr>
            <p:cNvSpPr/>
            <p:nvPr/>
          </p:nvSpPr>
          <p:spPr>
            <a:xfrm>
              <a:off x="8355125" y="289004"/>
              <a:ext cx="1620000" cy="320056"/>
            </a:xfrm>
            <a:prstGeom prst="roundRect">
              <a:avLst>
                <a:gd name="adj" fmla="val 50000"/>
              </a:avLst>
            </a:prstGeom>
            <a:solidFill>
              <a:srgbClr val="9EB2A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bg1"/>
                  </a:solidFill>
                </a:rPr>
                <a:t>Adaption</a:t>
              </a:r>
            </a:p>
          </p:txBody>
        </p:sp>
      </p:grpSp>
      <p:sp>
        <p:nvSpPr>
          <p:cNvPr id="13" name="Foliennummernplatzhalter 12">
            <a:extLst>
              <a:ext uri="{FF2B5EF4-FFF2-40B4-BE49-F238E27FC236}">
                <a16:creationId xmlns:a16="http://schemas.microsoft.com/office/drawing/2014/main" id="{18CE7330-3151-F51F-3BB5-262D178DB66E}"/>
              </a:ext>
            </a:extLst>
          </p:cNvPr>
          <p:cNvSpPr>
            <a:spLocks noGrp="1"/>
          </p:cNvSpPr>
          <p:nvPr>
            <p:ph type="sldNum" sz="quarter" idx="4"/>
          </p:nvPr>
        </p:nvSpPr>
        <p:spPr/>
        <p:txBody>
          <a:bodyPr/>
          <a:lstStyle/>
          <a:p>
            <a:fld id="{FA58F0B4-6BC7-4BFB-804F-EE9B892902C7}" type="slidenum">
              <a:rPr lang="en-US" smtClean="0"/>
              <a:pPr/>
              <a:t>24</a:t>
            </a:fld>
            <a:endParaRPr lang="en-US"/>
          </a:p>
        </p:txBody>
      </p:sp>
    </p:spTree>
    <p:extLst>
      <p:ext uri="{BB962C8B-B14F-4D97-AF65-F5344CB8AC3E}">
        <p14:creationId xmlns:p14="http://schemas.microsoft.com/office/powerpoint/2010/main" val="6810551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771EF7F-E741-B39C-B580-4995F402EF8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D2A5EFE-B0BB-77EF-8334-0D08A94118E4}"/>
              </a:ext>
            </a:extLst>
          </p:cNvPr>
          <p:cNvSpPr>
            <a:spLocks noGrp="1"/>
          </p:cNvSpPr>
          <p:nvPr>
            <p:ph type="title"/>
          </p:nvPr>
        </p:nvSpPr>
        <p:spPr>
          <a:xfrm>
            <a:off x="250830" y="249930"/>
            <a:ext cx="9586415" cy="664797"/>
          </a:xfrm>
        </p:spPr>
        <p:txBody>
          <a:bodyPr/>
          <a:lstStyle/>
          <a:p>
            <a:r>
              <a:rPr lang="de-DE"/>
              <a:t>Neues aus der Produktwelt </a:t>
            </a:r>
            <a:br>
              <a:rPr lang="de-DE"/>
            </a:br>
            <a:r>
              <a:rPr lang="de-DE"/>
              <a:t>ZRS-Themenführerschaft</a:t>
            </a:r>
          </a:p>
        </p:txBody>
      </p:sp>
      <p:sp>
        <p:nvSpPr>
          <p:cNvPr id="3" name="Rectangle 2">
            <a:extLst>
              <a:ext uri="{FF2B5EF4-FFF2-40B4-BE49-F238E27FC236}">
                <a16:creationId xmlns:a16="http://schemas.microsoft.com/office/drawing/2014/main" id="{A69562D1-D6D3-CD28-5A5B-31C723FA6318}"/>
              </a:ext>
            </a:extLst>
          </p:cNvPr>
          <p:cNvSpPr/>
          <p:nvPr/>
        </p:nvSpPr>
        <p:spPr bwMode="auto">
          <a:xfrm>
            <a:off x="0" y="1159413"/>
            <a:ext cx="12192000" cy="5284115"/>
          </a:xfrm>
          <a:prstGeom prst="rect">
            <a:avLst/>
          </a:prstGeom>
          <a:solidFill>
            <a:srgbClr val="F0F3F3"/>
          </a:solidFill>
          <a:ln w="9525" cap="flat" cmpd="sng" algn="ctr">
            <a:noFill/>
            <a:prstDash val="solid"/>
            <a:round/>
            <a:headEnd type="none" w="med" len="med"/>
            <a:tailEnd type="none" w="med" len="med"/>
          </a:ln>
          <a:effectLst/>
        </p:spPr>
        <p:txBody>
          <a:bodyPr rot="0" spcFirstLastPara="0" vertOverflow="overflow" horzOverflow="overflow" vert="horz" wrap="square" lIns="68562" tIns="34282" rIns="68562" bIns="34282" numCol="1" spcCol="0" rtlCol="0" fromWordArt="0" anchor="ctr" anchorCtr="0" forceAA="0" compatLnSpc="1">
            <a:prstTxWarp prst="textNoShape">
              <a:avLst/>
            </a:prstTxWarp>
            <a:noAutofit/>
          </a:bodyPr>
          <a:lstStyle/>
          <a:p>
            <a:pPr marL="0" marR="0" lvl="0" indent="0" algn="l" defTabSz="685601" rtl="0" eaLnBrk="1" fontAlgn="base" latinLnBrk="0" hangingPunct="1">
              <a:lnSpc>
                <a:spcPct val="100000"/>
              </a:lnSpc>
              <a:spcBef>
                <a:spcPct val="0"/>
              </a:spcBef>
              <a:spcAft>
                <a:spcPct val="0"/>
              </a:spcAft>
              <a:buClrTx/>
              <a:buSzTx/>
              <a:buFontTx/>
              <a:buNone/>
              <a:tabLst/>
              <a:defRPr/>
            </a:pPr>
            <a:endParaRPr kumimoji="0" lang="de-DE" sz="1500" b="0" i="0" u="none" strike="noStrike" kern="1200" cap="none" spc="0" normalizeH="0" baseline="0" noProof="0">
              <a:ln>
                <a:noFill/>
              </a:ln>
              <a:solidFill>
                <a:srgbClr val="23366F"/>
              </a:solidFill>
              <a:effectLst/>
              <a:uLnTx/>
              <a:uFillTx/>
              <a:latin typeface="Zurich Sans Light"/>
              <a:ea typeface="+mn-ea"/>
              <a:cs typeface="+mn-cs"/>
            </a:endParaRPr>
          </a:p>
        </p:txBody>
      </p:sp>
      <p:pic>
        <p:nvPicPr>
          <p:cNvPr id="5" name="Picture Placeholder 2">
            <a:extLst>
              <a:ext uri="{FF2B5EF4-FFF2-40B4-BE49-F238E27FC236}">
                <a16:creationId xmlns:a16="http://schemas.microsoft.com/office/drawing/2014/main" id="{4A81F5E5-B6DD-3E98-ABFD-14D6B08AD85F}"/>
              </a:ext>
            </a:extLst>
          </p:cNvPr>
          <p:cNvPicPr>
            <a:picLocks noChangeAspect="1"/>
          </p:cNvPicPr>
          <p:nvPr/>
        </p:nvPicPr>
        <p:blipFill>
          <a:blip r:embed="rId2">
            <a:extLst>
              <a:ext uri="{28A0092B-C50C-407E-A947-70E740481C1C}">
                <a14:useLocalDpi xmlns:a14="http://schemas.microsoft.com/office/drawing/2010/main" val="0"/>
              </a:ext>
            </a:extLst>
          </a:blip>
          <a:srcRect l="16688" r="16688"/>
          <a:stretch/>
        </p:blipFill>
        <p:spPr>
          <a:xfrm>
            <a:off x="7323054" y="893331"/>
            <a:ext cx="4869741" cy="4869741"/>
          </a:xfrm>
          <a:prstGeom prst="ellipse">
            <a:avLst/>
          </a:prstGeom>
        </p:spPr>
      </p:pic>
      <p:sp>
        <p:nvSpPr>
          <p:cNvPr id="8" name="Freeform 21">
            <a:extLst>
              <a:ext uri="{FF2B5EF4-FFF2-40B4-BE49-F238E27FC236}">
                <a16:creationId xmlns:a16="http://schemas.microsoft.com/office/drawing/2014/main" id="{62E7BDD5-09E3-8BDA-9EC0-D58490819777}"/>
              </a:ext>
            </a:extLst>
          </p:cNvPr>
          <p:cNvSpPr/>
          <p:nvPr/>
        </p:nvSpPr>
        <p:spPr bwMode="auto">
          <a:xfrm rot="18099642">
            <a:off x="7490846" y="5823093"/>
            <a:ext cx="1619037" cy="841679"/>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243671"/>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lvl="0" indent="0" algn="l" defTabSz="685709" rtl="0" eaLnBrk="1" fontAlgn="base" latinLnBrk="0" hangingPunct="1">
              <a:lnSpc>
                <a:spcPct val="100000"/>
              </a:lnSpc>
              <a:spcBef>
                <a:spcPct val="0"/>
              </a:spcBef>
              <a:spcAft>
                <a:spcPct val="0"/>
              </a:spcAft>
              <a:buClrTx/>
              <a:buSzTx/>
              <a:buFontTx/>
              <a:buNone/>
              <a:tabLst/>
              <a:defRPr/>
            </a:pPr>
            <a:endParaRPr kumimoji="0" lang="en-ES" sz="15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21" name="Freeform 4">
            <a:extLst>
              <a:ext uri="{FF2B5EF4-FFF2-40B4-BE49-F238E27FC236}">
                <a16:creationId xmlns:a16="http://schemas.microsoft.com/office/drawing/2014/main" id="{1CF18E51-0B95-343C-13C8-7E4CD11241EA}"/>
              </a:ext>
            </a:extLst>
          </p:cNvPr>
          <p:cNvSpPr>
            <a:spLocks/>
          </p:cNvSpPr>
          <p:nvPr/>
        </p:nvSpPr>
        <p:spPr bwMode="auto">
          <a:xfrm>
            <a:off x="7516456" y="5685400"/>
            <a:ext cx="451210" cy="451210"/>
          </a:xfrm>
          <a:prstGeom prst="ellipse">
            <a:avLst/>
          </a:prstGeom>
          <a:solidFill>
            <a:srgbClr val="90C0E4"/>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lvl="0" indent="0" algn="l" defTabSz="685709" rtl="0" eaLnBrk="1" fontAlgn="base" latinLnBrk="0" hangingPunct="1">
              <a:lnSpc>
                <a:spcPct val="100000"/>
              </a:lnSpc>
              <a:spcBef>
                <a:spcPct val="0"/>
              </a:spcBef>
              <a:spcAft>
                <a:spcPct val="0"/>
              </a:spcAft>
              <a:buClrTx/>
              <a:buSzTx/>
              <a:buFontTx/>
              <a:buNone/>
              <a:tabLst/>
              <a:defRPr/>
            </a:pPr>
            <a:endParaRPr kumimoji="0" lang="en-ES" sz="1500" b="0" i="0" u="none" strike="noStrike" kern="1200" cap="none" spc="0" normalizeH="0" baseline="0" noProof="0">
              <a:ln>
                <a:noFill/>
              </a:ln>
              <a:solidFill>
                <a:srgbClr val="23366F"/>
              </a:solidFill>
              <a:effectLst/>
              <a:uLnTx/>
              <a:uFillTx/>
              <a:latin typeface="Zurich Sans Light"/>
              <a:ea typeface="+mn-ea"/>
              <a:cs typeface="+mn-cs"/>
            </a:endParaRPr>
          </a:p>
        </p:txBody>
      </p:sp>
      <p:sp>
        <p:nvSpPr>
          <p:cNvPr id="22" name="Freeform 4">
            <a:extLst>
              <a:ext uri="{FF2B5EF4-FFF2-40B4-BE49-F238E27FC236}">
                <a16:creationId xmlns:a16="http://schemas.microsoft.com/office/drawing/2014/main" id="{CA436413-709F-F673-B0FA-2D06E088923B}"/>
              </a:ext>
            </a:extLst>
          </p:cNvPr>
          <p:cNvSpPr>
            <a:spLocks/>
          </p:cNvSpPr>
          <p:nvPr/>
        </p:nvSpPr>
        <p:spPr bwMode="auto">
          <a:xfrm>
            <a:off x="6621629" y="5824361"/>
            <a:ext cx="1033639" cy="1033639"/>
          </a:xfrm>
          <a:prstGeom prst="ellipse">
            <a:avLst/>
          </a:prstGeom>
          <a:solidFill>
            <a:srgbClr val="DBD3BC"/>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lvl="0" indent="0" algn="l" defTabSz="685709" rtl="0" eaLnBrk="1" fontAlgn="base" latinLnBrk="0" hangingPunct="1">
              <a:lnSpc>
                <a:spcPct val="100000"/>
              </a:lnSpc>
              <a:spcBef>
                <a:spcPct val="0"/>
              </a:spcBef>
              <a:spcAft>
                <a:spcPct val="0"/>
              </a:spcAft>
              <a:buClrTx/>
              <a:buSzTx/>
              <a:buFontTx/>
              <a:buNone/>
              <a:tabLst/>
              <a:defRPr/>
            </a:pPr>
            <a:endParaRPr kumimoji="0" lang="en-ES" sz="1500" b="0" i="0" u="none" strike="noStrike" kern="1200" cap="none" spc="0" normalizeH="0" baseline="0" noProof="0">
              <a:ln>
                <a:noFill/>
              </a:ln>
              <a:solidFill>
                <a:srgbClr val="23366F"/>
              </a:solidFill>
              <a:effectLst/>
              <a:uLnTx/>
              <a:uFillTx/>
              <a:latin typeface="Zurich Sans Light"/>
              <a:ea typeface="+mn-ea"/>
              <a:cs typeface="+mn-cs"/>
            </a:endParaRPr>
          </a:p>
        </p:txBody>
      </p:sp>
      <p:pic>
        <p:nvPicPr>
          <p:cNvPr id="28" name="Grafik 27">
            <a:extLst>
              <a:ext uri="{FF2B5EF4-FFF2-40B4-BE49-F238E27FC236}">
                <a16:creationId xmlns:a16="http://schemas.microsoft.com/office/drawing/2014/main" id="{75EE22CC-E4F9-2A40-921E-26E0D3410D24}"/>
              </a:ext>
            </a:extLst>
          </p:cNvPr>
          <p:cNvPicPr>
            <a:picLocks noChangeAspect="1"/>
          </p:cNvPicPr>
          <p:nvPr/>
        </p:nvPicPr>
        <p:blipFill>
          <a:blip r:embed="rId3"/>
          <a:stretch>
            <a:fillRect/>
          </a:stretch>
        </p:blipFill>
        <p:spPr>
          <a:xfrm>
            <a:off x="29920" y="2094650"/>
            <a:ext cx="6724619" cy="3476468"/>
          </a:xfrm>
          <a:prstGeom prst="rect">
            <a:avLst/>
          </a:prstGeom>
        </p:spPr>
      </p:pic>
      <p:pic>
        <p:nvPicPr>
          <p:cNvPr id="29" name="Grafik 28">
            <a:extLst>
              <a:ext uri="{FF2B5EF4-FFF2-40B4-BE49-F238E27FC236}">
                <a16:creationId xmlns:a16="http://schemas.microsoft.com/office/drawing/2014/main" id="{BB5B1D82-89C9-8BE8-9BB5-D87EA724AF1A}"/>
              </a:ext>
            </a:extLst>
          </p:cNvPr>
          <p:cNvPicPr>
            <a:picLocks noChangeAspect="1"/>
          </p:cNvPicPr>
          <p:nvPr/>
        </p:nvPicPr>
        <p:blipFill rotWithShape="1">
          <a:blip r:embed="rId4"/>
          <a:srcRect l="32467" t="7959" r="32500" b="4929"/>
          <a:stretch/>
        </p:blipFill>
        <p:spPr>
          <a:xfrm>
            <a:off x="5453884" y="2714574"/>
            <a:ext cx="1839250" cy="2572567"/>
          </a:xfrm>
          <a:prstGeom prst="rect">
            <a:avLst/>
          </a:prstGeom>
        </p:spPr>
      </p:pic>
      <p:sp>
        <p:nvSpPr>
          <p:cNvPr id="31" name="Textfeld 30">
            <a:extLst>
              <a:ext uri="{FF2B5EF4-FFF2-40B4-BE49-F238E27FC236}">
                <a16:creationId xmlns:a16="http://schemas.microsoft.com/office/drawing/2014/main" id="{4AE37332-DB57-C55B-DCEA-A966182B4B10}"/>
              </a:ext>
            </a:extLst>
          </p:cNvPr>
          <p:cNvSpPr txBox="1"/>
          <p:nvPr/>
        </p:nvSpPr>
        <p:spPr>
          <a:xfrm>
            <a:off x="112014" y="1387218"/>
            <a:ext cx="6094476" cy="743345"/>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2000" b="0" i="0" u="none" strike="noStrike" kern="1200" cap="none" spc="0" normalizeH="0" baseline="0" noProof="0" err="1">
                <a:ln>
                  <a:noFill/>
                </a:ln>
                <a:solidFill>
                  <a:srgbClr val="2167AE"/>
                </a:solidFill>
                <a:effectLst/>
                <a:uLnTx/>
                <a:uFillTx/>
                <a:latin typeface="Zurich Sans Medium"/>
                <a:ea typeface="+mn-ea"/>
                <a:cs typeface="+mn-cs"/>
              </a:rPr>
              <a:t>Zurich</a:t>
            </a:r>
            <a:r>
              <a:rPr kumimoji="0" lang="de-DE" sz="2000" b="0" i="0" u="none" strike="noStrike" kern="1200" cap="none" spc="0" normalizeH="0" baseline="0" noProof="0">
                <a:ln>
                  <a:noFill/>
                </a:ln>
                <a:solidFill>
                  <a:srgbClr val="2167AE"/>
                </a:solidFill>
                <a:effectLst/>
                <a:uLnTx/>
                <a:uFillTx/>
                <a:latin typeface="Zurich Sans Medium"/>
                <a:ea typeface="+mn-ea"/>
                <a:cs typeface="+mn-cs"/>
              </a:rPr>
              <a:t> </a:t>
            </a:r>
            <a:r>
              <a:rPr kumimoji="0" lang="de-DE" sz="2000" b="0" i="0" u="none" strike="noStrike" kern="1200" cap="none" spc="0" normalizeH="0" baseline="0" noProof="0" err="1">
                <a:ln>
                  <a:noFill/>
                </a:ln>
                <a:solidFill>
                  <a:srgbClr val="2167AE"/>
                </a:solidFill>
                <a:effectLst/>
                <a:uLnTx/>
                <a:uFillTx/>
                <a:latin typeface="Zurich Sans Medium"/>
                <a:ea typeface="+mn-ea"/>
                <a:cs typeface="+mn-cs"/>
              </a:rPr>
              <a:t>Resilience</a:t>
            </a:r>
            <a:r>
              <a:rPr kumimoji="0" lang="de-DE" sz="2000" b="0" i="0" u="none" strike="noStrike" kern="1200" cap="none" spc="0" normalizeH="0" baseline="0" noProof="0">
                <a:ln>
                  <a:noFill/>
                </a:ln>
                <a:solidFill>
                  <a:srgbClr val="2167AE"/>
                </a:solidFill>
                <a:effectLst/>
                <a:uLnTx/>
                <a:uFillTx/>
                <a:latin typeface="Zurich Sans Medium"/>
                <a:ea typeface="+mn-ea"/>
                <a:cs typeface="+mn-cs"/>
              </a:rPr>
              <a:t> Solutions veröffentlicht fortlaufend Whitepaper zu relevanten Themen:</a:t>
            </a:r>
          </a:p>
        </p:txBody>
      </p:sp>
      <p:sp>
        <p:nvSpPr>
          <p:cNvPr id="6" name="Foliennummernplatzhalter 5">
            <a:extLst>
              <a:ext uri="{FF2B5EF4-FFF2-40B4-BE49-F238E27FC236}">
                <a16:creationId xmlns:a16="http://schemas.microsoft.com/office/drawing/2014/main" id="{F27FBE57-7EF0-6107-1CF3-7478CE7BC73C}"/>
              </a:ext>
            </a:extLst>
          </p:cNvPr>
          <p:cNvSpPr>
            <a:spLocks noGrp="1"/>
          </p:cNvSpPr>
          <p:nvPr>
            <p:ph type="sldNum" sz="quarter" idx="4"/>
          </p:nvPr>
        </p:nvSpPr>
        <p:spPr/>
        <p:txBody>
          <a:bodyPr/>
          <a:lstStyle/>
          <a:p>
            <a:fld id="{FA58F0B4-6BC7-4BFB-804F-EE9B892902C7}" type="slidenum">
              <a:rPr lang="en-US" smtClean="0"/>
              <a:pPr/>
              <a:t>25</a:t>
            </a:fld>
            <a:endParaRPr lang="en-US"/>
          </a:p>
        </p:txBody>
      </p:sp>
    </p:spTree>
    <p:extLst>
      <p:ext uri="{BB962C8B-B14F-4D97-AF65-F5344CB8AC3E}">
        <p14:creationId xmlns:p14="http://schemas.microsoft.com/office/powerpoint/2010/main" val="25431032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41">
            <a:extLst>
              <a:ext uri="{FF2B5EF4-FFF2-40B4-BE49-F238E27FC236}">
                <a16:creationId xmlns:a16="http://schemas.microsoft.com/office/drawing/2014/main" id="{053F25F5-7294-1BF4-1C18-A0592C0162C6}"/>
              </a:ext>
            </a:extLst>
          </p:cNvPr>
          <p:cNvSpPr/>
          <p:nvPr/>
        </p:nvSpPr>
        <p:spPr>
          <a:xfrm>
            <a:off x="0" y="892347"/>
            <a:ext cx="12192000" cy="5965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107987" rIns="107987" bIns="107987" rtlCol="0" anchor="ctr"/>
          <a:lstStyle/>
          <a:p>
            <a:pPr algn="ctr" defTabSz="914286"/>
            <a:endParaRPr lang="en-ES" sz="1000">
              <a:solidFill>
                <a:srgbClr val="FFFFFF"/>
              </a:solidFill>
              <a:latin typeface="Zurich Sans Light"/>
            </a:endParaRPr>
          </a:p>
        </p:txBody>
      </p:sp>
      <p:sp>
        <p:nvSpPr>
          <p:cNvPr id="2" name="Inhaltsplatzhalter 1">
            <a:extLst>
              <a:ext uri="{FF2B5EF4-FFF2-40B4-BE49-F238E27FC236}">
                <a16:creationId xmlns:a16="http://schemas.microsoft.com/office/drawing/2014/main" id="{058AFDA3-23B9-F9F5-171B-69037D44248C}"/>
              </a:ext>
            </a:extLst>
          </p:cNvPr>
          <p:cNvSpPr>
            <a:spLocks noGrp="1"/>
          </p:cNvSpPr>
          <p:nvPr>
            <p:ph idx="1"/>
          </p:nvPr>
        </p:nvSpPr>
        <p:spPr>
          <a:xfrm>
            <a:off x="1110331" y="1122093"/>
            <a:ext cx="4006851" cy="1163908"/>
          </a:xfrm>
        </p:spPr>
        <p:txBody>
          <a:bodyPr/>
          <a:lstStyle/>
          <a:p>
            <a:pPr marL="0" indent="0" algn="ctr">
              <a:buNone/>
            </a:pPr>
            <a:r>
              <a:rPr lang="de-DE" sz="2400"/>
              <a:t>1. Platz in der Kategorie „Change </a:t>
            </a:r>
            <a:r>
              <a:rPr lang="de-DE" sz="2400" err="1"/>
              <a:t>Enabler</a:t>
            </a:r>
            <a:r>
              <a:rPr lang="de-DE" sz="2400"/>
              <a:t>“ des ESG Transformation Award 2025 </a:t>
            </a:r>
          </a:p>
        </p:txBody>
      </p:sp>
      <p:sp>
        <p:nvSpPr>
          <p:cNvPr id="6" name="Titel 5">
            <a:extLst>
              <a:ext uri="{FF2B5EF4-FFF2-40B4-BE49-F238E27FC236}">
                <a16:creationId xmlns:a16="http://schemas.microsoft.com/office/drawing/2014/main" id="{87DD782E-9264-2D83-2DEC-4C7CA9FBEE8B}"/>
              </a:ext>
            </a:extLst>
          </p:cNvPr>
          <p:cNvSpPr>
            <a:spLocks noGrp="1"/>
          </p:cNvSpPr>
          <p:nvPr>
            <p:ph type="title"/>
          </p:nvPr>
        </p:nvSpPr>
        <p:spPr>
          <a:xfrm>
            <a:off x="250826" y="249926"/>
            <a:ext cx="8996541" cy="332399"/>
          </a:xfrm>
        </p:spPr>
        <p:txBody>
          <a:bodyPr/>
          <a:lstStyle/>
          <a:p>
            <a:r>
              <a:rPr lang="de-DE">
                <a:solidFill>
                  <a:srgbClr val="2167AE"/>
                </a:solidFill>
                <a:latin typeface="Zurich Sans Light"/>
              </a:rPr>
              <a:t>Markt-Update</a:t>
            </a:r>
          </a:p>
        </p:txBody>
      </p:sp>
      <p:pic>
        <p:nvPicPr>
          <p:cNvPr id="15" name="Inhaltsplatzhalter 14" descr="Ein Bild, das Kleidung, Präsentation, Mann, Vortrag enthält.&#10;&#10;KI-generierte Inhalte können fehlerhaft sein.">
            <a:extLst>
              <a:ext uri="{FF2B5EF4-FFF2-40B4-BE49-F238E27FC236}">
                <a16:creationId xmlns:a16="http://schemas.microsoft.com/office/drawing/2014/main" id="{692BF3FC-664F-DC7C-B604-323812AFF779}"/>
              </a:ext>
            </a:extLst>
          </p:cNvPr>
          <p:cNvPicPr>
            <a:picLocks noGrp="1" noChangeAspect="1"/>
          </p:cNvPicPr>
          <p:nvPr>
            <p:ph sz="quarter" idx="10"/>
          </p:nvPr>
        </p:nvPicPr>
        <p:blipFill>
          <a:blip r:embed="rId3">
            <a:extLst>
              <a:ext uri="{28A0092B-C50C-407E-A947-70E740481C1C}">
                <a14:useLocalDpi xmlns:a14="http://schemas.microsoft.com/office/drawing/2010/main" val="0"/>
              </a:ext>
            </a:extLst>
          </a:blip>
          <a:stretch/>
        </p:blipFill>
        <p:spPr>
          <a:xfrm>
            <a:off x="4541868" y="666750"/>
            <a:ext cx="414277" cy="276225"/>
          </a:xfrm>
        </p:spPr>
      </p:pic>
      <p:pic>
        <p:nvPicPr>
          <p:cNvPr id="1026" name="Picture 2">
            <a:extLst>
              <a:ext uri="{FF2B5EF4-FFF2-40B4-BE49-F238E27FC236}">
                <a16:creationId xmlns:a16="http://schemas.microsoft.com/office/drawing/2014/main" id="{97565D31-EA63-6923-7B52-B307731127B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5520" y="2501123"/>
            <a:ext cx="5039316" cy="346453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No alternative text description for this image">
            <a:extLst>
              <a:ext uri="{FF2B5EF4-FFF2-40B4-BE49-F238E27FC236}">
                <a16:creationId xmlns:a16="http://schemas.microsoft.com/office/drawing/2014/main" id="{88CDAEAB-017C-E132-BC6A-8C314B7AD7C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6283" r="8468"/>
          <a:stretch/>
        </p:blipFill>
        <p:spPr bwMode="auto">
          <a:xfrm>
            <a:off x="8368578" y="3171476"/>
            <a:ext cx="3422947" cy="183666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3" name="Inhaltsplatzhalter 1">
            <a:extLst>
              <a:ext uri="{FF2B5EF4-FFF2-40B4-BE49-F238E27FC236}">
                <a16:creationId xmlns:a16="http://schemas.microsoft.com/office/drawing/2014/main" id="{6F08D54B-DBD3-66C9-AC60-4F265AA6ECE5}"/>
              </a:ext>
            </a:extLst>
          </p:cNvPr>
          <p:cNvSpPr txBox="1">
            <a:spLocks/>
          </p:cNvSpPr>
          <p:nvPr/>
        </p:nvSpPr>
        <p:spPr>
          <a:xfrm>
            <a:off x="5943153" y="1116529"/>
            <a:ext cx="5848372" cy="587518"/>
          </a:xfrm>
          <a:prstGeom prst="rect">
            <a:avLst/>
          </a:prstGeom>
        </p:spPr>
        <p:txBody>
          <a:bodyPr vert="horz" lIns="72000" tIns="0" rIns="72000" bIns="72000" rtlCol="0" anchor="t" anchorCtr="0">
            <a:noAutofit/>
          </a:bodyPr>
          <a:lstStyle>
            <a:lvl1pPr marL="268281" indent="-268281" algn="l" defTabSz="914354" rtl="0" eaLnBrk="1" latinLnBrk="0" hangingPunct="1">
              <a:lnSpc>
                <a:spcPct val="100000"/>
              </a:lnSpc>
              <a:spcBef>
                <a:spcPts val="0"/>
              </a:spcBef>
              <a:spcAft>
                <a:spcPts val="800"/>
              </a:spcAft>
              <a:buFont typeface="Arial" panose="020B0604020202020204" pitchFamily="34" charset="0"/>
              <a:buChar char="•"/>
              <a:defRPr sz="1800" kern="1200">
                <a:solidFill>
                  <a:schemeClr val="accent1"/>
                </a:solidFill>
                <a:latin typeface="+mn-lt"/>
                <a:ea typeface="+mn-ea"/>
                <a:cs typeface="Arial" panose="020B0604020202020204" pitchFamily="34" charset="0"/>
              </a:defRPr>
            </a:lvl1pPr>
            <a:lvl2pPr marL="447663" indent="-207957" algn="l" defTabSz="914354"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Arial" panose="020B0604020202020204" pitchFamily="34" charset="0"/>
              </a:defRPr>
            </a:lvl2pPr>
            <a:lvl3pPr marL="719121" indent="-180970" algn="l" defTabSz="914354"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Arial" panose="020B0604020202020204" pitchFamily="34" charset="0"/>
              </a:defRPr>
            </a:lvl3pPr>
            <a:lvl4pPr marL="896916" indent="-177796" algn="l" defTabSz="914354"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4pPr>
            <a:lvl5pPr marL="1165196" indent="-179384" algn="l" defTabSz="914354"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2400" err="1"/>
              <a:t>Zurich</a:t>
            </a:r>
            <a:r>
              <a:rPr lang="de-DE" sz="2400"/>
              <a:t> Dialog 2025</a:t>
            </a:r>
          </a:p>
          <a:p>
            <a:pPr marL="0" indent="0" algn="ctr">
              <a:buFont typeface="Arial" panose="020B0604020202020204" pitchFamily="34" charset="0"/>
              <a:buNone/>
            </a:pPr>
            <a:r>
              <a:rPr lang="de-DE" sz="2000"/>
              <a:t>„Physische Klimarisiken heute und in Zukunft aktiv managen“ gemeinsam mit Volkswagen Insurance Brokers </a:t>
            </a:r>
          </a:p>
        </p:txBody>
      </p:sp>
      <p:sp>
        <p:nvSpPr>
          <p:cNvPr id="3" name="TextBox 7">
            <a:extLst>
              <a:ext uri="{FF2B5EF4-FFF2-40B4-BE49-F238E27FC236}">
                <a16:creationId xmlns:a16="http://schemas.microsoft.com/office/drawing/2014/main" id="{11976FB1-DFBE-AF48-826E-EE581D8B8A7A}"/>
              </a:ext>
            </a:extLst>
          </p:cNvPr>
          <p:cNvSpPr txBox="1"/>
          <p:nvPr/>
        </p:nvSpPr>
        <p:spPr>
          <a:xfrm>
            <a:off x="11158232" y="6548969"/>
            <a:ext cx="69933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r>
              <a:rPr lang="en-US" sz="900">
                <a:solidFill>
                  <a:srgbClr val="2167AE"/>
                </a:solidFill>
                <a:latin typeface="Zurich Sans Light"/>
                <a:cs typeface="Arial" panose="020B0604020202020204" pitchFamily="34" charset="0"/>
              </a:rPr>
              <a:t>© Zurich</a:t>
            </a:r>
          </a:p>
        </p:txBody>
      </p:sp>
      <p:sp>
        <p:nvSpPr>
          <p:cNvPr id="5" name="Foliennummernplatzhalter 4">
            <a:extLst>
              <a:ext uri="{FF2B5EF4-FFF2-40B4-BE49-F238E27FC236}">
                <a16:creationId xmlns:a16="http://schemas.microsoft.com/office/drawing/2014/main" id="{A0F29CD6-B017-FC50-947C-295F01E18887}"/>
              </a:ext>
            </a:extLst>
          </p:cNvPr>
          <p:cNvSpPr>
            <a:spLocks noGrp="1"/>
          </p:cNvSpPr>
          <p:nvPr>
            <p:ph type="sldNum" sz="quarter" idx="4"/>
          </p:nvPr>
        </p:nvSpPr>
        <p:spPr/>
        <p:txBody>
          <a:bodyPr/>
          <a:lstStyle/>
          <a:p>
            <a:fld id="{FA58F0B4-6BC7-4BFB-804F-EE9B892902C7}" type="slidenum">
              <a:rPr lang="en-US" smtClean="0"/>
              <a:pPr/>
              <a:t>26</a:t>
            </a:fld>
            <a:endParaRPr lang="en-US"/>
          </a:p>
        </p:txBody>
      </p:sp>
    </p:spTree>
    <p:extLst>
      <p:ext uri="{BB962C8B-B14F-4D97-AF65-F5344CB8AC3E}">
        <p14:creationId xmlns:p14="http://schemas.microsoft.com/office/powerpoint/2010/main" val="1664901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bg>
      <p:bgPr>
        <a:solidFill>
          <a:schemeClr val="bg1">
            <a:alpha val="44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4FF91E-F330-947F-1F8C-1A8E1D2A6C3D}"/>
              </a:ext>
            </a:extLst>
          </p:cNvPr>
          <p:cNvSpPr>
            <a:spLocks noGrp="1"/>
          </p:cNvSpPr>
          <p:nvPr>
            <p:ph type="title"/>
          </p:nvPr>
        </p:nvSpPr>
        <p:spPr>
          <a:xfrm>
            <a:off x="337307" y="327323"/>
            <a:ext cx="9586415" cy="341632"/>
          </a:xfrm>
        </p:spPr>
        <p:txBody>
          <a:bodyPr/>
          <a:lstStyle/>
          <a:p>
            <a:r>
              <a:rPr lang="en-GB" err="1">
                <a:latin typeface="+mn-lt"/>
              </a:rPr>
              <a:t>Ihre</a:t>
            </a:r>
            <a:r>
              <a:rPr lang="en-GB">
                <a:latin typeface="+mn-lt"/>
              </a:rPr>
              <a:t> </a:t>
            </a:r>
            <a:r>
              <a:rPr lang="en-GB" err="1">
                <a:latin typeface="Ogg" panose="02090504080706030203" pitchFamily="18" charset="0"/>
              </a:rPr>
              <a:t>Experten</a:t>
            </a:r>
            <a:r>
              <a:rPr lang="en-GB">
                <a:latin typeface="+mn-lt"/>
              </a:rPr>
              <a:t> für </a:t>
            </a:r>
            <a:r>
              <a:rPr lang="en-GB" err="1">
                <a:latin typeface="+mn-lt"/>
              </a:rPr>
              <a:t>Risiken</a:t>
            </a:r>
            <a:endParaRPr lang="en-GB">
              <a:latin typeface="+mn-lt"/>
            </a:endParaRPr>
          </a:p>
        </p:txBody>
      </p:sp>
      <p:sp>
        <p:nvSpPr>
          <p:cNvPr id="7" name="Rounded Rectangle 23">
            <a:extLst>
              <a:ext uri="{FF2B5EF4-FFF2-40B4-BE49-F238E27FC236}">
                <a16:creationId xmlns:a16="http://schemas.microsoft.com/office/drawing/2014/main" id="{161AB02E-3517-1FEE-CC84-DCC9F7E6470B}"/>
              </a:ext>
            </a:extLst>
          </p:cNvPr>
          <p:cNvSpPr/>
          <p:nvPr/>
        </p:nvSpPr>
        <p:spPr>
          <a:xfrm>
            <a:off x="8277395" y="3714348"/>
            <a:ext cx="3506619" cy="2743200"/>
          </a:xfrm>
          <a:prstGeom prst="rect">
            <a:avLst/>
          </a:prstGeom>
          <a:solidFill>
            <a:srgbClr val="1EA4B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Zurich Sans Light"/>
              <a:ea typeface="+mn-ea"/>
              <a:cs typeface="+mn-cs"/>
            </a:endParaRPr>
          </a:p>
        </p:txBody>
      </p:sp>
      <p:sp>
        <p:nvSpPr>
          <p:cNvPr id="8" name="Rounded Rectangle 22">
            <a:extLst>
              <a:ext uri="{FF2B5EF4-FFF2-40B4-BE49-F238E27FC236}">
                <a16:creationId xmlns:a16="http://schemas.microsoft.com/office/drawing/2014/main" id="{B2CB7C4A-A59F-1511-571C-46654EB2BD64}"/>
              </a:ext>
            </a:extLst>
          </p:cNvPr>
          <p:cNvSpPr/>
          <p:nvPr/>
        </p:nvSpPr>
        <p:spPr>
          <a:xfrm>
            <a:off x="4351303" y="3714348"/>
            <a:ext cx="3506619" cy="2743200"/>
          </a:xfrm>
          <a:prstGeom prst="rect">
            <a:avLst/>
          </a:prstGeom>
          <a:solidFill>
            <a:srgbClr val="867A77"/>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Zurich Sans Light"/>
              <a:ea typeface="+mn-ea"/>
              <a:cs typeface="+mn-cs"/>
            </a:endParaRPr>
          </a:p>
        </p:txBody>
      </p:sp>
      <p:sp>
        <p:nvSpPr>
          <p:cNvPr id="9" name="Rounded Rectangle 1">
            <a:extLst>
              <a:ext uri="{FF2B5EF4-FFF2-40B4-BE49-F238E27FC236}">
                <a16:creationId xmlns:a16="http://schemas.microsoft.com/office/drawing/2014/main" id="{C2876507-7701-E4A3-858D-24191C056F1C}"/>
              </a:ext>
            </a:extLst>
          </p:cNvPr>
          <p:cNvSpPr/>
          <p:nvPr/>
        </p:nvSpPr>
        <p:spPr>
          <a:xfrm>
            <a:off x="425209" y="3714348"/>
            <a:ext cx="3506619" cy="2743200"/>
          </a:xfrm>
          <a:prstGeom prst="rect">
            <a:avLst/>
          </a:prstGeom>
          <a:solidFill>
            <a:srgbClr val="1C669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Zurich Sans Light"/>
              <a:ea typeface="+mn-ea"/>
              <a:cs typeface="+mn-cs"/>
            </a:endParaRPr>
          </a:p>
        </p:txBody>
      </p:sp>
      <p:sp>
        <p:nvSpPr>
          <p:cNvPr id="10" name="Subtitle 6">
            <a:extLst>
              <a:ext uri="{FF2B5EF4-FFF2-40B4-BE49-F238E27FC236}">
                <a16:creationId xmlns:a16="http://schemas.microsoft.com/office/drawing/2014/main" id="{7770A0B1-1783-C9C9-5BE8-57E37889C964}"/>
              </a:ext>
            </a:extLst>
          </p:cNvPr>
          <p:cNvSpPr txBox="1">
            <a:spLocks/>
          </p:cNvSpPr>
          <p:nvPr/>
        </p:nvSpPr>
        <p:spPr>
          <a:xfrm>
            <a:off x="337307" y="847533"/>
            <a:ext cx="10471068" cy="705383"/>
          </a:xfrm>
          <a:prstGeom prst="rect">
            <a:avLst/>
          </a:prstGeom>
        </p:spPr>
        <p:txBody>
          <a:bodyPr vert="horz" lIns="0" tIns="0" rIns="0" bIns="0" rtlCol="0" anchor="t" anchorCtr="0">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800" b="0" i="0" kern="1200">
                <a:solidFill>
                  <a:srgbClr val="2167AE"/>
                </a:solidFill>
                <a:latin typeface="+mn-lt"/>
                <a:ea typeface="+mn-ea"/>
                <a:cs typeface="Arial" panose="020B0604020202020204" pitchFamily="34" charset="0"/>
              </a:defRPr>
            </a:lvl1pPr>
            <a:lvl2pPr marL="342854" indent="0" algn="ctr"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tint val="75000"/>
                  </a:schemeClr>
                </a:solidFill>
                <a:latin typeface="+mn-lt"/>
                <a:ea typeface="+mn-ea"/>
                <a:cs typeface="Arial" panose="020B0604020202020204" pitchFamily="34" charset="0"/>
              </a:defRPr>
            </a:lvl2pPr>
            <a:lvl3pPr marL="685709" indent="0" algn="ctr" defTabSz="914377" rtl="0" eaLnBrk="1" latinLnBrk="0" hangingPunct="1">
              <a:lnSpc>
                <a:spcPct val="100000"/>
              </a:lnSpc>
              <a:spcBef>
                <a:spcPts val="0"/>
              </a:spcBef>
              <a:spcAft>
                <a:spcPts val="800"/>
              </a:spcAft>
              <a:buFont typeface="Arial" panose="020B0604020202020204" pitchFamily="34" charset="0"/>
              <a:buNone/>
              <a:defRPr sz="1400" kern="1200">
                <a:solidFill>
                  <a:schemeClr val="tx1">
                    <a:tint val="75000"/>
                  </a:schemeClr>
                </a:solidFill>
                <a:latin typeface="+mn-lt"/>
                <a:ea typeface="+mn-ea"/>
                <a:cs typeface="Arial" panose="020B0604020202020204" pitchFamily="34" charset="0"/>
              </a:defRPr>
            </a:lvl3pPr>
            <a:lvl4pPr marL="1028563" indent="0" algn="ctr" defTabSz="914377" rtl="0" eaLnBrk="1" latinLnBrk="0" hangingPunct="1">
              <a:lnSpc>
                <a:spcPct val="100000"/>
              </a:lnSpc>
              <a:spcBef>
                <a:spcPts val="0"/>
              </a:spcBef>
              <a:spcAft>
                <a:spcPts val="800"/>
              </a:spcAft>
              <a:buFont typeface="Arial" panose="020B0604020202020204" pitchFamily="34" charset="0"/>
              <a:buNone/>
              <a:defRPr sz="1200" kern="1200">
                <a:solidFill>
                  <a:schemeClr val="tx1">
                    <a:tint val="75000"/>
                  </a:schemeClr>
                </a:solidFill>
                <a:latin typeface="+mn-lt"/>
                <a:ea typeface="+mn-ea"/>
                <a:cs typeface="Arial" panose="020B0604020202020204" pitchFamily="34" charset="0"/>
              </a:defRPr>
            </a:lvl4pPr>
            <a:lvl5pPr marL="1371417" indent="0" algn="ctr" defTabSz="914377" rtl="0" eaLnBrk="1" latinLnBrk="0" hangingPunct="1">
              <a:lnSpc>
                <a:spcPct val="100000"/>
              </a:lnSpc>
              <a:spcBef>
                <a:spcPts val="0"/>
              </a:spcBef>
              <a:spcAft>
                <a:spcPts val="800"/>
              </a:spcAft>
              <a:buFont typeface="Arial" panose="020B0604020202020204" pitchFamily="34" charset="0"/>
              <a:buNone/>
              <a:defRPr sz="1200" kern="1200">
                <a:solidFill>
                  <a:schemeClr val="tx1">
                    <a:tint val="75000"/>
                  </a:schemeClr>
                </a:solidFill>
                <a:latin typeface="+mn-lt"/>
                <a:ea typeface="+mn-ea"/>
                <a:cs typeface="Arial" panose="020B0604020202020204" pitchFamily="34" charset="0"/>
              </a:defRPr>
            </a:lvl5pPr>
            <a:lvl6pPr marL="1714271" indent="0" algn="ctr" defTabSz="914377"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2057126" indent="0" algn="ctr" defTabSz="914377"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2399980" indent="0" algn="ctr" defTabSz="914377"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2742834" indent="0" algn="ctr" defTabSz="914377"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de-DE" b="0" i="0" u="none" strike="noStrike" kern="1200" cap="none" spc="0" normalizeH="0" baseline="0" noProof="0">
                <a:ln>
                  <a:noFill/>
                </a:ln>
                <a:solidFill>
                  <a:srgbClr val="2167AE"/>
                </a:solidFill>
                <a:effectLst/>
                <a:uLnTx/>
                <a:uFillTx/>
                <a:latin typeface="Zurich Sans Light"/>
                <a:ea typeface="+mn-ea"/>
                <a:cs typeface="Arial"/>
              </a:rPr>
              <a:t>Mit einem umfassenden Portfolio an Risikoberatungsleistungen und 150 Jahren Erfahrung aus Kundenschadendaten ist es unser Ziel, Ihnen umsetzbare Erkenntnisse zu liefern, damit Sie Risiken besser steuern, Verluste vermeiden und Resilienz aufbauen können. </a:t>
            </a:r>
          </a:p>
        </p:txBody>
      </p:sp>
      <p:pic>
        <p:nvPicPr>
          <p:cNvPr id="11" name="Picture 10">
            <a:extLst>
              <a:ext uri="{FF2B5EF4-FFF2-40B4-BE49-F238E27FC236}">
                <a16:creationId xmlns:a16="http://schemas.microsoft.com/office/drawing/2014/main" id="{68A4C6DB-C920-129D-4D48-8D992DD2E815}"/>
              </a:ext>
            </a:extLst>
          </p:cNvPr>
          <p:cNvPicPr>
            <a:picLocks noChangeAspect="1"/>
          </p:cNvPicPr>
          <p:nvPr/>
        </p:nvPicPr>
        <p:blipFill>
          <a:blip r:embed="rId3">
            <a:extLst>
              <a:ext uri="{28A0092B-C50C-407E-A947-70E740481C1C}">
                <a14:useLocalDpi xmlns:a14="http://schemas.microsoft.com/office/drawing/2010/main" val="0"/>
              </a:ext>
            </a:extLst>
          </a:blip>
          <a:srcRect l="21875" r="21875"/>
          <a:stretch/>
        </p:blipFill>
        <p:spPr>
          <a:xfrm>
            <a:off x="1211844" y="2737776"/>
            <a:ext cx="1953147" cy="1953144"/>
          </a:xfrm>
          <a:prstGeom prst="ellipse">
            <a:avLst/>
          </a:prstGeom>
        </p:spPr>
      </p:pic>
      <p:pic>
        <p:nvPicPr>
          <p:cNvPr id="12" name="Picture 11">
            <a:extLst>
              <a:ext uri="{FF2B5EF4-FFF2-40B4-BE49-F238E27FC236}">
                <a16:creationId xmlns:a16="http://schemas.microsoft.com/office/drawing/2014/main" id="{430997AC-CEB8-0532-2381-2CF28799B8DD}"/>
              </a:ext>
            </a:extLst>
          </p:cNvPr>
          <p:cNvPicPr>
            <a:picLocks noChangeAspect="1"/>
          </p:cNvPicPr>
          <p:nvPr/>
        </p:nvPicPr>
        <p:blipFill>
          <a:blip r:embed="rId4">
            <a:extLst>
              <a:ext uri="{28A0092B-C50C-407E-A947-70E740481C1C}">
                <a14:useLocalDpi xmlns:a14="http://schemas.microsoft.com/office/drawing/2010/main" val="0"/>
              </a:ext>
            </a:extLst>
          </a:blip>
          <a:srcRect l="16687" r="16687"/>
          <a:stretch/>
        </p:blipFill>
        <p:spPr>
          <a:xfrm>
            <a:off x="9054131" y="2737776"/>
            <a:ext cx="1953144" cy="1953144"/>
          </a:xfrm>
          <a:prstGeom prst="ellipse">
            <a:avLst/>
          </a:prstGeom>
        </p:spPr>
      </p:pic>
      <p:sp>
        <p:nvSpPr>
          <p:cNvPr id="13" name="Content Placeholder 6">
            <a:extLst>
              <a:ext uri="{FF2B5EF4-FFF2-40B4-BE49-F238E27FC236}">
                <a16:creationId xmlns:a16="http://schemas.microsoft.com/office/drawing/2014/main" id="{E95C8215-BE8C-9A29-82C5-0BA99A9686B7}"/>
              </a:ext>
            </a:extLst>
          </p:cNvPr>
          <p:cNvSpPr txBox="1">
            <a:spLocks/>
          </p:cNvSpPr>
          <p:nvPr/>
        </p:nvSpPr>
        <p:spPr>
          <a:xfrm>
            <a:off x="604872" y="4919175"/>
            <a:ext cx="3147291" cy="1489831"/>
          </a:xfrm>
          <a:prstGeom prst="rect">
            <a:avLst/>
          </a:prstGeom>
          <a:noFill/>
        </p:spPr>
        <p:txBody>
          <a:bodyPr vert="horz" wrap="square" lIns="0" tIns="0" rIns="0" bIns="0" rtlCol="0" anchor="t" anchorCtr="0">
            <a:spAutoFit/>
          </a:bodyPr>
          <a:lstStyle>
            <a:lvl1pPr marL="180000" indent="-18000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1pPr>
            <a:lvl2pPr marL="360000" indent="-180000" algn="l" defTabSz="685800" rtl="0" eaLnBrk="1" latinLnBrk="0" hangingPunct="1">
              <a:lnSpc>
                <a:spcPct val="100000"/>
              </a:lnSpc>
              <a:spcBef>
                <a:spcPts val="0"/>
              </a:spcBef>
              <a:spcAft>
                <a:spcPts val="600"/>
              </a:spcAft>
              <a:buFont typeface="Arial" panose="020B0604020202020204" pitchFamily="34" charset="0"/>
              <a:buChar char="−"/>
              <a:defRPr sz="1100" kern="1200">
                <a:solidFill>
                  <a:schemeClr val="accent1"/>
                </a:solidFill>
                <a:latin typeface="+mn-lt"/>
                <a:ea typeface="+mn-ea"/>
                <a:cs typeface="+mn-cs"/>
              </a:defRPr>
            </a:lvl2pPr>
            <a:lvl3pPr marL="540000" indent="-180000" algn="l" defTabSz="685800" rtl="0" eaLnBrk="1" latinLnBrk="0" hangingPunct="1">
              <a:lnSpc>
                <a:spcPct val="100000"/>
              </a:lnSpc>
              <a:spcBef>
                <a:spcPts val="0"/>
              </a:spcBef>
              <a:spcAft>
                <a:spcPts val="600"/>
              </a:spcAft>
              <a:buFont typeface="Arial" panose="020B0604020202020204" pitchFamily="34" charset="0"/>
              <a:buChar char="−"/>
              <a:defRPr sz="1050" kern="1200">
                <a:solidFill>
                  <a:schemeClr val="accent1"/>
                </a:solidFill>
                <a:latin typeface="+mn-lt"/>
                <a:ea typeface="+mn-ea"/>
                <a:cs typeface="+mn-cs"/>
              </a:defRPr>
            </a:lvl3pPr>
            <a:lvl4pPr marL="720000" indent="-180000" algn="l" defTabSz="685800" rtl="0" eaLnBrk="1" latinLnBrk="0" hangingPunct="1">
              <a:lnSpc>
                <a:spcPct val="100000"/>
              </a:lnSpc>
              <a:spcBef>
                <a:spcPts val="0"/>
              </a:spcBef>
              <a:spcAft>
                <a:spcPts val="600"/>
              </a:spcAft>
              <a:buFont typeface="Arial" panose="020B0604020202020204" pitchFamily="34" charset="0"/>
              <a:buChar char="−"/>
              <a:defRPr sz="1000" kern="1200">
                <a:solidFill>
                  <a:schemeClr val="accent1"/>
                </a:solidFill>
                <a:latin typeface="+mn-lt"/>
                <a:ea typeface="+mn-ea"/>
                <a:cs typeface="+mn-cs"/>
              </a:defRPr>
            </a:lvl4pPr>
            <a:lvl5pPr marL="900000" indent="-180000" algn="l" defTabSz="685800" rtl="0" eaLnBrk="1" latinLnBrk="0" hangingPunct="1">
              <a:lnSpc>
                <a:spcPct val="100000"/>
              </a:lnSpc>
              <a:spcBef>
                <a:spcPts val="0"/>
              </a:spcBef>
              <a:spcAft>
                <a:spcPts val="600"/>
              </a:spcAft>
              <a:buFont typeface="Arial" panose="020B0604020202020204" pitchFamily="34" charset="0"/>
              <a:buChar char="−"/>
              <a:defRPr sz="1000" kern="1200">
                <a:solidFill>
                  <a:schemeClr val="accen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Zurich Sans Medium" panose="02000000000000000000" pitchFamily="2" charset="0"/>
                <a:ea typeface="+mn-ea"/>
                <a:cs typeface="+mn-cs"/>
              </a:rPr>
              <a:t>Risk Engineering</a:t>
            </a:r>
          </a:p>
          <a:p>
            <a:pPr marL="0" marR="0" lvl="0" indent="0" algn="ctr" defTabSz="914354"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b="0" i="0" u="none" strike="noStrike" kern="1200" cap="none" spc="0" normalizeH="0" baseline="0" noProof="0">
                <a:ln>
                  <a:noFill/>
                </a:ln>
                <a:solidFill>
                  <a:srgbClr val="FFFFFF"/>
                </a:solidFill>
                <a:effectLst/>
                <a:uLnTx/>
                <a:uFillTx/>
                <a:latin typeface="Zurich Sans Light" panose="02000000000000000000" pitchFamily="2" charset="0"/>
                <a:ea typeface="+mn-ea"/>
                <a:cs typeface="+mn-cs"/>
              </a:rPr>
              <a:t>Wir unterstützen Sie dabei, Risikomanagement ganzheitlich in Ihrer Organisation zu verankern, zum Schutz ihrer Werte, Ihrer Mitarbeitenden und Ihrer Betriebsabläufe.</a:t>
            </a:r>
          </a:p>
        </p:txBody>
      </p:sp>
      <p:sp>
        <p:nvSpPr>
          <p:cNvPr id="14" name="Content Placeholder 6">
            <a:extLst>
              <a:ext uri="{FF2B5EF4-FFF2-40B4-BE49-F238E27FC236}">
                <a16:creationId xmlns:a16="http://schemas.microsoft.com/office/drawing/2014/main" id="{8CDA5E3F-AFAE-AE44-49FC-EF18C367CED1}"/>
              </a:ext>
            </a:extLst>
          </p:cNvPr>
          <p:cNvSpPr txBox="1">
            <a:spLocks/>
          </p:cNvSpPr>
          <p:nvPr/>
        </p:nvSpPr>
        <p:spPr>
          <a:xfrm>
            <a:off x="4401871" y="4931126"/>
            <a:ext cx="3388257" cy="1489831"/>
          </a:xfrm>
          <a:prstGeom prst="rect">
            <a:avLst/>
          </a:prstGeom>
          <a:noFill/>
        </p:spPr>
        <p:txBody>
          <a:bodyPr vert="horz" wrap="square" lIns="0" tIns="0" rIns="0" bIns="0" rtlCol="0" anchor="t" anchorCtr="0">
            <a:spAutoFit/>
          </a:bodyPr>
          <a:lstStyle>
            <a:lvl1pPr marL="180000" indent="-18000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1pPr>
            <a:lvl2pPr marL="360000" indent="-180000" algn="l" defTabSz="685800" rtl="0" eaLnBrk="1" latinLnBrk="0" hangingPunct="1">
              <a:lnSpc>
                <a:spcPct val="100000"/>
              </a:lnSpc>
              <a:spcBef>
                <a:spcPts val="0"/>
              </a:spcBef>
              <a:spcAft>
                <a:spcPts val="600"/>
              </a:spcAft>
              <a:buFont typeface="Arial" panose="020B0604020202020204" pitchFamily="34" charset="0"/>
              <a:buChar char="−"/>
              <a:defRPr sz="1100" kern="1200">
                <a:solidFill>
                  <a:schemeClr val="accent1"/>
                </a:solidFill>
                <a:latin typeface="+mn-lt"/>
                <a:ea typeface="+mn-ea"/>
                <a:cs typeface="+mn-cs"/>
              </a:defRPr>
            </a:lvl2pPr>
            <a:lvl3pPr marL="540000" indent="-180000" algn="l" defTabSz="685800" rtl="0" eaLnBrk="1" latinLnBrk="0" hangingPunct="1">
              <a:lnSpc>
                <a:spcPct val="100000"/>
              </a:lnSpc>
              <a:spcBef>
                <a:spcPts val="0"/>
              </a:spcBef>
              <a:spcAft>
                <a:spcPts val="600"/>
              </a:spcAft>
              <a:buFont typeface="Arial" panose="020B0604020202020204" pitchFamily="34" charset="0"/>
              <a:buChar char="−"/>
              <a:defRPr sz="1050" kern="1200">
                <a:solidFill>
                  <a:schemeClr val="accent1"/>
                </a:solidFill>
                <a:latin typeface="+mn-lt"/>
                <a:ea typeface="+mn-ea"/>
                <a:cs typeface="+mn-cs"/>
              </a:defRPr>
            </a:lvl3pPr>
            <a:lvl4pPr marL="720000" indent="-180000" algn="l" defTabSz="685800" rtl="0" eaLnBrk="1" latinLnBrk="0" hangingPunct="1">
              <a:lnSpc>
                <a:spcPct val="100000"/>
              </a:lnSpc>
              <a:spcBef>
                <a:spcPts val="0"/>
              </a:spcBef>
              <a:spcAft>
                <a:spcPts val="600"/>
              </a:spcAft>
              <a:buFont typeface="Arial" panose="020B0604020202020204" pitchFamily="34" charset="0"/>
              <a:buChar char="−"/>
              <a:defRPr sz="1000" kern="1200">
                <a:solidFill>
                  <a:schemeClr val="accent1"/>
                </a:solidFill>
                <a:latin typeface="+mn-lt"/>
                <a:ea typeface="+mn-ea"/>
                <a:cs typeface="+mn-cs"/>
              </a:defRPr>
            </a:lvl4pPr>
            <a:lvl5pPr marL="900000" indent="-180000" algn="l" defTabSz="685800" rtl="0" eaLnBrk="1" latinLnBrk="0" hangingPunct="1">
              <a:lnSpc>
                <a:spcPct val="100000"/>
              </a:lnSpc>
              <a:spcBef>
                <a:spcPts val="0"/>
              </a:spcBef>
              <a:spcAft>
                <a:spcPts val="600"/>
              </a:spcAft>
              <a:buFont typeface="Arial" panose="020B0604020202020204" pitchFamily="34" charset="0"/>
              <a:buChar char="−"/>
              <a:defRPr sz="1000" kern="1200">
                <a:solidFill>
                  <a:schemeClr val="accen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Zurich Sans Medium" panose="02000000000000000000" pitchFamily="2" charset="0"/>
                <a:ea typeface="+mn-ea"/>
                <a:cs typeface="+mn-cs"/>
              </a:rPr>
              <a:t>Climate Resilience</a:t>
            </a:r>
          </a:p>
          <a:p>
            <a:pPr marL="0" marR="0" lvl="0" indent="0" algn="ctr" defTabSz="914354"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b="0" i="0" u="none" strike="noStrike" kern="1200" cap="none" spc="0" normalizeH="0" baseline="0" noProof="0">
                <a:ln>
                  <a:noFill/>
                </a:ln>
                <a:solidFill>
                  <a:srgbClr val="FFFFFF"/>
                </a:solidFill>
                <a:effectLst/>
                <a:uLnTx/>
                <a:uFillTx/>
                <a:latin typeface="Zurich Sans Light" panose="02000000000000000000" pitchFamily="2" charset="0"/>
                <a:ea typeface="+mn-ea"/>
                <a:cs typeface="+mn-cs"/>
              </a:rPr>
              <a:t>Ein spezialisiertes Kompetenzzentrum</a:t>
            </a:r>
            <a:r>
              <a:rPr lang="de-DE">
                <a:solidFill>
                  <a:srgbClr val="FFFFFF"/>
                </a:solidFill>
                <a:latin typeface="Zurich Sans Light" panose="02000000000000000000" pitchFamily="2" charset="0"/>
              </a:rPr>
              <a:t>, das Sie dabei unterstützt, Klimarisiken zu identifizieren, kritische Standorte anzupassen und Ihre klimabezogene Berichterstattung zu stärken. </a:t>
            </a:r>
            <a:endParaRPr kumimoji="0" lang="de-DE" b="0" i="0" u="none" strike="noStrike" kern="1200" cap="none" spc="0" normalizeH="0" baseline="0" noProof="0">
              <a:ln>
                <a:noFill/>
              </a:ln>
              <a:solidFill>
                <a:srgbClr val="FFFFFF"/>
              </a:solidFill>
              <a:effectLst/>
              <a:uLnTx/>
              <a:uFillTx/>
              <a:latin typeface="Zurich Sans Light" panose="02000000000000000000" pitchFamily="2" charset="0"/>
              <a:ea typeface="+mn-ea"/>
              <a:cs typeface="+mn-cs"/>
            </a:endParaRPr>
          </a:p>
        </p:txBody>
      </p:sp>
      <p:sp>
        <p:nvSpPr>
          <p:cNvPr id="15" name="Content Placeholder 6">
            <a:extLst>
              <a:ext uri="{FF2B5EF4-FFF2-40B4-BE49-F238E27FC236}">
                <a16:creationId xmlns:a16="http://schemas.microsoft.com/office/drawing/2014/main" id="{BED520CC-C553-9D65-4F83-D75D62A5FB9E}"/>
              </a:ext>
            </a:extLst>
          </p:cNvPr>
          <p:cNvSpPr txBox="1">
            <a:spLocks/>
          </p:cNvSpPr>
          <p:nvPr/>
        </p:nvSpPr>
        <p:spPr>
          <a:xfrm>
            <a:off x="8520110" y="4915368"/>
            <a:ext cx="3021186" cy="1489831"/>
          </a:xfrm>
          <a:prstGeom prst="rect">
            <a:avLst/>
          </a:prstGeom>
          <a:noFill/>
        </p:spPr>
        <p:txBody>
          <a:bodyPr vert="horz" wrap="square" lIns="0" tIns="0" rIns="0" bIns="0" rtlCol="0" anchor="t" anchorCtr="0">
            <a:spAutoFit/>
          </a:bodyPr>
          <a:lstStyle>
            <a:lvl1pPr marL="180000" indent="-18000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1pPr>
            <a:lvl2pPr marL="360000" indent="-180000" algn="l" defTabSz="685800" rtl="0" eaLnBrk="1" latinLnBrk="0" hangingPunct="1">
              <a:lnSpc>
                <a:spcPct val="100000"/>
              </a:lnSpc>
              <a:spcBef>
                <a:spcPts val="0"/>
              </a:spcBef>
              <a:spcAft>
                <a:spcPts val="600"/>
              </a:spcAft>
              <a:buFont typeface="Arial" panose="020B0604020202020204" pitchFamily="34" charset="0"/>
              <a:buChar char="−"/>
              <a:defRPr sz="1100" kern="1200">
                <a:solidFill>
                  <a:schemeClr val="accent1"/>
                </a:solidFill>
                <a:latin typeface="+mn-lt"/>
                <a:ea typeface="+mn-ea"/>
                <a:cs typeface="+mn-cs"/>
              </a:defRPr>
            </a:lvl2pPr>
            <a:lvl3pPr marL="540000" indent="-180000" algn="l" defTabSz="685800" rtl="0" eaLnBrk="1" latinLnBrk="0" hangingPunct="1">
              <a:lnSpc>
                <a:spcPct val="100000"/>
              </a:lnSpc>
              <a:spcBef>
                <a:spcPts val="0"/>
              </a:spcBef>
              <a:spcAft>
                <a:spcPts val="600"/>
              </a:spcAft>
              <a:buFont typeface="Arial" panose="020B0604020202020204" pitchFamily="34" charset="0"/>
              <a:buChar char="−"/>
              <a:defRPr sz="1050" kern="1200">
                <a:solidFill>
                  <a:schemeClr val="accent1"/>
                </a:solidFill>
                <a:latin typeface="+mn-lt"/>
                <a:ea typeface="+mn-ea"/>
                <a:cs typeface="+mn-cs"/>
              </a:defRPr>
            </a:lvl3pPr>
            <a:lvl4pPr marL="720000" indent="-180000" algn="l" defTabSz="685800" rtl="0" eaLnBrk="1" latinLnBrk="0" hangingPunct="1">
              <a:lnSpc>
                <a:spcPct val="100000"/>
              </a:lnSpc>
              <a:spcBef>
                <a:spcPts val="0"/>
              </a:spcBef>
              <a:spcAft>
                <a:spcPts val="600"/>
              </a:spcAft>
              <a:buFont typeface="Arial" panose="020B0604020202020204" pitchFamily="34" charset="0"/>
              <a:buChar char="−"/>
              <a:defRPr sz="1000" kern="1200">
                <a:solidFill>
                  <a:schemeClr val="accent1"/>
                </a:solidFill>
                <a:latin typeface="+mn-lt"/>
                <a:ea typeface="+mn-ea"/>
                <a:cs typeface="+mn-cs"/>
              </a:defRPr>
            </a:lvl4pPr>
            <a:lvl5pPr marL="900000" indent="-180000" algn="l" defTabSz="685800" rtl="0" eaLnBrk="1" latinLnBrk="0" hangingPunct="1">
              <a:lnSpc>
                <a:spcPct val="100000"/>
              </a:lnSpc>
              <a:spcBef>
                <a:spcPts val="0"/>
              </a:spcBef>
              <a:spcAft>
                <a:spcPts val="600"/>
              </a:spcAft>
              <a:buFont typeface="Arial" panose="020B0604020202020204" pitchFamily="34" charset="0"/>
              <a:buChar char="−"/>
              <a:defRPr sz="1000" kern="1200">
                <a:solidFill>
                  <a:schemeClr val="accen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Zurich Sans Medium" panose="02000000000000000000" pitchFamily="2" charset="0"/>
                <a:ea typeface="+mn-ea"/>
                <a:cs typeface="+mn-cs"/>
              </a:rPr>
              <a:t>Cyber Security</a:t>
            </a:r>
          </a:p>
          <a:p>
            <a:pPr marL="0" marR="0" lvl="0" indent="0" algn="ctr" defTabSz="914354"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b="0" i="0" u="none" strike="noStrike" kern="1200" cap="none" spc="0" normalizeH="0" baseline="0" noProof="0">
                <a:ln>
                  <a:noFill/>
                </a:ln>
                <a:solidFill>
                  <a:srgbClr val="FFFFFF"/>
                </a:solidFill>
                <a:effectLst/>
                <a:uLnTx/>
                <a:uFillTx/>
                <a:latin typeface="Zurich Sans Light" panose="02000000000000000000" pitchFamily="2" charset="0"/>
                <a:ea typeface="+mn-ea"/>
                <a:cs typeface="+mn-cs"/>
              </a:rPr>
              <a:t>Durch unseren beratenden Ansatz im Bereich Cybersicherheit helfen wir Ihnen, Ihre Cyber-Resilienz zu steigern und Ihr Risikoprofil nachhaltig zu optimieren. </a:t>
            </a:r>
          </a:p>
        </p:txBody>
      </p:sp>
      <p:pic>
        <p:nvPicPr>
          <p:cNvPr id="16" name="Picture 15" descr="A dam with a river in the middle&#10;&#10;Description automatically generated with medium confidence">
            <a:extLst>
              <a:ext uri="{FF2B5EF4-FFF2-40B4-BE49-F238E27FC236}">
                <a16:creationId xmlns:a16="http://schemas.microsoft.com/office/drawing/2014/main" id="{B89C9FC9-0F10-F1E4-EE14-0515B99E3527}"/>
              </a:ext>
            </a:extLst>
          </p:cNvPr>
          <p:cNvPicPr>
            <a:picLocks noChangeAspect="1"/>
          </p:cNvPicPr>
          <p:nvPr/>
        </p:nvPicPr>
        <p:blipFill rotWithShape="1">
          <a:blip r:embed="rId5">
            <a:extLst>
              <a:ext uri="{28A0092B-C50C-407E-A947-70E740481C1C}">
                <a14:useLocalDpi xmlns:a14="http://schemas.microsoft.com/office/drawing/2010/main" val="0"/>
              </a:ext>
            </a:extLst>
          </a:blip>
          <a:srcRect l="16824" t="6651" r="27873" b="10367"/>
          <a:stretch/>
        </p:blipFill>
        <p:spPr>
          <a:xfrm>
            <a:off x="5128039" y="2737776"/>
            <a:ext cx="1953144" cy="1953144"/>
          </a:xfrm>
          <a:custGeom>
            <a:avLst/>
            <a:gdLst>
              <a:gd name="connsiteX0" fmla="*/ 976572 w 1953144"/>
              <a:gd name="connsiteY0" fmla="*/ 0 h 1953144"/>
              <a:gd name="connsiteX1" fmla="*/ 1953144 w 1953144"/>
              <a:gd name="connsiteY1" fmla="*/ 976572 h 1953144"/>
              <a:gd name="connsiteX2" fmla="*/ 976572 w 1953144"/>
              <a:gd name="connsiteY2" fmla="*/ 1953144 h 1953144"/>
              <a:gd name="connsiteX3" fmla="*/ 0 w 1953144"/>
              <a:gd name="connsiteY3" fmla="*/ 976572 h 1953144"/>
              <a:gd name="connsiteX4" fmla="*/ 976572 w 1953144"/>
              <a:gd name="connsiteY4" fmla="*/ 0 h 1953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3144" h="1953144">
                <a:moveTo>
                  <a:pt x="976572" y="0"/>
                </a:moveTo>
                <a:cubicBezTo>
                  <a:pt x="1515918" y="0"/>
                  <a:pt x="1953144" y="437226"/>
                  <a:pt x="1953144" y="976572"/>
                </a:cubicBezTo>
                <a:cubicBezTo>
                  <a:pt x="1953144" y="1515918"/>
                  <a:pt x="1515918" y="1953144"/>
                  <a:pt x="976572" y="1953144"/>
                </a:cubicBezTo>
                <a:cubicBezTo>
                  <a:pt x="437226" y="1953144"/>
                  <a:pt x="0" y="1515918"/>
                  <a:pt x="0" y="976572"/>
                </a:cubicBezTo>
                <a:cubicBezTo>
                  <a:pt x="0" y="437226"/>
                  <a:pt x="437226" y="0"/>
                  <a:pt x="976572" y="0"/>
                </a:cubicBezTo>
                <a:close/>
              </a:path>
            </a:pathLst>
          </a:custGeom>
        </p:spPr>
      </p:pic>
      <p:sp>
        <p:nvSpPr>
          <p:cNvPr id="3" name="TextBox 2">
            <a:extLst>
              <a:ext uri="{FF2B5EF4-FFF2-40B4-BE49-F238E27FC236}">
                <a16:creationId xmlns:a16="http://schemas.microsoft.com/office/drawing/2014/main" id="{FEAF3C4F-6A9B-52CD-C1AE-4AF5537955F9}"/>
              </a:ext>
            </a:extLst>
          </p:cNvPr>
          <p:cNvSpPr txBox="1"/>
          <p:nvPr/>
        </p:nvSpPr>
        <p:spPr>
          <a:xfrm>
            <a:off x="228979" y="1385015"/>
            <a:ext cx="10579396" cy="1541549"/>
          </a:xfrm>
          <a:prstGeom prst="rect">
            <a:avLst/>
          </a:prstGeom>
          <a:noFill/>
        </p:spPr>
        <p:txBody>
          <a:bodyPr wrap="square" lIns="108000" tIns="108000" rIns="108000" b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2167AE"/>
              </a:solidFill>
              <a:effectLst/>
              <a:uLnTx/>
              <a:uFillTx/>
              <a:latin typeface="Zurich Sans Light"/>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b="0" i="0" u="none" strike="noStrike" kern="1200" cap="none" spc="0" normalizeH="0" baseline="0" noProof="0">
                <a:ln>
                  <a:noFill/>
                </a:ln>
                <a:solidFill>
                  <a:srgbClr val="2167AE"/>
                </a:solidFill>
                <a:effectLst/>
                <a:uLnTx/>
                <a:uFillTx/>
                <a:latin typeface="Zurich Sans Light"/>
                <a:ea typeface="+mn-ea"/>
                <a:cs typeface="+mn-cs"/>
              </a:rPr>
              <a:t>Als global agierender Servicepartner begleiten wir Sie auf allen Ebenen Ihres Unternehmens, von der strategischen Planung bis zur konkreten Umsetzung von Risikomanagementmaßnahmen an einzelnen Standorten. Unser Ziel: Ihre Organisation nachhaltig resilient zu machen. </a:t>
            </a:r>
            <a:endParaRPr kumimoji="0" lang="en-GB" b="0" i="0" u="none" strike="noStrike" kern="1200" cap="none" spc="0" normalizeH="0" baseline="0" noProof="0">
              <a:ln>
                <a:noFill/>
              </a:ln>
              <a:solidFill>
                <a:srgbClr val="2167AE"/>
              </a:solidFill>
              <a:effectLst/>
              <a:uLnTx/>
              <a:uFillTx/>
              <a:latin typeface="Zurich Sans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2167AE"/>
              </a:solidFill>
              <a:effectLst/>
              <a:uLnTx/>
              <a:uFillTx/>
              <a:latin typeface="Zurich Sans Light"/>
              <a:ea typeface="+mn-ea"/>
              <a:cs typeface="+mn-cs"/>
            </a:endParaRPr>
          </a:p>
        </p:txBody>
      </p:sp>
      <p:sp>
        <p:nvSpPr>
          <p:cNvPr id="5" name="Foliennummernplatzhalter 4">
            <a:extLst>
              <a:ext uri="{FF2B5EF4-FFF2-40B4-BE49-F238E27FC236}">
                <a16:creationId xmlns:a16="http://schemas.microsoft.com/office/drawing/2014/main" id="{D4D15772-AE92-3FEB-F934-692507B132B1}"/>
              </a:ext>
            </a:extLst>
          </p:cNvPr>
          <p:cNvSpPr>
            <a:spLocks noGrp="1"/>
          </p:cNvSpPr>
          <p:nvPr>
            <p:ph type="sldNum" sz="quarter" idx="4"/>
          </p:nvPr>
        </p:nvSpPr>
        <p:spPr>
          <a:xfrm>
            <a:off x="10731717" y="6538667"/>
            <a:ext cx="551115" cy="181960"/>
          </a:xfrm>
        </p:spPr>
        <p:txBody>
          <a:bodyPr/>
          <a:lstStyle/>
          <a:p>
            <a:fld id="{FA58F0B4-6BC7-4BFB-804F-EE9B892902C7}" type="slidenum">
              <a:rPr lang="en-US" smtClean="0"/>
              <a:pPr/>
              <a:t>27</a:t>
            </a:fld>
            <a:endParaRPr lang="en-US"/>
          </a:p>
        </p:txBody>
      </p:sp>
    </p:spTree>
    <p:extLst>
      <p:ext uri="{BB962C8B-B14F-4D97-AF65-F5344CB8AC3E}">
        <p14:creationId xmlns:p14="http://schemas.microsoft.com/office/powerpoint/2010/main" val="22845587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69FA021-2DDE-3283-9A0D-03F356F38138}"/>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3AE7831D-0150-41FC-D64D-4050ACE07D45}"/>
              </a:ext>
            </a:extLst>
          </p:cNvPr>
          <p:cNvSpPr>
            <a:spLocks noGrp="1" noRot="1" noMove="1" noResize="1" noEditPoints="1" noAdjustHandles="1" noChangeArrowheads="1" noChangeShapeType="1"/>
          </p:cNvSpPr>
          <p:nvPr/>
        </p:nvSpPr>
        <p:spPr>
          <a:xfrm>
            <a:off x="8114079" y="1180434"/>
            <a:ext cx="3820746" cy="251593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ES" sz="1000"/>
          </a:p>
        </p:txBody>
      </p:sp>
      <p:graphicFrame>
        <p:nvGraphicFramePr>
          <p:cNvPr id="6" name="Object 5" hidden="1">
            <a:extLst>
              <a:ext uri="{FF2B5EF4-FFF2-40B4-BE49-F238E27FC236}">
                <a16:creationId xmlns:a16="http://schemas.microsoft.com/office/drawing/2014/main" id="{EBFF95D3-9CED-EFB0-6052-CD71A55691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6" name="Object 5" hidden="1">
                        <a:extLst>
                          <a:ext uri="{FF2B5EF4-FFF2-40B4-BE49-F238E27FC236}">
                            <a16:creationId xmlns:a16="http://schemas.microsoft.com/office/drawing/2014/main" id="{EBFF95D3-9CED-EFB0-6052-CD71A55691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C2B497-760C-29D5-F638-2803897607AC}"/>
              </a:ext>
            </a:extLst>
          </p:cNvPr>
          <p:cNvSpPr>
            <a:spLocks noGrp="1"/>
          </p:cNvSpPr>
          <p:nvPr>
            <p:ph type="title"/>
          </p:nvPr>
        </p:nvSpPr>
        <p:spPr>
          <a:xfrm>
            <a:off x="251589" y="752721"/>
            <a:ext cx="9586415" cy="360099"/>
          </a:xfrm>
        </p:spPr>
        <p:txBody>
          <a:bodyPr vert="horz"/>
          <a:lstStyle/>
          <a:p>
            <a:r>
              <a:rPr lang="de-DE" sz="2600"/>
              <a:t>Die wichtigsten Kundenvorteile der </a:t>
            </a:r>
            <a:r>
              <a:rPr lang="de-DE" sz="2600" err="1"/>
              <a:t>Zurich</a:t>
            </a:r>
            <a:r>
              <a:rPr lang="de-DE" sz="2600"/>
              <a:t> Klimadaten</a:t>
            </a:r>
            <a:endParaRPr lang="en-US" sz="2600"/>
          </a:p>
        </p:txBody>
      </p:sp>
      <p:sp>
        <p:nvSpPr>
          <p:cNvPr id="2" name="Rectangle 1">
            <a:extLst>
              <a:ext uri="{FF2B5EF4-FFF2-40B4-BE49-F238E27FC236}">
                <a16:creationId xmlns:a16="http://schemas.microsoft.com/office/drawing/2014/main" id="{CC2C6A62-C164-1B89-7D35-5DA3C7FCA102}"/>
              </a:ext>
            </a:extLst>
          </p:cNvPr>
          <p:cNvSpPr>
            <a:spLocks noGrp="1" noRot="1" noMove="1" noResize="1" noEditPoints="1" noAdjustHandles="1" noChangeArrowheads="1" noChangeShapeType="1"/>
          </p:cNvSpPr>
          <p:nvPr/>
        </p:nvSpPr>
        <p:spPr>
          <a:xfrm>
            <a:off x="257175" y="1180434"/>
            <a:ext cx="3820746" cy="25159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ES" sz="1000"/>
          </a:p>
        </p:txBody>
      </p:sp>
      <p:sp>
        <p:nvSpPr>
          <p:cNvPr id="7" name="Rectangle 6">
            <a:extLst>
              <a:ext uri="{FF2B5EF4-FFF2-40B4-BE49-F238E27FC236}">
                <a16:creationId xmlns:a16="http://schemas.microsoft.com/office/drawing/2014/main" id="{98ED6367-EDD3-2D21-0099-B0974953D707}"/>
              </a:ext>
            </a:extLst>
          </p:cNvPr>
          <p:cNvSpPr>
            <a:spLocks noGrp="1" noRot="1" noMove="1" noResize="1" noEditPoints="1" noAdjustHandles="1" noChangeArrowheads="1" noChangeShapeType="1"/>
          </p:cNvSpPr>
          <p:nvPr/>
        </p:nvSpPr>
        <p:spPr>
          <a:xfrm>
            <a:off x="4185627" y="1180433"/>
            <a:ext cx="3820746" cy="251593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ES" sz="1000"/>
          </a:p>
        </p:txBody>
      </p:sp>
      <p:sp>
        <p:nvSpPr>
          <p:cNvPr id="11" name="TextBox 10">
            <a:extLst>
              <a:ext uri="{FF2B5EF4-FFF2-40B4-BE49-F238E27FC236}">
                <a16:creationId xmlns:a16="http://schemas.microsoft.com/office/drawing/2014/main" id="{376AC934-CA03-9B35-FEF6-BEC6E7BB2415}"/>
              </a:ext>
            </a:extLst>
          </p:cNvPr>
          <p:cNvSpPr txBox="1">
            <a:spLocks/>
          </p:cNvSpPr>
          <p:nvPr/>
        </p:nvSpPr>
        <p:spPr>
          <a:xfrm>
            <a:off x="430971" y="2014463"/>
            <a:ext cx="3417285" cy="1726215"/>
          </a:xfrm>
          <a:prstGeom prst="rect">
            <a:avLst/>
          </a:prstGeom>
          <a:noFill/>
        </p:spPr>
        <p:txBody>
          <a:bodyPr wrap="square" lIns="108000" tIns="108000" rIns="108000" bIns="108000" rtlCol="0">
            <a:spAutoFit/>
          </a:bodyPr>
          <a:lstStyle/>
          <a:p>
            <a:pPr algn="l"/>
            <a:r>
              <a:rPr lang="de-DE" sz="1400">
                <a:solidFill>
                  <a:schemeClr val="accent1"/>
                </a:solidFill>
              </a:rPr>
              <a:t>Unsere Klimadaten werden intern entwickelt, so dass wir unsere Metriken ableiten und flexibel aktualisieren können, um die Bedürfnisse unserer Kunden bestmöglich zu erfüllen, wobei wir auch die Hinweise unserer Risikoexperten berücksichtigen.</a:t>
            </a:r>
            <a:endParaRPr lang="pl-PL" sz="1400">
              <a:solidFill>
                <a:schemeClr val="accent1"/>
              </a:solidFill>
            </a:endParaRPr>
          </a:p>
        </p:txBody>
      </p:sp>
      <p:sp>
        <p:nvSpPr>
          <p:cNvPr id="12" name="TextBox 11">
            <a:extLst>
              <a:ext uri="{FF2B5EF4-FFF2-40B4-BE49-F238E27FC236}">
                <a16:creationId xmlns:a16="http://schemas.microsoft.com/office/drawing/2014/main" id="{B820D6E3-908E-2903-8CEC-DDF74301A22C}"/>
              </a:ext>
            </a:extLst>
          </p:cNvPr>
          <p:cNvSpPr txBox="1">
            <a:spLocks/>
          </p:cNvSpPr>
          <p:nvPr/>
        </p:nvSpPr>
        <p:spPr>
          <a:xfrm>
            <a:off x="4381007" y="2015529"/>
            <a:ext cx="3625366" cy="1726215"/>
          </a:xfrm>
          <a:prstGeom prst="rect">
            <a:avLst/>
          </a:prstGeom>
          <a:noFill/>
        </p:spPr>
        <p:txBody>
          <a:bodyPr wrap="square" lIns="108000" tIns="108000" rIns="108000" bIns="108000" rtlCol="0">
            <a:spAutoFit/>
          </a:bodyPr>
          <a:lstStyle/>
          <a:p>
            <a:r>
              <a:rPr lang="de-DE" sz="1400">
                <a:solidFill>
                  <a:schemeClr val="accent1"/>
                </a:solidFill>
              </a:rPr>
              <a:t>Unsere Daten ermöglichen die vollständige Integration aktueller und zukünftiger Gefahren in unsere Bewertungen, wobei wir uns auf unser Fachwissen im Bereich der Naturgefahrenmodellierung stützen, um zukunftsgerichtete Klimadaten zu entwickeln. </a:t>
            </a:r>
            <a:endParaRPr lang="pl-PL" sz="1400">
              <a:solidFill>
                <a:schemeClr val="accent1"/>
              </a:solidFill>
            </a:endParaRPr>
          </a:p>
        </p:txBody>
      </p:sp>
      <p:sp>
        <p:nvSpPr>
          <p:cNvPr id="13" name="TextBox 12">
            <a:extLst>
              <a:ext uri="{FF2B5EF4-FFF2-40B4-BE49-F238E27FC236}">
                <a16:creationId xmlns:a16="http://schemas.microsoft.com/office/drawing/2014/main" id="{0A641924-22AC-C98E-828A-54A4E1FB4714}"/>
              </a:ext>
            </a:extLst>
          </p:cNvPr>
          <p:cNvSpPr txBox="1">
            <a:spLocks/>
          </p:cNvSpPr>
          <p:nvPr/>
        </p:nvSpPr>
        <p:spPr>
          <a:xfrm>
            <a:off x="8309459" y="2014463"/>
            <a:ext cx="3417285" cy="1510771"/>
          </a:xfrm>
          <a:prstGeom prst="rect">
            <a:avLst/>
          </a:prstGeom>
          <a:noFill/>
        </p:spPr>
        <p:txBody>
          <a:bodyPr wrap="square" lIns="108000" tIns="108000" rIns="108000" bIns="108000" rtlCol="0">
            <a:spAutoFit/>
          </a:bodyPr>
          <a:lstStyle/>
          <a:p>
            <a:pPr algn="l"/>
            <a:r>
              <a:rPr lang="de-DE" sz="1400">
                <a:solidFill>
                  <a:schemeClr val="accent1"/>
                </a:solidFill>
              </a:rPr>
              <a:t>Wir behalten den vollen Einblick in die Modellierungsmethodik, die Annahmen und die Grenzen. Dies ermöglicht es ZRS und unseren Kunden, die Ergebnisse in ihrem Kontext besser zu interpretieren.</a:t>
            </a:r>
            <a:endParaRPr lang="pl-PL" sz="1400">
              <a:solidFill>
                <a:schemeClr val="accent1"/>
              </a:solidFill>
            </a:endParaRPr>
          </a:p>
        </p:txBody>
      </p:sp>
      <p:sp>
        <p:nvSpPr>
          <p:cNvPr id="14" name="TextBox 13">
            <a:extLst>
              <a:ext uri="{FF2B5EF4-FFF2-40B4-BE49-F238E27FC236}">
                <a16:creationId xmlns:a16="http://schemas.microsoft.com/office/drawing/2014/main" id="{7F8A46E5-C917-584D-ECD2-E83A8F588A01}"/>
              </a:ext>
            </a:extLst>
          </p:cNvPr>
          <p:cNvSpPr txBox="1">
            <a:spLocks/>
          </p:cNvSpPr>
          <p:nvPr/>
        </p:nvSpPr>
        <p:spPr>
          <a:xfrm>
            <a:off x="1196525" y="1556875"/>
            <a:ext cx="2726211" cy="369332"/>
          </a:xfrm>
          <a:prstGeom prst="rect">
            <a:avLst/>
          </a:prstGeom>
          <a:noFill/>
        </p:spPr>
        <p:txBody>
          <a:bodyPr wrap="square">
            <a:spAutoFit/>
          </a:bodyPr>
          <a:lstStyle/>
          <a:p>
            <a:pPr algn="l"/>
            <a:r>
              <a:rPr lang="en-GB" err="1">
                <a:solidFill>
                  <a:schemeClr val="accent1"/>
                </a:solidFill>
              </a:rPr>
              <a:t>Flexibilität</a:t>
            </a:r>
            <a:endParaRPr lang="en-GB">
              <a:solidFill>
                <a:schemeClr val="accent1"/>
              </a:solidFill>
            </a:endParaRPr>
          </a:p>
        </p:txBody>
      </p:sp>
      <p:sp>
        <p:nvSpPr>
          <p:cNvPr id="15" name="TextBox 14">
            <a:extLst>
              <a:ext uri="{FF2B5EF4-FFF2-40B4-BE49-F238E27FC236}">
                <a16:creationId xmlns:a16="http://schemas.microsoft.com/office/drawing/2014/main" id="{E4180F74-64FA-9C23-804D-C187D2EF30AB}"/>
              </a:ext>
            </a:extLst>
          </p:cNvPr>
          <p:cNvSpPr txBox="1">
            <a:spLocks/>
          </p:cNvSpPr>
          <p:nvPr/>
        </p:nvSpPr>
        <p:spPr>
          <a:xfrm>
            <a:off x="5103254" y="1556875"/>
            <a:ext cx="2726211" cy="369332"/>
          </a:xfrm>
          <a:prstGeom prst="rect">
            <a:avLst/>
          </a:prstGeom>
          <a:noFill/>
        </p:spPr>
        <p:txBody>
          <a:bodyPr wrap="square">
            <a:spAutoFit/>
          </a:bodyPr>
          <a:lstStyle/>
          <a:p>
            <a:pPr algn="l"/>
            <a:r>
              <a:rPr lang="en-GB" err="1">
                <a:solidFill>
                  <a:schemeClr val="accent1"/>
                </a:solidFill>
              </a:rPr>
              <a:t>Konsistenz</a:t>
            </a:r>
            <a:endParaRPr lang="en-GB">
              <a:solidFill>
                <a:schemeClr val="accent1"/>
              </a:solidFill>
            </a:endParaRPr>
          </a:p>
        </p:txBody>
      </p:sp>
      <p:sp>
        <p:nvSpPr>
          <p:cNvPr id="18" name="TextBox 17">
            <a:extLst>
              <a:ext uri="{FF2B5EF4-FFF2-40B4-BE49-F238E27FC236}">
                <a16:creationId xmlns:a16="http://schemas.microsoft.com/office/drawing/2014/main" id="{2CEA1374-FFBC-086B-868F-6A0EB18D4A6F}"/>
              </a:ext>
            </a:extLst>
          </p:cNvPr>
          <p:cNvSpPr txBox="1">
            <a:spLocks/>
          </p:cNvSpPr>
          <p:nvPr/>
        </p:nvSpPr>
        <p:spPr>
          <a:xfrm>
            <a:off x="9023388" y="1556875"/>
            <a:ext cx="2726211" cy="369332"/>
          </a:xfrm>
          <a:prstGeom prst="rect">
            <a:avLst/>
          </a:prstGeom>
          <a:noFill/>
        </p:spPr>
        <p:txBody>
          <a:bodyPr wrap="square">
            <a:spAutoFit/>
          </a:bodyPr>
          <a:lstStyle/>
          <a:p>
            <a:pPr algn="l"/>
            <a:r>
              <a:rPr lang="en-GB" err="1">
                <a:solidFill>
                  <a:schemeClr val="accent1"/>
                </a:solidFill>
              </a:rPr>
              <a:t>Transparenz</a:t>
            </a:r>
            <a:endParaRPr lang="en-GB">
              <a:solidFill>
                <a:schemeClr val="accent1"/>
              </a:solidFill>
            </a:endParaRPr>
          </a:p>
        </p:txBody>
      </p:sp>
      <p:sp>
        <p:nvSpPr>
          <p:cNvPr id="21" name="Rectangle 20">
            <a:extLst>
              <a:ext uri="{FF2B5EF4-FFF2-40B4-BE49-F238E27FC236}">
                <a16:creationId xmlns:a16="http://schemas.microsoft.com/office/drawing/2014/main" id="{78AB0A04-7FF9-EC7B-64F0-EDC305B94DB2}"/>
              </a:ext>
            </a:extLst>
          </p:cNvPr>
          <p:cNvSpPr>
            <a:spLocks noGrp="1" noRot="1" noMove="1" noResize="1" noEditPoints="1" noAdjustHandles="1" noChangeArrowheads="1" noChangeShapeType="1"/>
          </p:cNvSpPr>
          <p:nvPr/>
        </p:nvSpPr>
        <p:spPr>
          <a:xfrm>
            <a:off x="8114079" y="3820529"/>
            <a:ext cx="3820746" cy="25159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ES" sz="1000"/>
          </a:p>
        </p:txBody>
      </p:sp>
      <p:sp>
        <p:nvSpPr>
          <p:cNvPr id="22" name="Rectangle 21">
            <a:extLst>
              <a:ext uri="{FF2B5EF4-FFF2-40B4-BE49-F238E27FC236}">
                <a16:creationId xmlns:a16="http://schemas.microsoft.com/office/drawing/2014/main" id="{9D249FCD-39AA-4D33-8B12-6A204148B7ED}"/>
              </a:ext>
            </a:extLst>
          </p:cNvPr>
          <p:cNvSpPr>
            <a:spLocks noGrp="1" noRot="1" noMove="1" noResize="1" noEditPoints="1" noAdjustHandles="1" noChangeArrowheads="1" noChangeShapeType="1"/>
          </p:cNvSpPr>
          <p:nvPr/>
        </p:nvSpPr>
        <p:spPr>
          <a:xfrm>
            <a:off x="257175" y="3820529"/>
            <a:ext cx="3820746" cy="251593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ES" sz="1000"/>
          </a:p>
        </p:txBody>
      </p:sp>
      <p:sp>
        <p:nvSpPr>
          <p:cNvPr id="23" name="Rectangle 22">
            <a:extLst>
              <a:ext uri="{FF2B5EF4-FFF2-40B4-BE49-F238E27FC236}">
                <a16:creationId xmlns:a16="http://schemas.microsoft.com/office/drawing/2014/main" id="{15E26BD9-9F3A-FE6C-3D14-65E6DE330EA3}"/>
              </a:ext>
            </a:extLst>
          </p:cNvPr>
          <p:cNvSpPr>
            <a:spLocks noGrp="1" noRot="1" noMove="1" noResize="1" noEditPoints="1" noAdjustHandles="1" noChangeArrowheads="1" noChangeShapeType="1"/>
          </p:cNvSpPr>
          <p:nvPr/>
        </p:nvSpPr>
        <p:spPr>
          <a:xfrm>
            <a:off x="4185627" y="3820528"/>
            <a:ext cx="3820746" cy="251593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ES" sz="1000"/>
          </a:p>
        </p:txBody>
      </p:sp>
      <p:sp>
        <p:nvSpPr>
          <p:cNvPr id="24" name="TextBox 23">
            <a:extLst>
              <a:ext uri="{FF2B5EF4-FFF2-40B4-BE49-F238E27FC236}">
                <a16:creationId xmlns:a16="http://schemas.microsoft.com/office/drawing/2014/main" id="{1E2BF56D-D660-DCFF-F8DA-17467267BDCD}"/>
              </a:ext>
            </a:extLst>
          </p:cNvPr>
          <p:cNvSpPr txBox="1">
            <a:spLocks/>
          </p:cNvSpPr>
          <p:nvPr/>
        </p:nvSpPr>
        <p:spPr>
          <a:xfrm>
            <a:off x="452555" y="4686421"/>
            <a:ext cx="3417285" cy="1510771"/>
          </a:xfrm>
          <a:prstGeom prst="rect">
            <a:avLst/>
          </a:prstGeom>
          <a:noFill/>
        </p:spPr>
        <p:txBody>
          <a:bodyPr wrap="square" lIns="108000" tIns="108000" rIns="108000" bIns="108000" rtlCol="0">
            <a:spAutoFit/>
          </a:bodyPr>
          <a:lstStyle/>
          <a:p>
            <a:pPr algn="l"/>
            <a:r>
              <a:rPr lang="de-DE" sz="1400">
                <a:solidFill>
                  <a:schemeClr val="accent1"/>
                </a:solidFill>
              </a:rPr>
              <a:t>Da uns der gesamte globale Datensatz zur Verfügung steht, können wir Analysen zu größeren Portfolios durchführen und die Nähe zu bestimmten Standorten untersuchen, um den Kontext zu verbessern.</a:t>
            </a:r>
            <a:endParaRPr lang="pl-PL" sz="1400">
              <a:solidFill>
                <a:schemeClr val="accent1"/>
              </a:solidFill>
            </a:endParaRPr>
          </a:p>
        </p:txBody>
      </p:sp>
      <p:sp>
        <p:nvSpPr>
          <p:cNvPr id="25" name="TextBox 24">
            <a:extLst>
              <a:ext uri="{FF2B5EF4-FFF2-40B4-BE49-F238E27FC236}">
                <a16:creationId xmlns:a16="http://schemas.microsoft.com/office/drawing/2014/main" id="{4EDD4223-588D-6475-F41B-31A6DC784B55}"/>
              </a:ext>
            </a:extLst>
          </p:cNvPr>
          <p:cNvSpPr txBox="1">
            <a:spLocks/>
          </p:cNvSpPr>
          <p:nvPr/>
        </p:nvSpPr>
        <p:spPr>
          <a:xfrm>
            <a:off x="4361105" y="4671245"/>
            <a:ext cx="3632661" cy="1726215"/>
          </a:xfrm>
          <a:prstGeom prst="rect">
            <a:avLst/>
          </a:prstGeom>
          <a:noFill/>
        </p:spPr>
        <p:txBody>
          <a:bodyPr wrap="square" lIns="108000" tIns="108000" rIns="108000" bIns="108000" rtlCol="0">
            <a:spAutoFit/>
          </a:bodyPr>
          <a:lstStyle/>
          <a:p>
            <a:r>
              <a:rPr lang="de-DE" sz="1400">
                <a:solidFill>
                  <a:schemeClr val="accent1"/>
                </a:solidFill>
              </a:rPr>
              <a:t>Unsere Metriken zeigen Extremereignisse entsprechend den Wiederkehrperioden. Dies ermöglicht eine Verknüpfung mit der Häufigkeit von Ereignissen und Optionen für die Bewertung eines Spektrums von Ereignissen, das von abnutzungsbedingt (häufig) bis selten reicht.</a:t>
            </a:r>
            <a:endParaRPr lang="pl-PL" sz="1400">
              <a:solidFill>
                <a:schemeClr val="accent1"/>
              </a:solidFill>
            </a:endParaRPr>
          </a:p>
        </p:txBody>
      </p:sp>
      <p:sp>
        <p:nvSpPr>
          <p:cNvPr id="26" name="TextBox 25">
            <a:extLst>
              <a:ext uri="{FF2B5EF4-FFF2-40B4-BE49-F238E27FC236}">
                <a16:creationId xmlns:a16="http://schemas.microsoft.com/office/drawing/2014/main" id="{BE4C2DEC-E4A6-CD06-7EA3-99DE0C49E6BB}"/>
              </a:ext>
            </a:extLst>
          </p:cNvPr>
          <p:cNvSpPr txBox="1">
            <a:spLocks/>
          </p:cNvSpPr>
          <p:nvPr/>
        </p:nvSpPr>
        <p:spPr>
          <a:xfrm>
            <a:off x="8289557" y="4671244"/>
            <a:ext cx="3632661" cy="1726215"/>
          </a:xfrm>
          <a:prstGeom prst="rect">
            <a:avLst/>
          </a:prstGeom>
          <a:noFill/>
        </p:spPr>
        <p:txBody>
          <a:bodyPr wrap="square" lIns="108000" tIns="108000" rIns="108000" bIns="108000" rtlCol="0">
            <a:spAutoFit/>
          </a:bodyPr>
          <a:lstStyle/>
          <a:p>
            <a:pPr algn="l"/>
            <a:r>
              <a:rPr lang="de-DE" sz="1400">
                <a:solidFill>
                  <a:schemeClr val="accent1"/>
                </a:solidFill>
              </a:rPr>
              <a:t>Unsere Daten durchlaufen einen strengen internen Genehmigungsprozess, an dem Experten aus der gesamten </a:t>
            </a:r>
            <a:r>
              <a:rPr lang="de-DE" sz="1400" err="1">
                <a:solidFill>
                  <a:schemeClr val="accent1"/>
                </a:solidFill>
              </a:rPr>
              <a:t>Zurich</a:t>
            </a:r>
            <a:r>
              <a:rPr lang="de-DE" sz="1400">
                <a:solidFill>
                  <a:schemeClr val="accent1"/>
                </a:solidFill>
              </a:rPr>
              <a:t> Gruppe beteiligt sind. Dadurch wird sichergestellt, dass die Daten gut genug für unser Geschäft und für unsere Kunden und deren Interessengruppen sind.</a:t>
            </a:r>
            <a:endParaRPr lang="pl-PL" sz="1400">
              <a:solidFill>
                <a:schemeClr val="accent1"/>
              </a:solidFill>
            </a:endParaRPr>
          </a:p>
        </p:txBody>
      </p:sp>
      <p:pic>
        <p:nvPicPr>
          <p:cNvPr id="27" name="Picture 26">
            <a:extLst>
              <a:ext uri="{FF2B5EF4-FFF2-40B4-BE49-F238E27FC236}">
                <a16:creationId xmlns:a16="http://schemas.microsoft.com/office/drawing/2014/main" id="{2BEE56F9-9B85-0AEA-6A28-9C56261A49A5}"/>
              </a:ext>
            </a:extLst>
          </p:cNvPr>
          <p:cNvPicPr>
            <a:picLocks noChangeAspect="1"/>
          </p:cNvPicPr>
          <p:nvPr/>
        </p:nvPicPr>
        <p:blipFill>
          <a:blip r:embed="rId5"/>
          <a:stretch>
            <a:fillRect/>
          </a:stretch>
        </p:blipFill>
        <p:spPr>
          <a:xfrm>
            <a:off x="8397263" y="4094166"/>
            <a:ext cx="557767" cy="591067"/>
          </a:xfrm>
          <a:prstGeom prst="rect">
            <a:avLst/>
          </a:prstGeom>
          <a:ln>
            <a:noFill/>
          </a:ln>
        </p:spPr>
      </p:pic>
      <p:sp>
        <p:nvSpPr>
          <p:cNvPr id="30" name="TextBox 29">
            <a:extLst>
              <a:ext uri="{FF2B5EF4-FFF2-40B4-BE49-F238E27FC236}">
                <a16:creationId xmlns:a16="http://schemas.microsoft.com/office/drawing/2014/main" id="{227CF2C4-5A76-5B97-6E7C-58D4F169EDB7}"/>
              </a:ext>
            </a:extLst>
          </p:cNvPr>
          <p:cNvSpPr txBox="1">
            <a:spLocks/>
          </p:cNvSpPr>
          <p:nvPr/>
        </p:nvSpPr>
        <p:spPr>
          <a:xfrm>
            <a:off x="1265439" y="4196970"/>
            <a:ext cx="2582817" cy="369332"/>
          </a:xfrm>
          <a:prstGeom prst="rect">
            <a:avLst/>
          </a:prstGeom>
          <a:noFill/>
        </p:spPr>
        <p:txBody>
          <a:bodyPr wrap="square">
            <a:spAutoFit/>
          </a:bodyPr>
          <a:lstStyle/>
          <a:p>
            <a:pPr algn="l"/>
            <a:r>
              <a:rPr lang="en-GB" err="1">
                <a:solidFill>
                  <a:schemeClr val="accent1"/>
                </a:solidFill>
              </a:rPr>
              <a:t>Skalierbarkeit</a:t>
            </a:r>
            <a:endParaRPr lang="en-GB">
              <a:solidFill>
                <a:schemeClr val="accent1"/>
              </a:solidFill>
            </a:endParaRPr>
          </a:p>
        </p:txBody>
      </p:sp>
      <p:sp>
        <p:nvSpPr>
          <p:cNvPr id="31" name="TextBox 30">
            <a:extLst>
              <a:ext uri="{FF2B5EF4-FFF2-40B4-BE49-F238E27FC236}">
                <a16:creationId xmlns:a16="http://schemas.microsoft.com/office/drawing/2014/main" id="{D2ED5FD9-5658-0679-1F0F-4EF4EC94714E}"/>
              </a:ext>
            </a:extLst>
          </p:cNvPr>
          <p:cNvSpPr txBox="1">
            <a:spLocks/>
          </p:cNvSpPr>
          <p:nvPr/>
        </p:nvSpPr>
        <p:spPr>
          <a:xfrm>
            <a:off x="5103254" y="4196970"/>
            <a:ext cx="2726211" cy="369332"/>
          </a:xfrm>
          <a:prstGeom prst="rect">
            <a:avLst/>
          </a:prstGeom>
          <a:noFill/>
        </p:spPr>
        <p:txBody>
          <a:bodyPr wrap="square">
            <a:spAutoFit/>
          </a:bodyPr>
          <a:lstStyle/>
          <a:p>
            <a:pPr algn="l"/>
            <a:r>
              <a:rPr lang="en-GB" err="1">
                <a:solidFill>
                  <a:schemeClr val="accent1"/>
                </a:solidFill>
              </a:rPr>
              <a:t>Granularität</a:t>
            </a:r>
            <a:endParaRPr lang="en-GB">
              <a:solidFill>
                <a:schemeClr val="accent1"/>
              </a:solidFill>
            </a:endParaRPr>
          </a:p>
        </p:txBody>
      </p:sp>
      <p:sp>
        <p:nvSpPr>
          <p:cNvPr id="32" name="TextBox 31">
            <a:extLst>
              <a:ext uri="{FF2B5EF4-FFF2-40B4-BE49-F238E27FC236}">
                <a16:creationId xmlns:a16="http://schemas.microsoft.com/office/drawing/2014/main" id="{0B11C8F1-2BE0-6A1B-651A-1818865A6E2E}"/>
              </a:ext>
            </a:extLst>
          </p:cNvPr>
          <p:cNvSpPr txBox="1">
            <a:spLocks/>
          </p:cNvSpPr>
          <p:nvPr/>
        </p:nvSpPr>
        <p:spPr>
          <a:xfrm>
            <a:off x="9075343" y="4196970"/>
            <a:ext cx="2726211" cy="369332"/>
          </a:xfrm>
          <a:prstGeom prst="rect">
            <a:avLst/>
          </a:prstGeom>
          <a:noFill/>
        </p:spPr>
        <p:txBody>
          <a:bodyPr wrap="square">
            <a:spAutoFit/>
          </a:bodyPr>
          <a:lstStyle/>
          <a:p>
            <a:pPr algn="l"/>
            <a:r>
              <a:rPr lang="en-GB" err="1">
                <a:solidFill>
                  <a:schemeClr val="accent1"/>
                </a:solidFill>
              </a:rPr>
              <a:t>Qualität</a:t>
            </a:r>
            <a:endParaRPr lang="en-GB">
              <a:solidFill>
                <a:schemeClr val="accent1"/>
              </a:solidFill>
            </a:endParaRPr>
          </a:p>
        </p:txBody>
      </p:sp>
      <p:pic>
        <p:nvPicPr>
          <p:cNvPr id="36" name="Graphic 35">
            <a:extLst>
              <a:ext uri="{FF2B5EF4-FFF2-40B4-BE49-F238E27FC236}">
                <a16:creationId xmlns:a16="http://schemas.microsoft.com/office/drawing/2014/main" id="{17A1126F-E4C5-93DA-85B0-AF3FFB3B47F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6514" y="1416775"/>
            <a:ext cx="716012" cy="716012"/>
          </a:xfrm>
          <a:prstGeom prst="rect">
            <a:avLst/>
          </a:prstGeom>
        </p:spPr>
      </p:pic>
      <p:pic>
        <p:nvPicPr>
          <p:cNvPr id="38" name="Picture 37">
            <a:extLst>
              <a:ext uri="{FF2B5EF4-FFF2-40B4-BE49-F238E27FC236}">
                <a16:creationId xmlns:a16="http://schemas.microsoft.com/office/drawing/2014/main" id="{5E8E3735-5BC7-CAAE-1666-2490FC746A03}"/>
              </a:ext>
            </a:extLst>
          </p:cNvPr>
          <p:cNvPicPr>
            <a:picLocks noChangeAspect="1"/>
          </p:cNvPicPr>
          <p:nvPr/>
        </p:nvPicPr>
        <p:blipFill>
          <a:blip r:embed="rId8"/>
          <a:stretch>
            <a:fillRect/>
          </a:stretch>
        </p:blipFill>
        <p:spPr>
          <a:xfrm>
            <a:off x="8397263" y="1582435"/>
            <a:ext cx="544809" cy="328615"/>
          </a:xfrm>
          <a:prstGeom prst="rect">
            <a:avLst/>
          </a:prstGeom>
        </p:spPr>
      </p:pic>
      <p:pic>
        <p:nvPicPr>
          <p:cNvPr id="39" name="Picture 38">
            <a:extLst>
              <a:ext uri="{FF2B5EF4-FFF2-40B4-BE49-F238E27FC236}">
                <a16:creationId xmlns:a16="http://schemas.microsoft.com/office/drawing/2014/main" id="{1087C517-B08A-203F-B34A-D5602632CFEA}"/>
              </a:ext>
            </a:extLst>
          </p:cNvPr>
          <p:cNvPicPr>
            <a:picLocks noChangeAspect="1"/>
          </p:cNvPicPr>
          <p:nvPr/>
        </p:nvPicPr>
        <p:blipFill>
          <a:blip r:embed="rId9"/>
          <a:stretch>
            <a:fillRect/>
          </a:stretch>
        </p:blipFill>
        <p:spPr>
          <a:xfrm>
            <a:off x="4460743" y="1567224"/>
            <a:ext cx="509861" cy="395582"/>
          </a:xfrm>
          <a:prstGeom prst="rect">
            <a:avLst/>
          </a:prstGeom>
        </p:spPr>
      </p:pic>
      <p:pic>
        <p:nvPicPr>
          <p:cNvPr id="41" name="Picture 40">
            <a:extLst>
              <a:ext uri="{FF2B5EF4-FFF2-40B4-BE49-F238E27FC236}">
                <a16:creationId xmlns:a16="http://schemas.microsoft.com/office/drawing/2014/main" id="{30699243-00C9-C56C-72DC-3A64E9ED04B2}"/>
              </a:ext>
            </a:extLst>
          </p:cNvPr>
          <p:cNvPicPr>
            <a:picLocks noChangeAspect="1"/>
          </p:cNvPicPr>
          <p:nvPr/>
        </p:nvPicPr>
        <p:blipFill>
          <a:blip r:embed="rId10"/>
          <a:stretch>
            <a:fillRect/>
          </a:stretch>
        </p:blipFill>
        <p:spPr>
          <a:xfrm>
            <a:off x="541521" y="4218015"/>
            <a:ext cx="571256" cy="375621"/>
          </a:xfrm>
          <a:prstGeom prst="rect">
            <a:avLst/>
          </a:prstGeom>
        </p:spPr>
      </p:pic>
      <p:pic>
        <p:nvPicPr>
          <p:cNvPr id="43" name="Picture 42">
            <a:extLst>
              <a:ext uri="{FF2B5EF4-FFF2-40B4-BE49-F238E27FC236}">
                <a16:creationId xmlns:a16="http://schemas.microsoft.com/office/drawing/2014/main" id="{3BCE2FE0-BD60-572A-1D0D-502CE676B433}"/>
              </a:ext>
            </a:extLst>
          </p:cNvPr>
          <p:cNvPicPr>
            <a:picLocks noChangeAspect="1"/>
          </p:cNvPicPr>
          <p:nvPr/>
        </p:nvPicPr>
        <p:blipFill>
          <a:blip r:embed="rId11"/>
          <a:stretch>
            <a:fillRect/>
          </a:stretch>
        </p:blipFill>
        <p:spPr>
          <a:xfrm>
            <a:off x="4463950" y="4166562"/>
            <a:ext cx="511308" cy="430148"/>
          </a:xfrm>
          <a:prstGeom prst="rect">
            <a:avLst/>
          </a:prstGeom>
        </p:spPr>
      </p:pic>
      <p:grpSp>
        <p:nvGrpSpPr>
          <p:cNvPr id="37" name="Group 1">
            <a:extLst>
              <a:ext uri="{FF2B5EF4-FFF2-40B4-BE49-F238E27FC236}">
                <a16:creationId xmlns:a16="http://schemas.microsoft.com/office/drawing/2014/main" id="{D159A6F1-BA9B-156A-D10B-2E15ECCB3DDE}"/>
              </a:ext>
            </a:extLst>
          </p:cNvPr>
          <p:cNvGrpSpPr/>
          <p:nvPr/>
        </p:nvGrpSpPr>
        <p:grpSpPr>
          <a:xfrm>
            <a:off x="250823" y="289004"/>
            <a:ext cx="9724302" cy="320056"/>
            <a:chOff x="250823" y="289004"/>
            <a:chExt cx="9724302" cy="320056"/>
          </a:xfrm>
        </p:grpSpPr>
        <p:sp>
          <p:nvSpPr>
            <p:cNvPr id="40" name="Rounded Rectangle 5">
              <a:extLst>
                <a:ext uri="{FF2B5EF4-FFF2-40B4-BE49-F238E27FC236}">
                  <a16:creationId xmlns:a16="http://schemas.microsoft.com/office/drawing/2014/main" id="{814B558A-58E1-281A-154F-110607EA81C4}"/>
                </a:ext>
              </a:extLst>
            </p:cNvPr>
            <p:cNvSpPr/>
            <p:nvPr/>
          </p:nvSpPr>
          <p:spPr>
            <a:xfrm>
              <a:off x="250823" y="289004"/>
              <a:ext cx="1620000" cy="32005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5"/>
                  </a:solidFill>
                </a:rPr>
                <a:t>Portfolioebene</a:t>
              </a:r>
            </a:p>
          </p:txBody>
        </p:sp>
        <p:sp>
          <p:nvSpPr>
            <p:cNvPr id="42" name="Rounded Rectangle 6">
              <a:extLst>
                <a:ext uri="{FF2B5EF4-FFF2-40B4-BE49-F238E27FC236}">
                  <a16:creationId xmlns:a16="http://schemas.microsoft.com/office/drawing/2014/main" id="{353043A3-737B-4E28-862F-3C64272218B2}"/>
                </a:ext>
              </a:extLst>
            </p:cNvPr>
            <p:cNvSpPr/>
            <p:nvPr/>
          </p:nvSpPr>
          <p:spPr>
            <a:xfrm>
              <a:off x="1873116" y="289004"/>
              <a:ext cx="1620000" cy="320056"/>
            </a:xfrm>
            <a:prstGeom prst="roundRect">
              <a:avLst>
                <a:gd name="adj" fmla="val 50000"/>
              </a:avLst>
            </a:prstGeom>
            <a:solidFill>
              <a:srgbClr val="DDEAF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Identifikation</a:t>
              </a:r>
            </a:p>
          </p:txBody>
        </p:sp>
        <p:sp>
          <p:nvSpPr>
            <p:cNvPr id="44" name="Rounded Rectangle 11">
              <a:extLst>
                <a:ext uri="{FF2B5EF4-FFF2-40B4-BE49-F238E27FC236}">
                  <a16:creationId xmlns:a16="http://schemas.microsoft.com/office/drawing/2014/main" id="{D02489B6-82E4-3EB9-C9FD-42053C67E1C2}"/>
                </a:ext>
              </a:extLst>
            </p:cNvPr>
            <p:cNvSpPr/>
            <p:nvPr/>
          </p:nvSpPr>
          <p:spPr>
            <a:xfrm>
              <a:off x="3488837" y="289004"/>
              <a:ext cx="1620000" cy="320056"/>
            </a:xfrm>
            <a:prstGeom prst="roundRect">
              <a:avLst>
                <a:gd name="adj" fmla="val 50000"/>
              </a:avLst>
            </a:prstGeom>
            <a:solidFill>
              <a:srgbClr val="DDEAF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Priorisierung</a:t>
              </a:r>
            </a:p>
          </p:txBody>
        </p:sp>
        <p:sp>
          <p:nvSpPr>
            <p:cNvPr id="45" name="Rounded Rectangle 13">
              <a:extLst>
                <a:ext uri="{FF2B5EF4-FFF2-40B4-BE49-F238E27FC236}">
                  <a16:creationId xmlns:a16="http://schemas.microsoft.com/office/drawing/2014/main" id="{5DF08AB4-4F3A-28F3-EF3F-D9B8D6548315}"/>
                </a:ext>
              </a:extLst>
            </p:cNvPr>
            <p:cNvSpPr/>
            <p:nvPr/>
          </p:nvSpPr>
          <p:spPr>
            <a:xfrm>
              <a:off x="5113770"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Standortebene</a:t>
              </a:r>
            </a:p>
          </p:txBody>
        </p:sp>
        <p:sp>
          <p:nvSpPr>
            <p:cNvPr id="46" name="Rounded Rectangle 17">
              <a:extLst>
                <a:ext uri="{FF2B5EF4-FFF2-40B4-BE49-F238E27FC236}">
                  <a16:creationId xmlns:a16="http://schemas.microsoft.com/office/drawing/2014/main" id="{AF26D8BC-F855-8D24-86AB-369C747BFC9D}"/>
                </a:ext>
              </a:extLst>
            </p:cNvPr>
            <p:cNvSpPr/>
            <p:nvPr/>
          </p:nvSpPr>
          <p:spPr>
            <a:xfrm>
              <a:off x="6732879"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Quantifizierung</a:t>
              </a:r>
            </a:p>
          </p:txBody>
        </p:sp>
        <p:sp>
          <p:nvSpPr>
            <p:cNvPr id="47" name="Rounded Rectangle 18">
              <a:extLst>
                <a:ext uri="{FF2B5EF4-FFF2-40B4-BE49-F238E27FC236}">
                  <a16:creationId xmlns:a16="http://schemas.microsoft.com/office/drawing/2014/main" id="{9A3B94D4-8166-3DFA-C85D-3668DE5903BE}"/>
                </a:ext>
              </a:extLst>
            </p:cNvPr>
            <p:cNvSpPr/>
            <p:nvPr/>
          </p:nvSpPr>
          <p:spPr>
            <a:xfrm>
              <a:off x="8355125"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Anpassung</a:t>
              </a:r>
            </a:p>
          </p:txBody>
        </p:sp>
      </p:grpSp>
      <p:sp>
        <p:nvSpPr>
          <p:cNvPr id="5" name="Foliennummernplatzhalter 4">
            <a:extLst>
              <a:ext uri="{FF2B5EF4-FFF2-40B4-BE49-F238E27FC236}">
                <a16:creationId xmlns:a16="http://schemas.microsoft.com/office/drawing/2014/main" id="{9054838B-9E0A-78F3-8FA3-E46E9159B0A0}"/>
              </a:ext>
            </a:extLst>
          </p:cNvPr>
          <p:cNvSpPr>
            <a:spLocks noGrp="1"/>
          </p:cNvSpPr>
          <p:nvPr>
            <p:ph type="sldNum" sz="quarter" idx="4"/>
          </p:nvPr>
        </p:nvSpPr>
        <p:spPr>
          <a:xfrm>
            <a:off x="10733088" y="6530942"/>
            <a:ext cx="551115" cy="181960"/>
          </a:xfrm>
        </p:spPr>
        <p:txBody>
          <a:bodyPr/>
          <a:lstStyle/>
          <a:p>
            <a:fld id="{FA58F0B4-6BC7-4BFB-804F-EE9B892902C7}" type="slidenum">
              <a:rPr lang="en-US" smtClean="0"/>
              <a:pPr/>
              <a:t>28</a:t>
            </a:fld>
            <a:endParaRPr lang="en-US"/>
          </a:p>
        </p:txBody>
      </p:sp>
    </p:spTree>
    <p:extLst>
      <p:ext uri="{BB962C8B-B14F-4D97-AF65-F5344CB8AC3E}">
        <p14:creationId xmlns:p14="http://schemas.microsoft.com/office/powerpoint/2010/main" val="2315501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ctrTitle"/>
          </p:nvPr>
        </p:nvSpPr>
        <p:spPr>
          <a:xfrm>
            <a:off x="314464" y="265064"/>
            <a:ext cx="9918108" cy="632651"/>
          </a:xfrm>
          <a:prstGeom prst="rect">
            <a:avLst/>
          </a:prstGeom>
        </p:spPr>
        <p:txBody>
          <a:bodyPr vert="horz" wrap="square" lIns="0" tIns="16933" rIns="0" bIns="0" rtlCol="0" anchor="t" anchorCtr="0">
            <a:spAutoFit/>
          </a:bodyPr>
          <a:lstStyle/>
          <a:p>
            <a:pPr marL="16933">
              <a:lnSpc>
                <a:spcPct val="100000"/>
              </a:lnSpc>
              <a:spcBef>
                <a:spcPts val="133"/>
              </a:spcBef>
            </a:pPr>
            <a:r>
              <a:rPr lang="de-DE" sz="2200" dirty="0">
                <a:latin typeface="+mj-lt"/>
              </a:rPr>
              <a:t>Man muss nicht weit in die Zukunft blicken, um den Klimawandel zu erkennen</a:t>
            </a:r>
          </a:p>
          <a:p>
            <a:pPr marL="16933">
              <a:lnSpc>
                <a:spcPct val="100000"/>
              </a:lnSpc>
              <a:spcBef>
                <a:spcPts val="13"/>
              </a:spcBef>
            </a:pPr>
            <a:r>
              <a:rPr lang="de-DE" sz="1800" dirty="0"/>
              <a:t>Veränderte Muster sind bereits heute sichtbar und machen Resilienz zu einer zentralen Priorität</a:t>
            </a:r>
            <a:endParaRPr sz="1800" dirty="0"/>
          </a:p>
        </p:txBody>
      </p:sp>
      <p:sp>
        <p:nvSpPr>
          <p:cNvPr id="4" name="object 4"/>
          <p:cNvSpPr txBox="1"/>
          <p:nvPr/>
        </p:nvSpPr>
        <p:spPr>
          <a:xfrm>
            <a:off x="8234141" y="1301848"/>
            <a:ext cx="3246659" cy="263320"/>
          </a:xfrm>
          <a:prstGeom prst="rect">
            <a:avLst/>
          </a:prstGeom>
        </p:spPr>
        <p:txBody>
          <a:bodyPr vert="horz" wrap="square" lIns="0" tIns="16933" rIns="0" bIns="0" rtlCol="0">
            <a:spAutoFit/>
          </a:bodyPr>
          <a:lstStyle/>
          <a:p>
            <a:pPr marL="16933" marR="0" lvl="0" indent="0" algn="l" defTabSz="914400" rtl="0" eaLnBrk="1" fontAlgn="auto" latinLnBrk="0" hangingPunct="1">
              <a:lnSpc>
                <a:spcPct val="100000"/>
              </a:lnSpc>
              <a:spcBef>
                <a:spcPts val="133"/>
              </a:spcBef>
              <a:spcAft>
                <a:spcPts val="0"/>
              </a:spcAft>
              <a:buClrTx/>
              <a:buSzTx/>
              <a:buFontTx/>
              <a:buNone/>
              <a:tabLst/>
              <a:defRPr/>
            </a:pPr>
            <a:r>
              <a:rPr kumimoji="0" lang="en-US" sz="1600" b="0" i="0" u="none" strike="noStrike" kern="1200" cap="none" spc="0" normalizeH="0" baseline="0" noProof="0">
                <a:ln>
                  <a:noFill/>
                </a:ln>
                <a:solidFill>
                  <a:srgbClr val="2067AD"/>
                </a:solidFill>
                <a:effectLst/>
                <a:uLnTx/>
                <a:uFillTx/>
                <a:latin typeface="Zurich Sans Light"/>
                <a:ea typeface="+mn-ea"/>
                <a:cs typeface="Zurich Sans Light"/>
              </a:rPr>
              <a:t>Limburg, Niederlande, Juli 2021</a:t>
            </a:r>
            <a:endParaRPr kumimoji="0" sz="1600" b="0" i="0" u="none" strike="noStrike" kern="1200" cap="none" spc="0" normalizeH="0" baseline="0" noProof="0">
              <a:ln>
                <a:noFill/>
              </a:ln>
              <a:solidFill>
                <a:srgbClr val="23366F"/>
              </a:solidFill>
              <a:effectLst/>
              <a:uLnTx/>
              <a:uFillTx/>
              <a:latin typeface="Zurich Sans Light"/>
              <a:ea typeface="+mn-ea"/>
              <a:cs typeface="Zurich Sans Light"/>
            </a:endParaRPr>
          </a:p>
        </p:txBody>
      </p:sp>
      <p:sp>
        <p:nvSpPr>
          <p:cNvPr id="10" name="object 10"/>
          <p:cNvSpPr txBox="1">
            <a:spLocks noGrp="1"/>
          </p:cNvSpPr>
          <p:nvPr>
            <p:ph type="sldNum" sz="quarter" idx="7"/>
          </p:nvPr>
        </p:nvSpPr>
        <p:spPr>
          <a:xfrm>
            <a:off x="14272683" y="8731956"/>
            <a:ext cx="734820" cy="141984"/>
          </a:xfrm>
          <a:prstGeom prst="rect">
            <a:avLst/>
          </a:prstGeom>
        </p:spPr>
        <p:txBody>
          <a:bodyPr vert="horz" wrap="square" lIns="0" tIns="8467" rIns="0" bIns="0" rtlCol="0" anchor="t" anchorCtr="0">
            <a:spAutoFit/>
          </a:bodyPr>
          <a:lstStyle/>
          <a:p>
            <a:pPr marL="94824" marR="0" lvl="0" indent="0" algn="r" defTabSz="914400" rtl="0" eaLnBrk="1" fontAlgn="auto" latinLnBrk="0" hangingPunct="1">
              <a:lnSpc>
                <a:spcPct val="100000"/>
              </a:lnSpc>
              <a:spcBef>
                <a:spcPts val="67"/>
              </a:spcBef>
              <a:spcAft>
                <a:spcPts val="0"/>
              </a:spcAft>
              <a:buClrTx/>
              <a:buSzTx/>
              <a:buFontTx/>
              <a:buNone/>
              <a:tabLst/>
              <a:defRPr/>
            </a:pPr>
            <a:fld id="{81D60167-4931-47E6-BA6A-407CBD079E47}" type="slidenum">
              <a:rPr kumimoji="0" sz="867" b="0" i="0" u="none" strike="noStrike" kern="1200" cap="none" spc="13" normalizeH="0" baseline="0" noProof="0" dirty="0">
                <a:ln>
                  <a:noFill/>
                </a:ln>
                <a:solidFill>
                  <a:srgbClr val="2067AD"/>
                </a:solidFill>
                <a:effectLst/>
                <a:uLnTx/>
                <a:uFillTx/>
                <a:latin typeface="Zurich Sans Light"/>
                <a:ea typeface="+mn-ea"/>
              </a:rPr>
              <a:pPr marL="94824" marR="0" lvl="0" indent="0" algn="r" defTabSz="914400" rtl="0" eaLnBrk="1" fontAlgn="auto" latinLnBrk="0" hangingPunct="1">
                <a:lnSpc>
                  <a:spcPct val="100000"/>
                </a:lnSpc>
                <a:spcBef>
                  <a:spcPts val="67"/>
                </a:spcBef>
                <a:spcAft>
                  <a:spcPts val="0"/>
                </a:spcAft>
                <a:buClrTx/>
                <a:buSzTx/>
                <a:buFontTx/>
                <a:buNone/>
                <a:tabLst/>
                <a:defRPr/>
              </a:pPr>
              <a:t>3</a:t>
            </a:fld>
            <a:endParaRPr kumimoji="0" sz="867" b="0" i="0" u="none" strike="noStrike" kern="1200" cap="none" spc="13" normalizeH="0" baseline="0" noProof="0">
              <a:ln>
                <a:noFill/>
              </a:ln>
              <a:solidFill>
                <a:srgbClr val="2067AD"/>
              </a:solidFill>
              <a:effectLst/>
              <a:uLnTx/>
              <a:uFillTx/>
              <a:latin typeface="Zurich Sans Light"/>
              <a:ea typeface="+mn-ea"/>
            </a:endParaRPr>
          </a:p>
        </p:txBody>
      </p:sp>
      <p:pic>
        <p:nvPicPr>
          <p:cNvPr id="1026" name="Picture 2">
            <a:extLst>
              <a:ext uri="{FF2B5EF4-FFF2-40B4-BE49-F238E27FC236}">
                <a16:creationId xmlns:a16="http://schemas.microsoft.com/office/drawing/2014/main" id="{04D7E9C8-C5A4-A94C-D899-881F833A6E4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34141" y="1678955"/>
            <a:ext cx="3653059" cy="2054845"/>
          </a:xfrm>
          <a:prstGeom prst="rect">
            <a:avLst/>
          </a:prstGeom>
          <a:noFill/>
          <a:extLst>
            <a:ext uri="{909E8E84-426E-40DD-AFC4-6F175D3DCCD1}">
              <a14:hiddenFill xmlns:a14="http://schemas.microsoft.com/office/drawing/2010/main">
                <a:solidFill>
                  <a:srgbClr val="FFFFFF"/>
                </a:solidFill>
              </a14:hiddenFill>
            </a:ext>
          </a:extLst>
        </p:spPr>
      </p:pic>
      <p:sp>
        <p:nvSpPr>
          <p:cNvPr id="13" name="object 4">
            <a:extLst>
              <a:ext uri="{FF2B5EF4-FFF2-40B4-BE49-F238E27FC236}">
                <a16:creationId xmlns:a16="http://schemas.microsoft.com/office/drawing/2014/main" id="{97191A89-03F7-0634-85AF-B54C513CCAD0}"/>
              </a:ext>
            </a:extLst>
          </p:cNvPr>
          <p:cNvSpPr txBox="1"/>
          <p:nvPr/>
        </p:nvSpPr>
        <p:spPr>
          <a:xfrm>
            <a:off x="8258818" y="3905354"/>
            <a:ext cx="3358909" cy="263320"/>
          </a:xfrm>
          <a:prstGeom prst="rect">
            <a:avLst/>
          </a:prstGeom>
        </p:spPr>
        <p:txBody>
          <a:bodyPr vert="horz" wrap="square" lIns="0" tIns="16933" rIns="0" bIns="0" rtlCol="0">
            <a:spAutoFit/>
          </a:bodyPr>
          <a:lstStyle/>
          <a:p>
            <a:pPr marL="16933" marR="0" lvl="0" indent="0" algn="l" defTabSz="914400" rtl="0" eaLnBrk="1" fontAlgn="auto" latinLnBrk="0" hangingPunct="1">
              <a:lnSpc>
                <a:spcPct val="100000"/>
              </a:lnSpc>
              <a:spcBef>
                <a:spcPts val="133"/>
              </a:spcBef>
              <a:spcAft>
                <a:spcPts val="0"/>
              </a:spcAft>
              <a:buClrTx/>
              <a:buSzTx/>
              <a:buFontTx/>
              <a:buNone/>
              <a:tabLst/>
              <a:defRPr/>
            </a:pPr>
            <a:r>
              <a:rPr kumimoji="0" lang="en-US" sz="1600" b="0" i="0" u="none" strike="noStrike" kern="1200" cap="none" spc="0" normalizeH="0" baseline="0" noProof="0">
                <a:ln>
                  <a:noFill/>
                </a:ln>
                <a:solidFill>
                  <a:srgbClr val="2067AD"/>
                </a:solidFill>
                <a:effectLst/>
                <a:uLnTx/>
                <a:uFillTx/>
                <a:latin typeface="Zurich Sans Light"/>
                <a:ea typeface="+mn-ea"/>
                <a:cs typeface="Zurich Sans Light"/>
              </a:rPr>
              <a:t>Los Angeles, USA, </a:t>
            </a:r>
            <a:r>
              <a:rPr kumimoji="0" lang="en-US" sz="1600" b="0" i="0" u="none" strike="noStrike" kern="1200" cap="none" spc="0" normalizeH="0" baseline="0" noProof="0" err="1">
                <a:ln>
                  <a:noFill/>
                </a:ln>
                <a:solidFill>
                  <a:srgbClr val="2067AD"/>
                </a:solidFill>
                <a:effectLst/>
                <a:uLnTx/>
                <a:uFillTx/>
                <a:latin typeface="Zurich Sans Light"/>
                <a:ea typeface="+mn-ea"/>
                <a:cs typeface="Zurich Sans Light"/>
              </a:rPr>
              <a:t>Januar</a:t>
            </a:r>
            <a:r>
              <a:rPr kumimoji="0" lang="en-US" sz="1600" b="0" i="0" u="none" strike="noStrike" kern="1200" cap="none" spc="0" normalizeH="0" baseline="0" noProof="0">
                <a:ln>
                  <a:noFill/>
                </a:ln>
                <a:solidFill>
                  <a:srgbClr val="2067AD"/>
                </a:solidFill>
                <a:effectLst/>
                <a:uLnTx/>
                <a:uFillTx/>
                <a:latin typeface="Zurich Sans Light"/>
                <a:ea typeface="+mn-ea"/>
                <a:cs typeface="Zurich Sans Light"/>
              </a:rPr>
              <a:t> 2025</a:t>
            </a:r>
            <a:endParaRPr kumimoji="0" sz="1600" b="0" i="0" u="none" strike="noStrike" kern="1200" cap="none" spc="0" normalizeH="0" baseline="0" noProof="0">
              <a:ln>
                <a:noFill/>
              </a:ln>
              <a:solidFill>
                <a:srgbClr val="23366F"/>
              </a:solidFill>
              <a:effectLst/>
              <a:uLnTx/>
              <a:uFillTx/>
              <a:latin typeface="Zurich Sans Light"/>
              <a:ea typeface="+mn-ea"/>
              <a:cs typeface="Zurich Sans Light"/>
            </a:endParaRPr>
          </a:p>
        </p:txBody>
      </p:sp>
      <p:pic>
        <p:nvPicPr>
          <p:cNvPr id="3" name="Picture 2" descr="Spain flooding: Photos show the devastation in Valencia : The Picture Show  : NPR">
            <a:extLst>
              <a:ext uri="{FF2B5EF4-FFF2-40B4-BE49-F238E27FC236}">
                <a16:creationId xmlns:a16="http://schemas.microsoft.com/office/drawing/2014/main" id="{39DFE7FB-4A60-A5C7-69AE-E3E6BED6D9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75201" y="4209294"/>
            <a:ext cx="3160271" cy="2106847"/>
          </a:xfrm>
          <a:prstGeom prst="rect">
            <a:avLst/>
          </a:prstGeom>
          <a:noFill/>
          <a:extLst>
            <a:ext uri="{909E8E84-426E-40DD-AFC4-6F175D3DCCD1}">
              <a14:hiddenFill xmlns:a14="http://schemas.microsoft.com/office/drawing/2010/main">
                <a:solidFill>
                  <a:srgbClr val="FFFFFF"/>
                </a:solidFill>
              </a14:hiddenFill>
            </a:ext>
          </a:extLst>
        </p:spPr>
      </p:pic>
      <p:sp>
        <p:nvSpPr>
          <p:cNvPr id="5" name="object 7">
            <a:extLst>
              <a:ext uri="{FF2B5EF4-FFF2-40B4-BE49-F238E27FC236}">
                <a16:creationId xmlns:a16="http://schemas.microsoft.com/office/drawing/2014/main" id="{7ED4202A-7AC9-CF87-ECDA-A2F7E37D55F7}"/>
              </a:ext>
            </a:extLst>
          </p:cNvPr>
          <p:cNvSpPr txBox="1"/>
          <p:nvPr/>
        </p:nvSpPr>
        <p:spPr>
          <a:xfrm>
            <a:off x="4792290" y="6352710"/>
            <a:ext cx="1996440" cy="150468"/>
          </a:xfrm>
          <a:prstGeom prst="rect">
            <a:avLst/>
          </a:prstGeom>
        </p:spPr>
        <p:txBody>
          <a:bodyPr vert="horz" wrap="square" lIns="0" tIns="27093"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3" marR="0" lvl="0" indent="0" algn="l" defTabSz="914400" rtl="0" eaLnBrk="1" fontAlgn="auto" latinLnBrk="0" hangingPunct="1">
              <a:lnSpc>
                <a:spcPct val="100000"/>
              </a:lnSpc>
              <a:spcBef>
                <a:spcPts val="213"/>
              </a:spcBef>
              <a:spcAft>
                <a:spcPts val="0"/>
              </a:spcAft>
              <a:buClrTx/>
              <a:buSzTx/>
              <a:buFontTx/>
              <a:buNone/>
              <a:tabLst/>
              <a:defRPr/>
            </a:pPr>
            <a:r>
              <a:rPr kumimoji="0" lang="en-US" sz="800" b="0" i="0" u="none" strike="noStrike" kern="1200" cap="none" spc="0" normalizeH="0" baseline="0" noProof="0" dirty="0" err="1">
                <a:ln>
                  <a:noFill/>
                </a:ln>
                <a:solidFill>
                  <a:srgbClr val="2067AD"/>
                </a:solidFill>
                <a:effectLst/>
                <a:uLnTx/>
                <a:uFillTx/>
                <a:latin typeface="Zurich Sans Light"/>
                <a:ea typeface="+mn-ea"/>
                <a:cs typeface="Zurich Sans Light"/>
              </a:rPr>
              <a:t>Quellen</a:t>
            </a:r>
            <a:r>
              <a:rPr kumimoji="0" lang="en-US" sz="800" b="0" i="0" u="none" strike="noStrike" kern="1200" cap="none" spc="0" normalizeH="0" baseline="0" noProof="0" dirty="0">
                <a:ln>
                  <a:noFill/>
                </a:ln>
                <a:solidFill>
                  <a:srgbClr val="2067AD"/>
                </a:solidFill>
                <a:effectLst/>
                <a:uLnTx/>
                <a:uFillTx/>
                <a:latin typeface="Zurich Sans Light"/>
                <a:ea typeface="+mn-ea"/>
                <a:cs typeface="Zurich Sans Light"/>
              </a:rPr>
              <a:t>:</a:t>
            </a:r>
            <a:r>
              <a:rPr kumimoji="0" lang="en-US" sz="800" b="0" i="0" u="none" strike="noStrike" kern="1200" cap="none" spc="124" normalizeH="0" baseline="0" noProof="0" dirty="0">
                <a:ln>
                  <a:noFill/>
                </a:ln>
                <a:solidFill>
                  <a:srgbClr val="2067AD"/>
                </a:solidFill>
                <a:effectLst/>
                <a:uLnTx/>
                <a:uFillTx/>
                <a:latin typeface="Zurich Sans Light"/>
                <a:ea typeface="+mn-ea"/>
                <a:cs typeface="Zurich Sans Light"/>
              </a:rPr>
              <a:t> </a:t>
            </a:r>
            <a:r>
              <a:rPr kumimoji="0" lang="en-US" sz="800" b="0" i="0" u="none" strike="noStrike" kern="1200" cap="none" spc="-17" normalizeH="0" baseline="0" noProof="0" dirty="0">
                <a:ln>
                  <a:noFill/>
                </a:ln>
                <a:solidFill>
                  <a:srgbClr val="2067AD"/>
                </a:solidFill>
                <a:effectLst/>
                <a:uLnTx/>
                <a:uFillTx/>
                <a:latin typeface="Zurich Sans Light"/>
                <a:ea typeface="+mn-ea"/>
                <a:cs typeface="Zurich Sans Light"/>
              </a:rPr>
              <a:t>NPR, NOS, Los Angeles Times</a:t>
            </a:r>
            <a:endParaRPr kumimoji="0" lang="en-US" sz="800" b="0" i="0" u="none" strike="noStrike" kern="1200" cap="none" spc="0" normalizeH="0" baseline="0" noProof="0" dirty="0">
              <a:ln>
                <a:noFill/>
              </a:ln>
              <a:solidFill>
                <a:srgbClr val="23366F"/>
              </a:solidFill>
              <a:effectLst/>
              <a:uLnTx/>
              <a:uFillTx/>
              <a:latin typeface="Zurich Sans Light"/>
              <a:ea typeface="+mn-ea"/>
              <a:cs typeface="Zurich Sans Light"/>
            </a:endParaRPr>
          </a:p>
        </p:txBody>
      </p:sp>
      <p:sp>
        <p:nvSpPr>
          <p:cNvPr id="12" name="object 4">
            <a:extLst>
              <a:ext uri="{FF2B5EF4-FFF2-40B4-BE49-F238E27FC236}">
                <a16:creationId xmlns:a16="http://schemas.microsoft.com/office/drawing/2014/main" id="{97191A89-03F7-0634-85AF-B54C513CCAD0}"/>
              </a:ext>
            </a:extLst>
          </p:cNvPr>
          <p:cNvSpPr txBox="1"/>
          <p:nvPr/>
        </p:nvSpPr>
        <p:spPr>
          <a:xfrm>
            <a:off x="4775200" y="3911163"/>
            <a:ext cx="4052101" cy="269019"/>
          </a:xfrm>
          <a:prstGeom prst="rect">
            <a:avLst/>
          </a:prstGeom>
        </p:spPr>
        <p:txBody>
          <a:bodyPr vert="horz" wrap="square" lIns="0" tIns="22577"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3" marR="0" lvl="0" indent="0" algn="l" defTabSz="914400" rtl="0" eaLnBrk="1" fontAlgn="auto" latinLnBrk="0" hangingPunct="1">
              <a:lnSpc>
                <a:spcPct val="100000"/>
              </a:lnSpc>
              <a:spcBef>
                <a:spcPts val="177"/>
              </a:spcBef>
              <a:spcAft>
                <a:spcPts val="0"/>
              </a:spcAft>
              <a:buClrTx/>
              <a:buSzTx/>
              <a:buFontTx/>
              <a:buNone/>
              <a:tabLst/>
              <a:defRPr/>
            </a:pPr>
            <a:r>
              <a:rPr kumimoji="0" lang="en-US" sz="1600" b="0" i="0" u="none" strike="noStrike" kern="1200" cap="none" spc="0" normalizeH="0" baseline="0" noProof="0">
                <a:ln>
                  <a:noFill/>
                </a:ln>
                <a:solidFill>
                  <a:srgbClr val="2067AD"/>
                </a:solidFill>
                <a:effectLst/>
                <a:uLnTx/>
                <a:uFillTx/>
                <a:latin typeface="Zurich Sans Light"/>
                <a:ea typeface="+mn-ea"/>
                <a:cs typeface="Zurich Sans Light"/>
              </a:rPr>
              <a:t>Valencia, </a:t>
            </a:r>
            <a:r>
              <a:rPr kumimoji="0" lang="en-US" sz="1600" b="0" i="0" u="none" strike="noStrike" kern="1200" cap="none" spc="0" normalizeH="0" baseline="0" noProof="0" err="1">
                <a:ln>
                  <a:noFill/>
                </a:ln>
                <a:solidFill>
                  <a:srgbClr val="2067AD"/>
                </a:solidFill>
                <a:effectLst/>
                <a:uLnTx/>
                <a:uFillTx/>
                <a:latin typeface="Zurich Sans Light"/>
                <a:ea typeface="+mn-ea"/>
                <a:cs typeface="Zurich Sans Light"/>
              </a:rPr>
              <a:t>Spanien</a:t>
            </a:r>
            <a:r>
              <a:rPr kumimoji="0" lang="en-US" sz="1600" b="0" i="0" u="none" strike="noStrike" kern="1200" cap="none" spc="0" normalizeH="0" baseline="0" noProof="0">
                <a:ln>
                  <a:noFill/>
                </a:ln>
                <a:solidFill>
                  <a:srgbClr val="2067AD"/>
                </a:solidFill>
                <a:effectLst/>
                <a:uLnTx/>
                <a:uFillTx/>
                <a:latin typeface="Zurich Sans Light"/>
                <a:ea typeface="+mn-ea"/>
                <a:cs typeface="Zurich Sans Light"/>
              </a:rPr>
              <a:t>, November 2024</a:t>
            </a:r>
            <a:endParaRPr kumimoji="0" lang="en-US" sz="1600" b="0" i="0" u="none" strike="noStrike" kern="1200" cap="none" spc="0" normalizeH="0" baseline="0" noProof="0">
              <a:ln>
                <a:noFill/>
              </a:ln>
              <a:solidFill>
                <a:srgbClr val="23366F"/>
              </a:solidFill>
              <a:effectLst/>
              <a:uLnTx/>
              <a:uFillTx/>
              <a:latin typeface="Zurich Sans Light"/>
              <a:ea typeface="+mn-ea"/>
              <a:cs typeface="Zurich Sans Light"/>
            </a:endParaRPr>
          </a:p>
        </p:txBody>
      </p:sp>
      <p:pic>
        <p:nvPicPr>
          <p:cNvPr id="14" name="Picture 4" descr="Interactive_Storm_Boris_Sept17_2-REVISED">
            <a:extLst>
              <a:ext uri="{FF2B5EF4-FFF2-40B4-BE49-F238E27FC236}">
                <a16:creationId xmlns:a16="http://schemas.microsoft.com/office/drawing/2014/main" id="{870CBA2A-DF48-620D-169B-A37FC68A1FE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801" y="1478566"/>
            <a:ext cx="3951732" cy="4937761"/>
          </a:xfrm>
          <a:prstGeom prst="rect">
            <a:avLst/>
          </a:prstGeom>
          <a:noFill/>
          <a:extLst>
            <a:ext uri="{909E8E84-426E-40DD-AFC4-6F175D3DCCD1}">
              <a14:hiddenFill xmlns:a14="http://schemas.microsoft.com/office/drawing/2010/main">
                <a:solidFill>
                  <a:srgbClr val="FFFFFF"/>
                </a:solidFill>
              </a14:hiddenFill>
            </a:ext>
          </a:extLst>
        </p:spPr>
      </p:pic>
      <p:sp>
        <p:nvSpPr>
          <p:cNvPr id="15" name="object 4">
            <a:extLst>
              <a:ext uri="{FF2B5EF4-FFF2-40B4-BE49-F238E27FC236}">
                <a16:creationId xmlns:a16="http://schemas.microsoft.com/office/drawing/2014/main" id="{76F7574C-2A8A-D2DD-2CB1-2B886F9A880A}"/>
              </a:ext>
            </a:extLst>
          </p:cNvPr>
          <p:cNvSpPr txBox="1"/>
          <p:nvPr/>
        </p:nvSpPr>
        <p:spPr>
          <a:xfrm>
            <a:off x="287923" y="1203248"/>
            <a:ext cx="4052101" cy="269019"/>
          </a:xfrm>
          <a:prstGeom prst="rect">
            <a:avLst/>
          </a:prstGeom>
        </p:spPr>
        <p:txBody>
          <a:bodyPr vert="horz" wrap="square" lIns="0" tIns="22577"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3" marR="0" lvl="0" indent="0" algn="l" defTabSz="914400" rtl="0" eaLnBrk="1" fontAlgn="auto" latinLnBrk="0" hangingPunct="1">
              <a:lnSpc>
                <a:spcPct val="100000"/>
              </a:lnSpc>
              <a:spcBef>
                <a:spcPts val="177"/>
              </a:spcBef>
              <a:spcAft>
                <a:spcPts val="0"/>
              </a:spcAft>
              <a:buClrTx/>
              <a:buSzTx/>
              <a:buFontTx/>
              <a:buNone/>
              <a:tabLst/>
              <a:defRPr/>
            </a:pPr>
            <a:r>
              <a:rPr kumimoji="0" lang="en-US" sz="1600" b="0" i="0" u="none" strike="noStrike" kern="1200" cap="none" spc="0" normalizeH="0" baseline="0" noProof="0">
                <a:ln>
                  <a:noFill/>
                </a:ln>
                <a:solidFill>
                  <a:srgbClr val="2067AD"/>
                </a:solidFill>
                <a:effectLst/>
                <a:uLnTx/>
                <a:uFillTx/>
                <a:latin typeface="Zurich Sans Light"/>
                <a:ea typeface="+mn-ea"/>
                <a:cs typeface="Zurich Sans Light"/>
              </a:rPr>
              <a:t>Ost-Europa, September 2024</a:t>
            </a:r>
            <a:endParaRPr kumimoji="0" lang="en-US" sz="1600" b="0" i="0" u="none" strike="noStrike" kern="1200" cap="none" spc="0" normalizeH="0" baseline="0" noProof="0">
              <a:ln>
                <a:noFill/>
              </a:ln>
              <a:solidFill>
                <a:srgbClr val="23366F"/>
              </a:solidFill>
              <a:effectLst/>
              <a:uLnTx/>
              <a:uFillTx/>
              <a:latin typeface="Zurich Sans Light"/>
              <a:ea typeface="+mn-ea"/>
              <a:cs typeface="Zurich Sans Light"/>
            </a:endParaRPr>
          </a:p>
        </p:txBody>
      </p:sp>
      <p:pic>
        <p:nvPicPr>
          <p:cNvPr id="1030" name="Picture 6" descr="Extra lange vakantiefiles in Zwitserland verwacht nu deel van A13 is weggespoeld">
            <a:extLst>
              <a:ext uri="{FF2B5EF4-FFF2-40B4-BE49-F238E27FC236}">
                <a16:creationId xmlns:a16="http://schemas.microsoft.com/office/drawing/2014/main" id="{1042F790-17D8-350B-5900-EBD90307268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17" r="9740"/>
          <a:stretch/>
        </p:blipFill>
        <p:spPr bwMode="auto">
          <a:xfrm>
            <a:off x="4775200" y="1678956"/>
            <a:ext cx="3160272" cy="2054845"/>
          </a:xfrm>
          <a:prstGeom prst="rect">
            <a:avLst/>
          </a:prstGeom>
          <a:noFill/>
          <a:extLst>
            <a:ext uri="{909E8E84-426E-40DD-AFC4-6F175D3DCCD1}">
              <a14:hiddenFill xmlns:a14="http://schemas.microsoft.com/office/drawing/2010/main">
                <a:solidFill>
                  <a:srgbClr val="FFFFFF"/>
                </a:solidFill>
              </a14:hiddenFill>
            </a:ext>
          </a:extLst>
        </p:spPr>
      </p:pic>
      <p:sp>
        <p:nvSpPr>
          <p:cNvPr id="16" name="object 4">
            <a:extLst>
              <a:ext uri="{FF2B5EF4-FFF2-40B4-BE49-F238E27FC236}">
                <a16:creationId xmlns:a16="http://schemas.microsoft.com/office/drawing/2014/main" id="{E56FA6E9-0BBA-3314-6A64-1BD3F5ABC27A}"/>
              </a:ext>
            </a:extLst>
          </p:cNvPr>
          <p:cNvSpPr txBox="1"/>
          <p:nvPr/>
        </p:nvSpPr>
        <p:spPr>
          <a:xfrm>
            <a:off x="4735871" y="1326956"/>
            <a:ext cx="3246659" cy="263320"/>
          </a:xfrm>
          <a:prstGeom prst="rect">
            <a:avLst/>
          </a:prstGeom>
        </p:spPr>
        <p:txBody>
          <a:bodyPr vert="horz" wrap="square" lIns="0" tIns="16933" rIns="0" bIns="0" rtlCol="0">
            <a:spAutoFit/>
          </a:bodyPr>
          <a:lstStyle/>
          <a:p>
            <a:pPr marL="16933" marR="0" lvl="0" indent="0" algn="l" defTabSz="914400" rtl="0" eaLnBrk="1" fontAlgn="auto" latinLnBrk="0" hangingPunct="1">
              <a:lnSpc>
                <a:spcPct val="100000"/>
              </a:lnSpc>
              <a:spcBef>
                <a:spcPts val="133"/>
              </a:spcBef>
              <a:spcAft>
                <a:spcPts val="0"/>
              </a:spcAft>
              <a:buClrTx/>
              <a:buSzTx/>
              <a:buFontTx/>
              <a:buNone/>
              <a:tabLst/>
              <a:defRPr/>
            </a:pPr>
            <a:r>
              <a:rPr kumimoji="0" lang="en-US" sz="1600" b="0" i="0" u="none" strike="noStrike" kern="1200" cap="none" spc="0" normalizeH="0" baseline="0" noProof="0">
                <a:ln>
                  <a:noFill/>
                </a:ln>
                <a:solidFill>
                  <a:srgbClr val="2067AD"/>
                </a:solidFill>
                <a:effectLst/>
                <a:uLnTx/>
                <a:uFillTx/>
                <a:latin typeface="Zurich Sans Light"/>
                <a:ea typeface="+mn-ea"/>
                <a:cs typeface="Zurich Sans Light"/>
              </a:rPr>
              <a:t>A13, Schweiz, Juni 2024</a:t>
            </a:r>
            <a:endParaRPr kumimoji="0" sz="1600" b="0" i="0" u="none" strike="noStrike" kern="1200" cap="none" spc="0" normalizeH="0" baseline="0" noProof="0">
              <a:ln>
                <a:noFill/>
              </a:ln>
              <a:solidFill>
                <a:srgbClr val="23366F"/>
              </a:solidFill>
              <a:effectLst/>
              <a:uLnTx/>
              <a:uFillTx/>
              <a:latin typeface="Zurich Sans Light"/>
              <a:ea typeface="+mn-ea"/>
              <a:cs typeface="Zurich Sans Light"/>
            </a:endParaRPr>
          </a:p>
        </p:txBody>
      </p:sp>
      <p:pic>
        <p:nvPicPr>
          <p:cNvPr id="2050" name="Picture 2" descr="Editorial: Will California ever learn anything from its wildfires? - Los  Angeles Times">
            <a:extLst>
              <a:ext uri="{FF2B5EF4-FFF2-40B4-BE49-F238E27FC236}">
                <a16:creationId xmlns:a16="http://schemas.microsoft.com/office/drawing/2014/main" id="{368BFE6D-1DD8-DB17-27E0-57C9FFF7A61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0875"/>
          <a:stretch/>
        </p:blipFill>
        <p:spPr bwMode="auto">
          <a:xfrm>
            <a:off x="8212692" y="4209294"/>
            <a:ext cx="3674507" cy="2106847"/>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52EE291F-C497-4A43-349B-E6CCCEE2C5B7}"/>
              </a:ext>
            </a:extLst>
          </p:cNvPr>
          <p:cNvSpPr/>
          <p:nvPr/>
        </p:nvSpPr>
        <p:spPr>
          <a:xfrm>
            <a:off x="0" y="6560328"/>
            <a:ext cx="1657350" cy="2976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000"/>
          </a:p>
        </p:txBody>
      </p:sp>
      <p:sp>
        <p:nvSpPr>
          <p:cNvPr id="8" name="Foliennummernplatzhalter 4">
            <a:extLst>
              <a:ext uri="{FF2B5EF4-FFF2-40B4-BE49-F238E27FC236}">
                <a16:creationId xmlns:a16="http://schemas.microsoft.com/office/drawing/2014/main" id="{BA636740-C144-888D-19E1-EAA8C8624A8F}"/>
              </a:ext>
            </a:extLst>
          </p:cNvPr>
          <p:cNvSpPr txBox="1">
            <a:spLocks/>
          </p:cNvSpPr>
          <p:nvPr/>
        </p:nvSpPr>
        <p:spPr>
          <a:xfrm>
            <a:off x="11176415" y="6560328"/>
            <a:ext cx="551115" cy="138499"/>
          </a:xfrm>
          <a:prstGeom prst="rect">
            <a:avLst/>
          </a:prstGeom>
        </p:spPr>
        <p:txBody>
          <a:bodyPr vert="horz" wrap="square" lIns="0" tIns="0" rIns="0" bIns="0" rtlCol="0" anchor="t" anchorCtr="0">
            <a:spAutoFit/>
          </a:bodyPr>
          <a:lstStyle>
            <a:lvl1pPr marL="268288" indent="-268288" algn="l" defTabSz="914377" rtl="0" eaLnBrk="1" latinLnBrk="0" hangingPunct="1">
              <a:lnSpc>
                <a:spcPct val="100000"/>
              </a:lnSpc>
              <a:spcBef>
                <a:spcPts val="0"/>
              </a:spcBef>
              <a:spcAft>
                <a:spcPts val="800"/>
              </a:spcAft>
              <a:buFont typeface="Arial" panose="020B0604020202020204" pitchFamily="34" charset="0"/>
              <a:buChar char="•"/>
              <a:defRPr sz="1800" b="0" i="0" kern="1200">
                <a:solidFill>
                  <a:schemeClr val="tx1"/>
                </a:solidFill>
                <a:latin typeface="+mn-lt"/>
                <a:ea typeface="+mn-ea"/>
                <a:cs typeface="Arial" panose="020B0604020202020204" pitchFamily="34" charset="0"/>
              </a:defRPr>
            </a:lvl1pPr>
            <a:lvl2pPr marL="447675" indent="-207963" algn="l" defTabSz="914377" rtl="0" eaLnBrk="1" latinLnBrk="0" hangingPunct="1">
              <a:lnSpc>
                <a:spcPct val="100000"/>
              </a:lnSpc>
              <a:spcBef>
                <a:spcPts val="0"/>
              </a:spcBef>
              <a:spcAft>
                <a:spcPts val="800"/>
              </a:spcAft>
              <a:buFont typeface="Arial" panose="020B0604020202020204" pitchFamily="34" charset="0"/>
              <a:buChar char="−"/>
              <a:defRPr sz="1600" kern="1200">
                <a:solidFill>
                  <a:schemeClr val="accent1"/>
                </a:solidFill>
                <a:latin typeface="+mn-lt"/>
                <a:ea typeface="+mn-ea"/>
                <a:cs typeface="Arial" panose="020B0604020202020204" pitchFamily="34" charset="0"/>
              </a:defRPr>
            </a:lvl2pPr>
            <a:lvl3pPr marL="719138" indent="-180975" algn="l" defTabSz="914377" rtl="0" eaLnBrk="1" latinLnBrk="0" hangingPunct="1">
              <a:lnSpc>
                <a:spcPct val="100000"/>
              </a:lnSpc>
              <a:spcBef>
                <a:spcPts val="0"/>
              </a:spcBef>
              <a:spcAft>
                <a:spcPts val="800"/>
              </a:spcAft>
              <a:buFont typeface="Arial" panose="020B0604020202020204" pitchFamily="34" charset="0"/>
              <a:buChar char="−"/>
              <a:defRPr sz="1400" kern="1200">
                <a:solidFill>
                  <a:schemeClr val="accent1"/>
                </a:solidFill>
                <a:latin typeface="+mn-lt"/>
                <a:ea typeface="+mn-ea"/>
                <a:cs typeface="Arial" panose="020B0604020202020204" pitchFamily="34" charset="0"/>
              </a:defRPr>
            </a:lvl3pPr>
            <a:lvl4pPr marL="896938" indent="-177800"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4pPr>
            <a:lvl5pPr marL="1165225" indent="-179388" algn="l" defTabSz="914377" rtl="0" eaLnBrk="1" latinLnBrk="0" hangingPunct="1">
              <a:lnSpc>
                <a:spcPct val="100000"/>
              </a:lnSpc>
              <a:spcBef>
                <a:spcPts val="0"/>
              </a:spcBef>
              <a:spcAft>
                <a:spcPts val="800"/>
              </a:spcAft>
              <a:buFont typeface="Arial" panose="020B0604020202020204" pitchFamily="34" charset="0"/>
              <a:buChar char="•"/>
              <a:defRPr sz="120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fld id="{FA58F0B4-6BC7-4BFB-804F-EE9B892902C7}" type="slidenum">
              <a:rPr lang="en-US" sz="900" smtClean="0">
                <a:solidFill>
                  <a:srgbClr val="2167AE"/>
                </a:solidFill>
              </a:rPr>
              <a:pPr marL="0" indent="0">
                <a:buNone/>
              </a:pPr>
              <a:t>3</a:t>
            </a:fld>
            <a:endParaRPr lang="en-US" sz="900">
              <a:solidFill>
                <a:srgbClr val="2167AE"/>
              </a:solidFill>
            </a:endParaRPr>
          </a:p>
        </p:txBody>
      </p:sp>
      <p:pic>
        <p:nvPicPr>
          <p:cNvPr id="6" name="ZRS Logo Horozontal">
            <a:extLst>
              <a:ext uri="{FF2B5EF4-FFF2-40B4-BE49-F238E27FC236}">
                <a16:creationId xmlns:a16="http://schemas.microsoft.com/office/drawing/2014/main" id="{D6AFC711-533B-08DA-8793-88B1818396D8}"/>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4194" t="5628" b="28088"/>
          <a:stretch/>
        </p:blipFill>
        <p:spPr>
          <a:xfrm>
            <a:off x="10342650" y="317500"/>
            <a:ext cx="1510791" cy="520700"/>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object 12"/>
          <p:cNvGrpSpPr/>
          <p:nvPr/>
        </p:nvGrpSpPr>
        <p:grpSpPr>
          <a:xfrm>
            <a:off x="0" y="1351281"/>
            <a:ext cx="12192000" cy="4869180"/>
            <a:chOff x="0" y="1013460"/>
            <a:chExt cx="9144000" cy="3651885"/>
          </a:xfrm>
        </p:grpSpPr>
        <p:sp>
          <p:nvSpPr>
            <p:cNvPr id="13" name="object 13"/>
            <p:cNvSpPr/>
            <p:nvPr/>
          </p:nvSpPr>
          <p:spPr>
            <a:xfrm>
              <a:off x="0" y="1013460"/>
              <a:ext cx="9144000" cy="3651885"/>
            </a:xfrm>
            <a:custGeom>
              <a:avLst/>
              <a:gdLst/>
              <a:ahLst/>
              <a:cxnLst/>
              <a:rect l="l" t="t" r="r" b="b"/>
              <a:pathLst>
                <a:path w="9144000" h="3651885">
                  <a:moveTo>
                    <a:pt x="9144000" y="0"/>
                  </a:moveTo>
                  <a:lnTo>
                    <a:pt x="0" y="0"/>
                  </a:lnTo>
                  <a:lnTo>
                    <a:pt x="0" y="3651504"/>
                  </a:lnTo>
                  <a:lnTo>
                    <a:pt x="9144000" y="3651504"/>
                  </a:lnTo>
                  <a:lnTo>
                    <a:pt x="9144000" y="0"/>
                  </a:lnTo>
                  <a:close/>
                </a:path>
              </a:pathLst>
            </a:custGeom>
            <a:solidFill>
              <a:srgbClr val="F8F6F1"/>
            </a:solidFill>
          </p:spPr>
          <p:txBody>
            <a:bodyPr wrap="square" lIns="0" tIns="0" rIns="0" bIns="0" rtlCol="0"/>
            <a:lstStyle/>
            <a:p>
              <a:endParaRPr sz="2400"/>
            </a:p>
          </p:txBody>
        </p:sp>
        <p:pic>
          <p:nvPicPr>
            <p:cNvPr id="14" name="object 14"/>
            <p:cNvPicPr/>
            <p:nvPr/>
          </p:nvPicPr>
          <p:blipFill>
            <a:blip r:embed="rId3" cstate="print"/>
            <a:stretch>
              <a:fillRect/>
            </a:stretch>
          </p:blipFill>
          <p:spPr>
            <a:xfrm>
              <a:off x="265175" y="1790700"/>
              <a:ext cx="5603748" cy="2723388"/>
            </a:xfrm>
            <a:prstGeom prst="rect">
              <a:avLst/>
            </a:prstGeom>
          </p:spPr>
        </p:pic>
        <p:sp>
          <p:nvSpPr>
            <p:cNvPr id="15" name="object 15"/>
            <p:cNvSpPr/>
            <p:nvPr/>
          </p:nvSpPr>
          <p:spPr>
            <a:xfrm>
              <a:off x="265175" y="1013460"/>
              <a:ext cx="5603875" cy="777240"/>
            </a:xfrm>
            <a:custGeom>
              <a:avLst/>
              <a:gdLst/>
              <a:ahLst/>
              <a:cxnLst/>
              <a:rect l="l" t="t" r="r" b="b"/>
              <a:pathLst>
                <a:path w="5603875" h="777239">
                  <a:moveTo>
                    <a:pt x="5603748" y="0"/>
                  </a:moveTo>
                  <a:lnTo>
                    <a:pt x="0" y="0"/>
                  </a:lnTo>
                  <a:lnTo>
                    <a:pt x="0" y="777239"/>
                  </a:lnTo>
                  <a:lnTo>
                    <a:pt x="5603748" y="777239"/>
                  </a:lnTo>
                  <a:lnTo>
                    <a:pt x="5603748" y="0"/>
                  </a:lnTo>
                  <a:close/>
                </a:path>
              </a:pathLst>
            </a:custGeom>
            <a:solidFill>
              <a:srgbClr val="E9F1F8"/>
            </a:solidFill>
          </p:spPr>
          <p:txBody>
            <a:bodyPr wrap="square" lIns="0" tIns="0" rIns="0" bIns="0" rtlCol="0"/>
            <a:lstStyle/>
            <a:p>
              <a:endParaRPr sz="2400"/>
            </a:p>
          </p:txBody>
        </p:sp>
      </p:grpSp>
      <p:sp>
        <p:nvSpPr>
          <p:cNvPr id="16" name="object 16"/>
          <p:cNvSpPr txBox="1">
            <a:spLocks noGrp="1"/>
          </p:cNvSpPr>
          <p:nvPr>
            <p:ph type="title"/>
          </p:nvPr>
        </p:nvSpPr>
        <p:spPr>
          <a:xfrm>
            <a:off x="334441" y="333241"/>
            <a:ext cx="12781887" cy="663429"/>
          </a:xfrm>
          <a:prstGeom prst="rect">
            <a:avLst/>
          </a:prstGeom>
        </p:spPr>
        <p:txBody>
          <a:bodyPr vert="horz" wrap="square" lIns="0" tIns="16933" rIns="0" bIns="0" rtlCol="0" anchor="t" anchorCtr="0">
            <a:spAutoFit/>
          </a:bodyPr>
          <a:lstStyle/>
          <a:p>
            <a:pPr marL="18626">
              <a:lnSpc>
                <a:spcPct val="100000"/>
              </a:lnSpc>
              <a:spcBef>
                <a:spcPts val="133"/>
              </a:spcBef>
            </a:pPr>
            <a:r>
              <a:rPr lang="de-DE" dirty="0">
                <a:latin typeface="+mj-lt"/>
              </a:rPr>
              <a:t>Klimaszenarien, bewertet vom </a:t>
            </a:r>
            <a:r>
              <a:rPr spc="-27" dirty="0">
                <a:latin typeface="+mj-lt"/>
              </a:rPr>
              <a:t>IPCC</a:t>
            </a:r>
            <a:endParaRPr dirty="0">
              <a:latin typeface="+mj-lt"/>
            </a:endParaRPr>
          </a:p>
          <a:p>
            <a:pPr marL="18626">
              <a:lnSpc>
                <a:spcPct val="100000"/>
              </a:lnSpc>
              <a:spcBef>
                <a:spcPts val="47"/>
              </a:spcBef>
            </a:pPr>
            <a:r>
              <a:rPr lang="de-DE" sz="1800" dirty="0"/>
              <a:t>Projektionen aus dem sechsten Sachstandsbericht </a:t>
            </a:r>
            <a:r>
              <a:rPr sz="1800" spc="-27" dirty="0"/>
              <a:t>(AR6)</a:t>
            </a:r>
            <a:endParaRPr sz="1800" dirty="0"/>
          </a:p>
        </p:txBody>
      </p:sp>
      <p:sp>
        <p:nvSpPr>
          <p:cNvPr id="17" name="object 17"/>
          <p:cNvSpPr txBox="1"/>
          <p:nvPr/>
        </p:nvSpPr>
        <p:spPr>
          <a:xfrm>
            <a:off x="7897705" y="5273176"/>
            <a:ext cx="3803227" cy="848288"/>
          </a:xfrm>
          <a:prstGeom prst="rect">
            <a:avLst/>
          </a:prstGeom>
        </p:spPr>
        <p:txBody>
          <a:bodyPr vert="horz" wrap="square" lIns="0" tIns="16933" rIns="0" bIns="0" rtlCol="0">
            <a:spAutoFit/>
          </a:bodyPr>
          <a:lstStyle/>
          <a:p>
            <a:pPr marL="16933" marR="1638259">
              <a:spcBef>
                <a:spcPts val="133"/>
              </a:spcBef>
            </a:pPr>
            <a:r>
              <a:rPr sz="1067">
                <a:solidFill>
                  <a:srgbClr val="7E7E7E"/>
                </a:solidFill>
                <a:latin typeface="Zurich Sans Light"/>
                <a:cs typeface="Zurich Sans Light"/>
              </a:rPr>
              <a:t>SPM:</a:t>
            </a:r>
            <a:r>
              <a:rPr sz="1067" spc="-33">
                <a:solidFill>
                  <a:srgbClr val="7E7E7E"/>
                </a:solidFill>
                <a:latin typeface="Zurich Sans Light"/>
                <a:cs typeface="Zurich Sans Light"/>
              </a:rPr>
              <a:t> </a:t>
            </a:r>
            <a:r>
              <a:rPr sz="1067">
                <a:solidFill>
                  <a:srgbClr val="7E7E7E"/>
                </a:solidFill>
                <a:latin typeface="Zurich Sans Light"/>
                <a:cs typeface="Zurich Sans Light"/>
              </a:rPr>
              <a:t>Summary</a:t>
            </a:r>
            <a:r>
              <a:rPr sz="1067" spc="-47">
                <a:solidFill>
                  <a:srgbClr val="7E7E7E"/>
                </a:solidFill>
                <a:latin typeface="Zurich Sans Light"/>
                <a:cs typeface="Zurich Sans Light"/>
              </a:rPr>
              <a:t> </a:t>
            </a:r>
            <a:r>
              <a:rPr sz="1067">
                <a:solidFill>
                  <a:srgbClr val="7E7E7E"/>
                </a:solidFill>
                <a:latin typeface="Zurich Sans Light"/>
                <a:cs typeface="Zurich Sans Light"/>
              </a:rPr>
              <a:t>for</a:t>
            </a:r>
            <a:r>
              <a:rPr sz="1067" spc="-33">
                <a:solidFill>
                  <a:srgbClr val="7E7E7E"/>
                </a:solidFill>
                <a:latin typeface="Zurich Sans Light"/>
                <a:cs typeface="Zurich Sans Light"/>
              </a:rPr>
              <a:t> </a:t>
            </a:r>
            <a:r>
              <a:rPr sz="1067" spc="-13">
                <a:solidFill>
                  <a:srgbClr val="7E7E7E"/>
                </a:solidFill>
                <a:latin typeface="Zurich Sans Light"/>
                <a:cs typeface="Zurich Sans Light"/>
              </a:rPr>
              <a:t>policymakers,</a:t>
            </a:r>
            <a:r>
              <a:rPr sz="1067" spc="667">
                <a:solidFill>
                  <a:srgbClr val="7E7E7E"/>
                </a:solidFill>
                <a:latin typeface="Zurich Sans Light"/>
                <a:cs typeface="Zurich Sans Light"/>
              </a:rPr>
              <a:t> </a:t>
            </a:r>
            <a:r>
              <a:rPr sz="1067" spc="-13">
                <a:solidFill>
                  <a:srgbClr val="7E7E7E"/>
                </a:solidFill>
                <a:latin typeface="Zurich Sans Light"/>
                <a:cs typeface="Zurich Sans Light"/>
              </a:rPr>
              <a:t>https://</a:t>
            </a:r>
            <a:r>
              <a:rPr sz="1067" spc="-13">
                <a:solidFill>
                  <a:srgbClr val="7E7E7E"/>
                </a:solidFill>
                <a:latin typeface="Zurich Sans Light"/>
                <a:cs typeface="Zurich Sans Light"/>
                <a:hlinkClick r:id="rId4"/>
              </a:rPr>
              <a:t>www.ipcc.ch/report/ar6/wg1/</a:t>
            </a:r>
            <a:endParaRPr sz="1067">
              <a:latin typeface="Zurich Sans Light"/>
              <a:cs typeface="Zurich Sans Light"/>
            </a:endParaRPr>
          </a:p>
          <a:p>
            <a:pPr>
              <a:spcBef>
                <a:spcPts val="33"/>
              </a:spcBef>
            </a:pPr>
            <a:endParaRPr sz="1133">
              <a:latin typeface="Zurich Sans Light"/>
              <a:cs typeface="Zurich Sans Light"/>
            </a:endParaRPr>
          </a:p>
          <a:p>
            <a:pPr marL="16933" marR="6773"/>
            <a:r>
              <a:rPr sz="1067">
                <a:solidFill>
                  <a:srgbClr val="7E7E7E"/>
                </a:solidFill>
                <a:latin typeface="Zurich Sans Light"/>
                <a:cs typeface="Zurich Sans Light"/>
              </a:rPr>
              <a:t>SSP:</a:t>
            </a:r>
            <a:r>
              <a:rPr sz="1067" spc="-33">
                <a:solidFill>
                  <a:srgbClr val="7E7E7E"/>
                </a:solidFill>
                <a:latin typeface="Zurich Sans Light"/>
                <a:cs typeface="Zurich Sans Light"/>
              </a:rPr>
              <a:t> </a:t>
            </a:r>
            <a:r>
              <a:rPr sz="1067">
                <a:solidFill>
                  <a:srgbClr val="7E7E7E"/>
                </a:solidFill>
                <a:latin typeface="Zurich Sans Light"/>
                <a:cs typeface="Zurich Sans Light"/>
              </a:rPr>
              <a:t>Shared</a:t>
            </a:r>
            <a:r>
              <a:rPr sz="1067" spc="-20">
                <a:solidFill>
                  <a:srgbClr val="7E7E7E"/>
                </a:solidFill>
                <a:latin typeface="Zurich Sans Light"/>
                <a:cs typeface="Zurich Sans Light"/>
              </a:rPr>
              <a:t> </a:t>
            </a:r>
            <a:r>
              <a:rPr sz="1067" spc="-13">
                <a:solidFill>
                  <a:srgbClr val="7E7E7E"/>
                </a:solidFill>
                <a:latin typeface="Zurich Sans Light"/>
                <a:cs typeface="Zurich Sans Light"/>
              </a:rPr>
              <a:t>Socioeconomic</a:t>
            </a:r>
            <a:r>
              <a:rPr sz="1067" spc="-20">
                <a:solidFill>
                  <a:srgbClr val="7E7E7E"/>
                </a:solidFill>
                <a:latin typeface="Zurich Sans Light"/>
                <a:cs typeface="Zurich Sans Light"/>
              </a:rPr>
              <a:t> </a:t>
            </a:r>
            <a:r>
              <a:rPr sz="1067">
                <a:solidFill>
                  <a:srgbClr val="7E7E7E"/>
                </a:solidFill>
                <a:latin typeface="Zurich Sans Light"/>
                <a:cs typeface="Zurich Sans Light"/>
              </a:rPr>
              <a:t>Pathway, linked</a:t>
            </a:r>
            <a:r>
              <a:rPr sz="1067" spc="-20">
                <a:solidFill>
                  <a:srgbClr val="7E7E7E"/>
                </a:solidFill>
                <a:latin typeface="Zurich Sans Light"/>
                <a:cs typeface="Zurich Sans Light"/>
              </a:rPr>
              <a:t> </a:t>
            </a:r>
            <a:r>
              <a:rPr sz="1067">
                <a:solidFill>
                  <a:srgbClr val="7E7E7E"/>
                </a:solidFill>
                <a:latin typeface="Zurich Sans Light"/>
                <a:cs typeface="Zurich Sans Light"/>
              </a:rPr>
              <a:t>to</a:t>
            </a:r>
            <a:r>
              <a:rPr sz="1067" spc="7">
                <a:solidFill>
                  <a:srgbClr val="7E7E7E"/>
                </a:solidFill>
                <a:latin typeface="Zurich Sans Light"/>
                <a:cs typeface="Zurich Sans Light"/>
              </a:rPr>
              <a:t> </a:t>
            </a:r>
            <a:r>
              <a:rPr sz="1067" spc="-13">
                <a:solidFill>
                  <a:srgbClr val="7E7E7E"/>
                </a:solidFill>
                <a:latin typeface="Zurich Sans Light"/>
                <a:cs typeface="Zurich Sans Light"/>
              </a:rPr>
              <a:t>Representative</a:t>
            </a:r>
            <a:r>
              <a:rPr sz="1067" spc="667">
                <a:solidFill>
                  <a:srgbClr val="7E7E7E"/>
                </a:solidFill>
                <a:latin typeface="Zurich Sans Light"/>
                <a:cs typeface="Zurich Sans Light"/>
              </a:rPr>
              <a:t> </a:t>
            </a:r>
            <a:r>
              <a:rPr sz="1067">
                <a:solidFill>
                  <a:srgbClr val="7E7E7E"/>
                </a:solidFill>
                <a:latin typeface="Zurich Sans Light"/>
                <a:cs typeface="Zurich Sans Light"/>
              </a:rPr>
              <a:t>Concentration</a:t>
            </a:r>
            <a:r>
              <a:rPr sz="1067" spc="-53">
                <a:solidFill>
                  <a:srgbClr val="7E7E7E"/>
                </a:solidFill>
                <a:latin typeface="Zurich Sans Light"/>
                <a:cs typeface="Zurich Sans Light"/>
              </a:rPr>
              <a:t> </a:t>
            </a:r>
            <a:r>
              <a:rPr sz="1067">
                <a:solidFill>
                  <a:srgbClr val="7E7E7E"/>
                </a:solidFill>
                <a:latin typeface="Zurich Sans Light"/>
                <a:cs typeface="Zurich Sans Light"/>
              </a:rPr>
              <a:t>Pathway</a:t>
            </a:r>
            <a:r>
              <a:rPr sz="1067" spc="-20">
                <a:solidFill>
                  <a:srgbClr val="7E7E7E"/>
                </a:solidFill>
                <a:latin typeface="Zurich Sans Light"/>
                <a:cs typeface="Zurich Sans Light"/>
              </a:rPr>
              <a:t> </a:t>
            </a:r>
            <a:r>
              <a:rPr sz="1067" spc="-13">
                <a:solidFill>
                  <a:srgbClr val="7E7E7E"/>
                </a:solidFill>
                <a:latin typeface="Zurich Sans Light"/>
                <a:cs typeface="Zurich Sans Light"/>
              </a:rPr>
              <a:t>(RCP)</a:t>
            </a:r>
            <a:endParaRPr sz="1067">
              <a:latin typeface="Zurich Sans Light"/>
              <a:cs typeface="Zurich Sans Light"/>
            </a:endParaRPr>
          </a:p>
        </p:txBody>
      </p:sp>
      <p:sp>
        <p:nvSpPr>
          <p:cNvPr id="18" name="object 18"/>
          <p:cNvSpPr txBox="1"/>
          <p:nvPr/>
        </p:nvSpPr>
        <p:spPr>
          <a:xfrm>
            <a:off x="7825231" y="4057842"/>
            <a:ext cx="3212712" cy="818173"/>
          </a:xfrm>
          <a:prstGeom prst="rect">
            <a:avLst/>
          </a:prstGeom>
        </p:spPr>
        <p:txBody>
          <a:bodyPr vert="horz" wrap="square" lIns="0" tIns="17780" rIns="0" bIns="0" rtlCol="0">
            <a:spAutoFit/>
          </a:bodyPr>
          <a:lstStyle/>
          <a:p>
            <a:pPr marL="16933">
              <a:spcBef>
                <a:spcPts val="140"/>
              </a:spcBef>
            </a:pPr>
            <a:r>
              <a:rPr sz="1400">
                <a:solidFill>
                  <a:srgbClr val="2067AD"/>
                </a:solidFill>
                <a:latin typeface="Wingdings"/>
                <a:cs typeface="Wingdings"/>
              </a:rPr>
              <a:t></a:t>
            </a:r>
            <a:r>
              <a:rPr sz="1400" spc="-27">
                <a:solidFill>
                  <a:srgbClr val="2067AD"/>
                </a:solidFill>
                <a:latin typeface="Times New Roman"/>
                <a:cs typeface="Times New Roman"/>
              </a:rPr>
              <a:t> </a:t>
            </a:r>
            <a:r>
              <a:rPr lang="de-DE" sz="1400" spc="-13">
                <a:solidFill>
                  <a:srgbClr val="2067AD"/>
                </a:solidFill>
                <a:latin typeface="Zurich Sans Light"/>
                <a:cs typeface="Zurich Sans Light"/>
              </a:rPr>
              <a:t>mittleres Szenario </a:t>
            </a:r>
            <a:r>
              <a:rPr sz="1400">
                <a:solidFill>
                  <a:srgbClr val="2067AD"/>
                </a:solidFill>
                <a:latin typeface="Zurich Sans Light"/>
                <a:cs typeface="Zurich Sans Light"/>
              </a:rPr>
              <a:t>+2.7C</a:t>
            </a:r>
            <a:r>
              <a:rPr sz="1400" spc="-33">
                <a:solidFill>
                  <a:srgbClr val="2067AD"/>
                </a:solidFill>
                <a:latin typeface="Zurich Sans Light"/>
                <a:cs typeface="Zurich Sans Light"/>
              </a:rPr>
              <a:t> </a:t>
            </a:r>
            <a:r>
              <a:rPr lang="de-DE" sz="1400">
                <a:solidFill>
                  <a:srgbClr val="2067AD"/>
                </a:solidFill>
                <a:latin typeface="Zurich Sans Light"/>
                <a:cs typeface="Zurich Sans Light"/>
              </a:rPr>
              <a:t>bis</a:t>
            </a:r>
            <a:r>
              <a:rPr lang="de-DE" sz="1400" spc="-7">
                <a:solidFill>
                  <a:srgbClr val="2067AD"/>
                </a:solidFill>
                <a:latin typeface="Zurich Sans Light"/>
                <a:cs typeface="Zurich Sans Light"/>
              </a:rPr>
              <a:t> </a:t>
            </a:r>
            <a:r>
              <a:rPr sz="1400" spc="-27">
                <a:solidFill>
                  <a:srgbClr val="2067AD"/>
                </a:solidFill>
                <a:latin typeface="Zurich Sans Light"/>
                <a:cs typeface="Zurich Sans Light"/>
              </a:rPr>
              <a:t>2100</a:t>
            </a:r>
            <a:endParaRPr sz="1400">
              <a:latin typeface="Zurich Sans Light"/>
              <a:cs typeface="Zurich Sans Light"/>
            </a:endParaRPr>
          </a:p>
          <a:p>
            <a:pPr marL="16933">
              <a:spcBef>
                <a:spcPts val="1040"/>
              </a:spcBef>
            </a:pPr>
            <a:r>
              <a:rPr sz="1400">
                <a:solidFill>
                  <a:srgbClr val="2067AD"/>
                </a:solidFill>
                <a:latin typeface="Wingdings"/>
                <a:cs typeface="Wingdings"/>
              </a:rPr>
              <a:t></a:t>
            </a:r>
            <a:r>
              <a:rPr sz="1400" spc="-47">
                <a:solidFill>
                  <a:srgbClr val="2067AD"/>
                </a:solidFill>
                <a:latin typeface="Times New Roman"/>
                <a:cs typeface="Times New Roman"/>
              </a:rPr>
              <a:t> </a:t>
            </a:r>
            <a:r>
              <a:rPr lang="de-DE" sz="1400">
                <a:solidFill>
                  <a:srgbClr val="2067AD"/>
                </a:solidFill>
                <a:latin typeface="Zurich Sans Light"/>
                <a:cs typeface="Zurich Sans Light"/>
              </a:rPr>
              <a:t>Netto-Null </a:t>
            </a:r>
            <a:r>
              <a:rPr lang="de-DE" sz="1400" u="sng">
                <a:solidFill>
                  <a:srgbClr val="2067AD"/>
                </a:solidFill>
                <a:uFill>
                  <a:solidFill>
                    <a:srgbClr val="2067AD"/>
                  </a:solidFill>
                </a:uFill>
                <a:latin typeface="Zurich Sans Light"/>
                <a:cs typeface="Zurich Sans Light"/>
              </a:rPr>
              <a:t>nach</a:t>
            </a:r>
            <a:r>
              <a:rPr lang="de-DE" sz="1400" spc="-20">
                <a:solidFill>
                  <a:srgbClr val="2067AD"/>
                </a:solidFill>
                <a:latin typeface="Zurich Sans Light"/>
                <a:cs typeface="Zurich Sans Light"/>
              </a:rPr>
              <a:t> </a:t>
            </a:r>
            <a:r>
              <a:rPr sz="1400">
                <a:solidFill>
                  <a:srgbClr val="2067AD"/>
                </a:solidFill>
                <a:latin typeface="Zurich Sans Light"/>
                <a:cs typeface="Zurich Sans Light"/>
              </a:rPr>
              <a:t>2050</a:t>
            </a:r>
            <a:r>
              <a:rPr sz="1400" spc="-27">
                <a:solidFill>
                  <a:srgbClr val="2067AD"/>
                </a:solidFill>
                <a:latin typeface="Zurich Sans Light"/>
                <a:cs typeface="Zurich Sans Light"/>
              </a:rPr>
              <a:t> </a:t>
            </a:r>
            <a:r>
              <a:rPr sz="1400">
                <a:solidFill>
                  <a:srgbClr val="2067AD"/>
                </a:solidFill>
                <a:latin typeface="Zurich Sans Light"/>
                <a:cs typeface="Zurich Sans Light"/>
              </a:rPr>
              <a:t>+1.8C</a:t>
            </a:r>
            <a:r>
              <a:rPr sz="1400" spc="-67">
                <a:solidFill>
                  <a:srgbClr val="2067AD"/>
                </a:solidFill>
                <a:latin typeface="Zurich Sans Light"/>
                <a:cs typeface="Zurich Sans Light"/>
              </a:rPr>
              <a:t> </a:t>
            </a:r>
            <a:r>
              <a:rPr sz="1400">
                <a:solidFill>
                  <a:srgbClr val="2067AD"/>
                </a:solidFill>
                <a:latin typeface="Zurich Sans Light"/>
                <a:cs typeface="Zurich Sans Light"/>
              </a:rPr>
              <a:t>by</a:t>
            </a:r>
            <a:r>
              <a:rPr sz="1400" spc="-27">
                <a:solidFill>
                  <a:srgbClr val="2067AD"/>
                </a:solidFill>
                <a:latin typeface="Zurich Sans Light"/>
                <a:cs typeface="Zurich Sans Light"/>
              </a:rPr>
              <a:t> 2100</a:t>
            </a:r>
            <a:endParaRPr sz="1400">
              <a:latin typeface="Zurich Sans Light"/>
              <a:cs typeface="Zurich Sans Light"/>
            </a:endParaRPr>
          </a:p>
          <a:p>
            <a:pPr marL="16933">
              <a:spcBef>
                <a:spcPts val="180"/>
              </a:spcBef>
            </a:pPr>
            <a:r>
              <a:rPr sz="1400">
                <a:solidFill>
                  <a:srgbClr val="2067AD"/>
                </a:solidFill>
                <a:latin typeface="Wingdings"/>
                <a:cs typeface="Wingdings"/>
              </a:rPr>
              <a:t></a:t>
            </a:r>
            <a:r>
              <a:rPr sz="1400" spc="-53">
                <a:solidFill>
                  <a:srgbClr val="2067AD"/>
                </a:solidFill>
                <a:latin typeface="Times New Roman"/>
                <a:cs typeface="Times New Roman"/>
              </a:rPr>
              <a:t> </a:t>
            </a:r>
            <a:r>
              <a:rPr lang="de-DE" sz="1400">
                <a:solidFill>
                  <a:srgbClr val="2067AD"/>
                </a:solidFill>
                <a:latin typeface="Zurich Sans Light"/>
                <a:cs typeface="Zurich Sans Light"/>
              </a:rPr>
              <a:t>Netto-Null </a:t>
            </a:r>
            <a:r>
              <a:rPr lang="de-DE" sz="1400" u="sng">
                <a:solidFill>
                  <a:srgbClr val="2067AD"/>
                </a:solidFill>
                <a:uFill>
                  <a:solidFill>
                    <a:srgbClr val="2067AD"/>
                  </a:solidFill>
                </a:uFill>
                <a:latin typeface="Zurich Sans Light"/>
                <a:cs typeface="Zurich Sans Light"/>
              </a:rPr>
              <a:t>bis</a:t>
            </a:r>
            <a:r>
              <a:rPr sz="1400" spc="-27">
                <a:solidFill>
                  <a:srgbClr val="2067AD"/>
                </a:solidFill>
                <a:latin typeface="Zurich Sans Light"/>
                <a:cs typeface="Zurich Sans Light"/>
              </a:rPr>
              <a:t> </a:t>
            </a:r>
            <a:r>
              <a:rPr sz="1400">
                <a:solidFill>
                  <a:srgbClr val="2067AD"/>
                </a:solidFill>
                <a:latin typeface="Zurich Sans Light"/>
                <a:cs typeface="Zurich Sans Light"/>
              </a:rPr>
              <a:t>2050</a:t>
            </a:r>
            <a:r>
              <a:rPr sz="1400" spc="-27">
                <a:solidFill>
                  <a:srgbClr val="2067AD"/>
                </a:solidFill>
                <a:latin typeface="Zurich Sans Light"/>
                <a:cs typeface="Zurich Sans Light"/>
              </a:rPr>
              <a:t> </a:t>
            </a:r>
            <a:r>
              <a:rPr sz="1400">
                <a:solidFill>
                  <a:srgbClr val="2067AD"/>
                </a:solidFill>
                <a:latin typeface="Zurich Sans Light"/>
                <a:cs typeface="Zurich Sans Light"/>
              </a:rPr>
              <a:t>+1.4C</a:t>
            </a:r>
            <a:r>
              <a:rPr sz="1400" spc="-53">
                <a:solidFill>
                  <a:srgbClr val="2067AD"/>
                </a:solidFill>
                <a:latin typeface="Zurich Sans Light"/>
                <a:cs typeface="Zurich Sans Light"/>
              </a:rPr>
              <a:t> </a:t>
            </a:r>
            <a:r>
              <a:rPr sz="1400">
                <a:solidFill>
                  <a:srgbClr val="2067AD"/>
                </a:solidFill>
                <a:latin typeface="Zurich Sans Light"/>
                <a:cs typeface="Zurich Sans Light"/>
              </a:rPr>
              <a:t>by</a:t>
            </a:r>
            <a:r>
              <a:rPr sz="1400" spc="-27">
                <a:solidFill>
                  <a:srgbClr val="2067AD"/>
                </a:solidFill>
                <a:latin typeface="Zurich Sans Light"/>
                <a:cs typeface="Zurich Sans Light"/>
              </a:rPr>
              <a:t> 2100</a:t>
            </a:r>
            <a:endParaRPr sz="1400">
              <a:latin typeface="Zurich Sans Light"/>
              <a:cs typeface="Zurich Sans Light"/>
            </a:endParaRPr>
          </a:p>
        </p:txBody>
      </p:sp>
      <p:sp>
        <p:nvSpPr>
          <p:cNvPr id="19" name="object 19"/>
          <p:cNvSpPr txBox="1"/>
          <p:nvPr/>
        </p:nvSpPr>
        <p:spPr>
          <a:xfrm>
            <a:off x="7825231" y="3183577"/>
            <a:ext cx="3297426" cy="660864"/>
          </a:xfrm>
          <a:prstGeom prst="rect">
            <a:avLst/>
          </a:prstGeom>
        </p:spPr>
        <p:txBody>
          <a:bodyPr vert="horz" wrap="square" lIns="0" tIns="113453" rIns="0" bIns="0" rtlCol="0">
            <a:spAutoFit/>
          </a:bodyPr>
          <a:lstStyle/>
          <a:p>
            <a:pPr marL="16933">
              <a:spcBef>
                <a:spcPts val="893"/>
              </a:spcBef>
            </a:pPr>
            <a:r>
              <a:rPr sz="1400">
                <a:solidFill>
                  <a:srgbClr val="2067AD"/>
                </a:solidFill>
                <a:latin typeface="Wingdings"/>
                <a:cs typeface="Wingdings"/>
              </a:rPr>
              <a:t></a:t>
            </a:r>
            <a:r>
              <a:rPr sz="1400" spc="-40">
                <a:solidFill>
                  <a:srgbClr val="2067AD"/>
                </a:solidFill>
                <a:latin typeface="Times New Roman"/>
                <a:cs typeface="Times New Roman"/>
              </a:rPr>
              <a:t> </a:t>
            </a:r>
            <a:r>
              <a:rPr lang="de-DE" sz="1400">
                <a:solidFill>
                  <a:srgbClr val="2067AD"/>
                </a:solidFill>
                <a:latin typeface="Zurich Sans Light"/>
                <a:cs typeface="Zurich Sans Light"/>
              </a:rPr>
              <a:t>vermeiden </a:t>
            </a:r>
            <a:r>
              <a:rPr sz="1400">
                <a:solidFill>
                  <a:srgbClr val="2067AD"/>
                </a:solidFill>
                <a:latin typeface="Zurich Sans Light"/>
                <a:cs typeface="Zurich Sans Light"/>
              </a:rPr>
              <a:t>+4.4C</a:t>
            </a:r>
            <a:r>
              <a:rPr sz="1400" spc="-40">
                <a:solidFill>
                  <a:srgbClr val="2067AD"/>
                </a:solidFill>
                <a:latin typeface="Zurich Sans Light"/>
                <a:cs typeface="Zurich Sans Light"/>
              </a:rPr>
              <a:t> </a:t>
            </a:r>
            <a:r>
              <a:rPr lang="de-DE" sz="1400">
                <a:solidFill>
                  <a:srgbClr val="2067AD"/>
                </a:solidFill>
                <a:latin typeface="Zurich Sans Light"/>
                <a:cs typeface="Zurich Sans Light"/>
              </a:rPr>
              <a:t>bis</a:t>
            </a:r>
            <a:r>
              <a:rPr lang="de-DE" sz="1400" spc="-33">
                <a:solidFill>
                  <a:srgbClr val="2067AD"/>
                </a:solidFill>
                <a:latin typeface="Zurich Sans Light"/>
                <a:cs typeface="Zurich Sans Light"/>
              </a:rPr>
              <a:t> </a:t>
            </a:r>
            <a:r>
              <a:rPr sz="1400" spc="-27">
                <a:solidFill>
                  <a:srgbClr val="2067AD"/>
                </a:solidFill>
                <a:latin typeface="Zurich Sans Light"/>
                <a:cs typeface="Zurich Sans Light"/>
              </a:rPr>
              <a:t>2100</a:t>
            </a:r>
            <a:endParaRPr lang="de-DE" sz="1400" spc="-27">
              <a:latin typeface="Zurich Sans Light"/>
              <a:cs typeface="Zurich Sans Light"/>
            </a:endParaRPr>
          </a:p>
          <a:p>
            <a:pPr marL="16933">
              <a:spcBef>
                <a:spcPts val="893"/>
              </a:spcBef>
            </a:pPr>
            <a:r>
              <a:rPr sz="1400">
                <a:solidFill>
                  <a:srgbClr val="2067AD"/>
                </a:solidFill>
                <a:latin typeface="Wingdings"/>
                <a:cs typeface="Wingdings"/>
              </a:rPr>
              <a:t></a:t>
            </a:r>
            <a:r>
              <a:rPr sz="1400" spc="-47">
                <a:solidFill>
                  <a:srgbClr val="2067AD"/>
                </a:solidFill>
                <a:latin typeface="Times New Roman"/>
                <a:cs typeface="Times New Roman"/>
              </a:rPr>
              <a:t> </a:t>
            </a:r>
            <a:r>
              <a:rPr lang="de-DE" sz="1400">
                <a:solidFill>
                  <a:srgbClr val="2067AD"/>
                </a:solidFill>
                <a:latin typeface="Zurich Sans Light"/>
                <a:cs typeface="Zurich Sans Light"/>
              </a:rPr>
              <a:t>gefährlich</a:t>
            </a:r>
            <a:r>
              <a:rPr lang="de-DE" sz="1400" spc="-47">
                <a:solidFill>
                  <a:srgbClr val="2067AD"/>
                </a:solidFill>
                <a:latin typeface="Zurich Sans Light"/>
                <a:cs typeface="Zurich Sans Light"/>
              </a:rPr>
              <a:t> </a:t>
            </a:r>
            <a:r>
              <a:rPr sz="1400">
                <a:solidFill>
                  <a:srgbClr val="2067AD"/>
                </a:solidFill>
                <a:latin typeface="Zurich Sans Light"/>
                <a:cs typeface="Zurich Sans Light"/>
              </a:rPr>
              <a:t>+3.6C</a:t>
            </a:r>
            <a:r>
              <a:rPr sz="1400" spc="-60">
                <a:solidFill>
                  <a:srgbClr val="2067AD"/>
                </a:solidFill>
                <a:latin typeface="Zurich Sans Light"/>
                <a:cs typeface="Zurich Sans Light"/>
              </a:rPr>
              <a:t> </a:t>
            </a:r>
            <a:r>
              <a:rPr lang="de-DE" sz="1400" spc="-60">
                <a:solidFill>
                  <a:srgbClr val="2067AD"/>
                </a:solidFill>
                <a:latin typeface="Zurich Sans Light"/>
                <a:cs typeface="Zurich Sans Light"/>
              </a:rPr>
              <a:t>bis</a:t>
            </a:r>
            <a:r>
              <a:rPr sz="1400" spc="-27">
                <a:solidFill>
                  <a:srgbClr val="2067AD"/>
                </a:solidFill>
                <a:latin typeface="Zurich Sans Light"/>
                <a:cs typeface="Zurich Sans Light"/>
              </a:rPr>
              <a:t> 2100</a:t>
            </a:r>
            <a:endParaRPr lang="de-DE" sz="1400">
              <a:latin typeface="Zurich Sans Light"/>
              <a:cs typeface="Zurich Sans Light"/>
            </a:endParaRPr>
          </a:p>
        </p:txBody>
      </p:sp>
      <p:sp>
        <p:nvSpPr>
          <p:cNvPr id="20" name="object 20"/>
          <p:cNvSpPr txBox="1"/>
          <p:nvPr/>
        </p:nvSpPr>
        <p:spPr>
          <a:xfrm>
            <a:off x="10773732" y="4314622"/>
            <a:ext cx="1349140" cy="669564"/>
          </a:xfrm>
          <a:prstGeom prst="rect">
            <a:avLst/>
          </a:prstGeom>
        </p:spPr>
        <p:txBody>
          <a:bodyPr vert="horz" wrap="square" lIns="0" tIns="16087" rIns="0" bIns="0" rtlCol="0">
            <a:spAutoFit/>
          </a:bodyPr>
          <a:lstStyle/>
          <a:p>
            <a:pPr marL="16933" marR="6773" indent="332730" algn="r">
              <a:lnSpc>
                <a:spcPct val="101099"/>
              </a:lnSpc>
              <a:spcBef>
                <a:spcPts val="127"/>
              </a:spcBef>
            </a:pPr>
            <a:r>
              <a:rPr lang="de-DE" sz="1067" spc="-13">
                <a:solidFill>
                  <a:srgbClr val="4693D0"/>
                </a:solidFill>
                <a:latin typeface="Zurich Sans Light"/>
                <a:cs typeface="Zurich Sans Light"/>
              </a:rPr>
              <a:t>NACHHALTIGE</a:t>
            </a:r>
            <a:r>
              <a:rPr lang="de-DE" sz="1067" spc="667">
                <a:solidFill>
                  <a:srgbClr val="4693D0"/>
                </a:solidFill>
                <a:latin typeface="Zurich Sans Light"/>
                <a:cs typeface="Zurich Sans Light"/>
              </a:rPr>
              <a:t> </a:t>
            </a:r>
            <a:r>
              <a:rPr lang="de-DE" sz="1067" spc="-13">
                <a:solidFill>
                  <a:srgbClr val="4693D0"/>
                </a:solidFill>
                <a:latin typeface="Zurich Sans Light"/>
                <a:cs typeface="Zurich Sans Light"/>
              </a:rPr>
              <a:t>ENTWICKLUNG</a:t>
            </a:r>
            <a:r>
              <a:rPr lang="de-DE" sz="1067" spc="667">
                <a:solidFill>
                  <a:srgbClr val="4693D0"/>
                </a:solidFill>
                <a:latin typeface="Zurich Sans Light"/>
                <a:cs typeface="Zurich Sans Light"/>
              </a:rPr>
              <a:t> </a:t>
            </a:r>
            <a:r>
              <a:rPr lang="de-DE" sz="1067" spc="-13">
                <a:solidFill>
                  <a:srgbClr val="77A989"/>
                </a:solidFill>
                <a:latin typeface="Zurich Sans Light"/>
                <a:cs typeface="Zurich Sans Light"/>
              </a:rPr>
              <a:t>NETTO-NULL BIS </a:t>
            </a:r>
            <a:r>
              <a:rPr sz="1067" spc="-27">
                <a:solidFill>
                  <a:srgbClr val="77A989"/>
                </a:solidFill>
                <a:latin typeface="Zurich Sans Light"/>
                <a:cs typeface="Zurich Sans Light"/>
              </a:rPr>
              <a:t>2050</a:t>
            </a:r>
            <a:endParaRPr sz="1067">
              <a:latin typeface="Zurich Sans Light"/>
              <a:cs typeface="Zurich Sans Light"/>
            </a:endParaRPr>
          </a:p>
        </p:txBody>
      </p:sp>
      <p:sp>
        <p:nvSpPr>
          <p:cNvPr id="21" name="object 21"/>
          <p:cNvSpPr txBox="1"/>
          <p:nvPr/>
        </p:nvSpPr>
        <p:spPr>
          <a:xfrm>
            <a:off x="10828876" y="3249827"/>
            <a:ext cx="1368890" cy="358346"/>
          </a:xfrm>
          <a:prstGeom prst="rect">
            <a:avLst/>
          </a:prstGeom>
        </p:spPr>
        <p:txBody>
          <a:bodyPr vert="horz" wrap="square" lIns="0" tIns="16933" rIns="0" bIns="0" rtlCol="0">
            <a:spAutoFit/>
          </a:bodyPr>
          <a:lstStyle/>
          <a:p>
            <a:pPr marL="44872" marR="6773" indent="-28786">
              <a:spcBef>
                <a:spcPts val="133"/>
              </a:spcBef>
            </a:pPr>
            <a:r>
              <a:rPr lang="de-DE" sz="1067">
                <a:solidFill>
                  <a:srgbClr val="C00000"/>
                </a:solidFill>
                <a:latin typeface="Zurich Sans Light"/>
                <a:cs typeface="Zurich Sans Light"/>
              </a:rPr>
              <a:t>FOSSILGETRIEBENE </a:t>
            </a:r>
          </a:p>
          <a:p>
            <a:pPr marL="44872" marR="6773" indent="-28786">
              <a:spcBef>
                <a:spcPts val="133"/>
              </a:spcBef>
            </a:pPr>
            <a:r>
              <a:rPr lang="de-DE" sz="1067">
                <a:solidFill>
                  <a:srgbClr val="C00000"/>
                </a:solidFill>
                <a:latin typeface="Zurich Sans Light"/>
                <a:cs typeface="Zurich Sans Light"/>
              </a:rPr>
              <a:t>ENTWICKLUNG</a:t>
            </a:r>
            <a:endParaRPr sz="1067">
              <a:latin typeface="Zurich Sans Light"/>
              <a:cs typeface="Zurich Sans Light"/>
            </a:endParaRPr>
          </a:p>
        </p:txBody>
      </p:sp>
      <p:sp>
        <p:nvSpPr>
          <p:cNvPr id="22" name="object 22"/>
          <p:cNvSpPr/>
          <p:nvPr/>
        </p:nvSpPr>
        <p:spPr>
          <a:xfrm>
            <a:off x="7825231" y="2381503"/>
            <a:ext cx="4358639" cy="331893"/>
          </a:xfrm>
          <a:custGeom>
            <a:avLst/>
            <a:gdLst/>
            <a:ahLst/>
            <a:cxnLst/>
            <a:rect l="l" t="t" r="r" b="b"/>
            <a:pathLst>
              <a:path w="3268979" h="248919">
                <a:moveTo>
                  <a:pt x="3268979" y="0"/>
                </a:moveTo>
                <a:lnTo>
                  <a:pt x="0" y="0"/>
                </a:lnTo>
                <a:lnTo>
                  <a:pt x="0" y="248412"/>
                </a:lnTo>
                <a:lnTo>
                  <a:pt x="3268979" y="248412"/>
                </a:lnTo>
                <a:lnTo>
                  <a:pt x="3268979" y="0"/>
                </a:lnTo>
                <a:close/>
              </a:path>
            </a:pathLst>
          </a:custGeom>
          <a:solidFill>
            <a:srgbClr val="E9E3D6"/>
          </a:solidFill>
        </p:spPr>
        <p:txBody>
          <a:bodyPr wrap="square" lIns="0" tIns="0" rIns="0" bIns="0" rtlCol="0"/>
          <a:lstStyle/>
          <a:p>
            <a:endParaRPr sz="2400"/>
          </a:p>
        </p:txBody>
      </p:sp>
      <p:sp>
        <p:nvSpPr>
          <p:cNvPr id="23" name="object 23"/>
          <p:cNvSpPr txBox="1"/>
          <p:nvPr/>
        </p:nvSpPr>
        <p:spPr>
          <a:xfrm>
            <a:off x="432951" y="1375832"/>
            <a:ext cx="7362818" cy="1252160"/>
          </a:xfrm>
          <a:prstGeom prst="rect">
            <a:avLst/>
          </a:prstGeom>
        </p:spPr>
        <p:txBody>
          <a:bodyPr vert="horz" wrap="square" lIns="0" tIns="16087" rIns="0" bIns="0" rtlCol="0">
            <a:spAutoFit/>
          </a:bodyPr>
          <a:lstStyle/>
          <a:p>
            <a:pPr marL="16933">
              <a:spcBef>
                <a:spcPts val="127"/>
              </a:spcBef>
            </a:pPr>
            <a:r>
              <a:rPr lang="de-DE" sz="1733">
                <a:solidFill>
                  <a:srgbClr val="2067AD"/>
                </a:solidFill>
                <a:latin typeface="Zurich Sans Light"/>
                <a:cs typeface="Zurich Sans Light"/>
              </a:rPr>
              <a:t>Menschliche Aktivitäten beeinflussen alle wichtigen Komponenten des Klimasystems. Einige reagieren innerhalb von Jahrzehnten, andere erst über Jahrhunderte hinweg</a:t>
            </a:r>
            <a:r>
              <a:rPr sz="1733" spc="-13">
                <a:solidFill>
                  <a:srgbClr val="2067AD"/>
                </a:solidFill>
                <a:latin typeface="Zurich Sans Light"/>
                <a:cs typeface="Zurich Sans Light"/>
              </a:rPr>
              <a:t>.</a:t>
            </a:r>
            <a:endParaRPr lang="de-DE" sz="1733" spc="-13">
              <a:latin typeface="Zurich Sans Light"/>
              <a:cs typeface="Zurich Sans Light"/>
            </a:endParaRPr>
          </a:p>
          <a:p>
            <a:pPr marL="16933">
              <a:spcBef>
                <a:spcPts val="127"/>
              </a:spcBef>
            </a:pPr>
            <a:r>
              <a:rPr lang="de-DE" sz="1333">
                <a:solidFill>
                  <a:srgbClr val="2067AD"/>
                </a:solidFill>
                <a:latin typeface="Zurich Sans Light"/>
                <a:cs typeface="Zurich Sans Light"/>
              </a:rPr>
              <a:t>Abbildung</a:t>
            </a:r>
            <a:r>
              <a:rPr lang="de-DE" sz="1333" spc="-47">
                <a:solidFill>
                  <a:srgbClr val="2067AD"/>
                </a:solidFill>
                <a:latin typeface="Zurich Sans Light"/>
                <a:cs typeface="Zurich Sans Light"/>
              </a:rPr>
              <a:t> </a:t>
            </a:r>
            <a:r>
              <a:rPr sz="1333" spc="-13">
                <a:solidFill>
                  <a:srgbClr val="2067AD"/>
                </a:solidFill>
                <a:latin typeface="Zurich Sans Light"/>
                <a:cs typeface="Zurich Sans Light"/>
              </a:rPr>
              <a:t>SPM.8</a:t>
            </a:r>
            <a:endParaRPr lang="de-DE" sz="1333">
              <a:latin typeface="Zurich Sans Light"/>
              <a:cs typeface="Zurich Sans Light"/>
            </a:endParaRPr>
          </a:p>
          <a:p>
            <a:pPr>
              <a:spcBef>
                <a:spcPts val="73"/>
              </a:spcBef>
            </a:pPr>
            <a:endParaRPr lang="de-DE" sz="1333">
              <a:latin typeface="Zurich Sans Light"/>
              <a:cs typeface="Zurich Sans Light"/>
            </a:endParaRPr>
          </a:p>
        </p:txBody>
      </p:sp>
      <p:pic>
        <p:nvPicPr>
          <p:cNvPr id="24" name="object 24"/>
          <p:cNvPicPr/>
          <p:nvPr/>
        </p:nvPicPr>
        <p:blipFill>
          <a:blip r:embed="rId5" cstate="print"/>
          <a:stretch>
            <a:fillRect/>
          </a:stretch>
        </p:blipFill>
        <p:spPr>
          <a:xfrm>
            <a:off x="9463024" y="1495551"/>
            <a:ext cx="1339088" cy="731519"/>
          </a:xfrm>
          <a:prstGeom prst="rect">
            <a:avLst/>
          </a:prstGeom>
        </p:spPr>
      </p:pic>
      <p:sp>
        <p:nvSpPr>
          <p:cNvPr id="26" name="Textfeld 25">
            <a:extLst>
              <a:ext uri="{FF2B5EF4-FFF2-40B4-BE49-F238E27FC236}">
                <a16:creationId xmlns:a16="http://schemas.microsoft.com/office/drawing/2014/main" id="{F8431EA5-623B-230F-64FA-36B7207C5622}"/>
              </a:ext>
            </a:extLst>
          </p:cNvPr>
          <p:cNvSpPr txBox="1"/>
          <p:nvPr/>
        </p:nvSpPr>
        <p:spPr>
          <a:xfrm>
            <a:off x="7778459" y="2118927"/>
            <a:ext cx="1731169" cy="297004"/>
          </a:xfrm>
          <a:prstGeom prst="rect">
            <a:avLst/>
          </a:prstGeom>
          <a:noFill/>
        </p:spPr>
        <p:txBody>
          <a:bodyPr wrap="square">
            <a:spAutoFit/>
          </a:bodyPr>
          <a:lstStyle/>
          <a:p>
            <a:pPr marL="16933">
              <a:spcBef>
                <a:spcPts val="127"/>
              </a:spcBef>
            </a:pPr>
            <a:r>
              <a:rPr lang="de-DE" sz="1330" spc="-13">
                <a:solidFill>
                  <a:schemeClr val="bg1">
                    <a:lumMod val="50000"/>
                  </a:schemeClr>
                </a:solidFill>
                <a:latin typeface="Zurich Sans Light"/>
                <a:cs typeface="Zurich Sans Light"/>
              </a:rPr>
              <a:t>Beschreibung</a:t>
            </a:r>
            <a:endParaRPr lang="de-DE" sz="1330">
              <a:solidFill>
                <a:schemeClr val="bg1">
                  <a:lumMod val="50000"/>
                </a:schemeClr>
              </a:solidFill>
              <a:latin typeface="Zurich Sans Light"/>
              <a:cs typeface="Zurich Sans Light"/>
            </a:endParaRPr>
          </a:p>
        </p:txBody>
      </p:sp>
      <p:sp>
        <p:nvSpPr>
          <p:cNvPr id="27" name="Rechteck 26">
            <a:extLst>
              <a:ext uri="{FF2B5EF4-FFF2-40B4-BE49-F238E27FC236}">
                <a16:creationId xmlns:a16="http://schemas.microsoft.com/office/drawing/2014/main" id="{3F21C7FC-6158-11FE-9E16-873637ACA898}"/>
              </a:ext>
            </a:extLst>
          </p:cNvPr>
          <p:cNvSpPr/>
          <p:nvPr/>
        </p:nvSpPr>
        <p:spPr>
          <a:xfrm>
            <a:off x="11363325" y="6575206"/>
            <a:ext cx="701040" cy="1813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000"/>
          </a:p>
        </p:txBody>
      </p:sp>
      <p:sp>
        <p:nvSpPr>
          <p:cNvPr id="2" name="object 2"/>
          <p:cNvSpPr txBox="1"/>
          <p:nvPr/>
        </p:nvSpPr>
        <p:spPr>
          <a:xfrm>
            <a:off x="11201451" y="6476209"/>
            <a:ext cx="701040" cy="181310"/>
          </a:xfrm>
          <a:prstGeom prst="rect">
            <a:avLst/>
          </a:prstGeom>
        </p:spPr>
        <p:txBody>
          <a:bodyPr vert="horz" wrap="square" lIns="0" tIns="16933" rIns="0" bIns="0" rtlCol="0">
            <a:spAutoFit/>
          </a:bodyPr>
          <a:lstStyle/>
          <a:p>
            <a:pPr marL="16933">
              <a:spcBef>
                <a:spcPts val="133"/>
              </a:spcBef>
            </a:pPr>
            <a:r>
              <a:rPr sz="1300" baseline="8547">
                <a:solidFill>
                  <a:srgbClr val="2067AD"/>
                </a:solidFill>
                <a:latin typeface="Zurich Sans Light"/>
                <a:cs typeface="Zurich Sans Light"/>
              </a:rPr>
              <a:t>4</a:t>
            </a:r>
            <a:r>
              <a:rPr sz="1300" spc="629" baseline="8547">
                <a:solidFill>
                  <a:srgbClr val="2067AD"/>
                </a:solidFill>
                <a:latin typeface="Zurich Sans Light"/>
                <a:cs typeface="Zurich Sans Light"/>
              </a:rPr>
              <a:t> </a:t>
            </a:r>
            <a:r>
              <a:rPr sz="1067">
                <a:solidFill>
                  <a:srgbClr val="2067AD"/>
                </a:solidFill>
                <a:latin typeface="Zurich Sans Light"/>
                <a:cs typeface="Zurich Sans Light"/>
              </a:rPr>
              <a:t>©</a:t>
            </a:r>
            <a:r>
              <a:rPr sz="1067" spc="-13">
                <a:solidFill>
                  <a:srgbClr val="2067AD"/>
                </a:solidFill>
                <a:latin typeface="Zurich Sans Light"/>
                <a:cs typeface="Zurich Sans Light"/>
              </a:rPr>
              <a:t> Zurich</a:t>
            </a:r>
            <a:endParaRPr sz="1067">
              <a:latin typeface="Zurich Sans Light"/>
              <a:cs typeface="Zurich Sans Light"/>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34441" y="333240"/>
            <a:ext cx="12781887" cy="386430"/>
          </a:xfrm>
          <a:prstGeom prst="rect">
            <a:avLst/>
          </a:prstGeom>
        </p:spPr>
        <p:txBody>
          <a:bodyPr vert="horz" wrap="square" lIns="0" tIns="16933" rIns="0" bIns="0" rtlCol="0" anchor="t" anchorCtr="0">
            <a:spAutoFit/>
          </a:bodyPr>
          <a:lstStyle/>
          <a:p>
            <a:pPr marL="17780">
              <a:lnSpc>
                <a:spcPct val="100000"/>
              </a:lnSpc>
              <a:spcBef>
                <a:spcPts val="133"/>
              </a:spcBef>
            </a:pPr>
            <a:r>
              <a:rPr lang="de-DE" dirty="0">
                <a:latin typeface="+mj-lt"/>
              </a:rPr>
              <a:t>Was motiviert Organisationen zu Klimaschutzmaßnahmen?</a:t>
            </a:r>
            <a:endParaRPr dirty="0">
              <a:latin typeface="+mj-lt"/>
            </a:endParaRPr>
          </a:p>
        </p:txBody>
      </p:sp>
      <p:grpSp>
        <p:nvGrpSpPr>
          <p:cNvPr id="3" name="object 3"/>
          <p:cNvGrpSpPr/>
          <p:nvPr/>
        </p:nvGrpSpPr>
        <p:grpSpPr>
          <a:xfrm>
            <a:off x="0" y="1196848"/>
            <a:ext cx="12192000" cy="5226472"/>
            <a:chOff x="0" y="897636"/>
            <a:chExt cx="9144000" cy="3919854"/>
          </a:xfrm>
        </p:grpSpPr>
        <p:sp>
          <p:nvSpPr>
            <p:cNvPr id="4" name="object 4"/>
            <p:cNvSpPr/>
            <p:nvPr/>
          </p:nvSpPr>
          <p:spPr>
            <a:xfrm>
              <a:off x="0" y="897636"/>
              <a:ext cx="9144000" cy="3919854"/>
            </a:xfrm>
            <a:custGeom>
              <a:avLst/>
              <a:gdLst/>
              <a:ahLst/>
              <a:cxnLst/>
              <a:rect l="l" t="t" r="r" b="b"/>
              <a:pathLst>
                <a:path w="9144000" h="3919854">
                  <a:moveTo>
                    <a:pt x="9144000" y="0"/>
                  </a:moveTo>
                  <a:lnTo>
                    <a:pt x="0" y="0"/>
                  </a:lnTo>
                  <a:lnTo>
                    <a:pt x="0" y="3919728"/>
                  </a:lnTo>
                  <a:lnTo>
                    <a:pt x="9144000" y="3919728"/>
                  </a:lnTo>
                  <a:lnTo>
                    <a:pt x="9144000" y="0"/>
                  </a:lnTo>
                  <a:close/>
                </a:path>
              </a:pathLst>
            </a:custGeom>
            <a:solidFill>
              <a:srgbClr val="EDEFF0"/>
            </a:solidFill>
          </p:spPr>
          <p:txBody>
            <a:bodyPr wrap="square" lIns="0" tIns="0" rIns="0" bIns="0" rtlCol="0"/>
            <a:lstStyle/>
            <a:p>
              <a:endParaRPr sz="2400"/>
            </a:p>
          </p:txBody>
        </p:sp>
        <p:pic>
          <p:nvPicPr>
            <p:cNvPr id="5" name="object 5"/>
            <p:cNvPicPr/>
            <p:nvPr/>
          </p:nvPicPr>
          <p:blipFill>
            <a:blip r:embed="rId4" cstate="print"/>
            <a:stretch>
              <a:fillRect/>
            </a:stretch>
          </p:blipFill>
          <p:spPr>
            <a:xfrm>
              <a:off x="2645410" y="933069"/>
              <a:ext cx="3853179" cy="3802253"/>
            </a:xfrm>
            <a:prstGeom prst="rect">
              <a:avLst/>
            </a:prstGeom>
          </p:spPr>
        </p:pic>
      </p:grpSp>
      <p:sp>
        <p:nvSpPr>
          <p:cNvPr id="6" name="object 6"/>
          <p:cNvSpPr txBox="1"/>
          <p:nvPr/>
        </p:nvSpPr>
        <p:spPr>
          <a:xfrm>
            <a:off x="5480813" y="1710606"/>
            <a:ext cx="1230207" cy="436870"/>
          </a:xfrm>
          <a:prstGeom prst="rect">
            <a:avLst/>
          </a:prstGeom>
        </p:spPr>
        <p:txBody>
          <a:bodyPr vert="horz" wrap="square" lIns="0" tIns="38945" rIns="0" bIns="0" rtlCol="0">
            <a:spAutoFit/>
          </a:bodyPr>
          <a:lstStyle/>
          <a:p>
            <a:pPr marL="369984" marR="6773" indent="-353898" algn="ctr">
              <a:lnSpc>
                <a:spcPts val="1440"/>
              </a:lnSpc>
              <a:spcBef>
                <a:spcPts val="305"/>
              </a:spcBef>
            </a:pPr>
            <a:r>
              <a:rPr lang="de-DE" sz="1333" spc="-13">
                <a:solidFill>
                  <a:srgbClr val="FFFFFF"/>
                </a:solidFill>
                <a:latin typeface="Zurich Sans Medium"/>
                <a:cs typeface="Zurich Sans Medium"/>
              </a:rPr>
              <a:t>Klimabedingte</a:t>
            </a:r>
          </a:p>
          <a:p>
            <a:pPr marL="369984" marR="6773" indent="-353898" algn="ctr">
              <a:lnSpc>
                <a:spcPts val="1440"/>
              </a:lnSpc>
              <a:spcBef>
                <a:spcPts val="305"/>
              </a:spcBef>
            </a:pPr>
            <a:r>
              <a:rPr lang="de-DE" sz="1333" spc="-13">
                <a:solidFill>
                  <a:srgbClr val="FFFFFF"/>
                </a:solidFill>
                <a:latin typeface="Zurich Sans Medium"/>
                <a:cs typeface="Zurich Sans Medium"/>
              </a:rPr>
              <a:t>Verluste</a:t>
            </a:r>
            <a:endParaRPr lang="de-DE" sz="1333">
              <a:latin typeface="Zurich Sans Medium"/>
              <a:cs typeface="Zurich Sans Medium"/>
            </a:endParaRPr>
          </a:p>
        </p:txBody>
      </p:sp>
      <p:sp>
        <p:nvSpPr>
          <p:cNvPr id="21" name="object 21"/>
          <p:cNvSpPr txBox="1">
            <a:spLocks noGrp="1"/>
          </p:cNvSpPr>
          <p:nvPr>
            <p:ph type="sldNum" sz="quarter" idx="7"/>
          </p:nvPr>
        </p:nvSpPr>
        <p:spPr>
          <a:xfrm>
            <a:off x="11165713" y="6577843"/>
            <a:ext cx="176403" cy="138499"/>
          </a:xfrm>
          <a:prstGeom prst="rect">
            <a:avLst/>
          </a:prstGeom>
        </p:spPr>
        <p:txBody>
          <a:bodyPr vert="horz" wrap="square" lIns="0" tIns="0" rIns="0" bIns="0" rtlCol="0">
            <a:spAutoFit/>
          </a:bodyPr>
          <a:lstStyle>
            <a:defPPr>
              <a:defRPr kern="0"/>
            </a:defPPr>
            <a:lvl1pPr>
              <a:defRPr sz="650" b="0" i="0">
                <a:solidFill>
                  <a:srgbClr val="2067AD"/>
                </a:solidFill>
                <a:latin typeface="Zurich Sans Light"/>
                <a:cs typeface="Zurich Sans Light"/>
              </a:defRPr>
            </a:lvl1pPr>
          </a:lstStyle>
          <a:p>
            <a:pPr marL="71120">
              <a:spcBef>
                <a:spcPts val="50"/>
              </a:spcBef>
            </a:pPr>
            <a:fld id="{81D60167-4931-47E6-BA6A-407CBD079E47}" type="slidenum">
              <a:rPr lang="en-NL" sz="900" spc="10" smtClean="0"/>
              <a:pPr marL="71120">
                <a:spcBef>
                  <a:spcPts val="50"/>
                </a:spcBef>
              </a:pPr>
              <a:t>5</a:t>
            </a:fld>
            <a:endParaRPr lang="de-DE" sz="900" spc="-33"/>
          </a:p>
        </p:txBody>
      </p:sp>
      <p:sp>
        <p:nvSpPr>
          <p:cNvPr id="7" name="object 7"/>
          <p:cNvSpPr txBox="1"/>
          <p:nvPr/>
        </p:nvSpPr>
        <p:spPr>
          <a:xfrm>
            <a:off x="7181595" y="2538983"/>
            <a:ext cx="891540" cy="221365"/>
          </a:xfrm>
          <a:prstGeom prst="rect">
            <a:avLst/>
          </a:prstGeom>
        </p:spPr>
        <p:txBody>
          <a:bodyPr vert="horz" wrap="square" lIns="0" tIns="16087" rIns="0" bIns="0" rtlCol="0">
            <a:spAutoFit/>
          </a:bodyPr>
          <a:lstStyle/>
          <a:p>
            <a:pPr marL="16933">
              <a:spcBef>
                <a:spcPts val="127"/>
              </a:spcBef>
            </a:pPr>
            <a:r>
              <a:rPr sz="1333" spc="-13">
                <a:solidFill>
                  <a:srgbClr val="FFFFFF"/>
                </a:solidFill>
                <a:latin typeface="Zurich Sans Medium"/>
                <a:cs typeface="Zurich Sans Medium"/>
              </a:rPr>
              <a:t>Reputation</a:t>
            </a:r>
            <a:endParaRPr sz="1333">
              <a:latin typeface="Zurich Sans Medium"/>
              <a:cs typeface="Zurich Sans Medium"/>
            </a:endParaRPr>
          </a:p>
        </p:txBody>
      </p:sp>
      <p:sp>
        <p:nvSpPr>
          <p:cNvPr id="8" name="object 8"/>
          <p:cNvSpPr txBox="1"/>
          <p:nvPr/>
        </p:nvSpPr>
        <p:spPr>
          <a:xfrm>
            <a:off x="7438518" y="4008807"/>
            <a:ext cx="1164164" cy="590568"/>
          </a:xfrm>
          <a:prstGeom prst="rect">
            <a:avLst/>
          </a:prstGeom>
        </p:spPr>
        <p:txBody>
          <a:bodyPr vert="horz" wrap="square" lIns="0" tIns="36407" rIns="0" bIns="0" rtlCol="0">
            <a:spAutoFit/>
          </a:bodyPr>
          <a:lstStyle/>
          <a:p>
            <a:pPr marL="30479" marR="6773" indent="-14393" algn="ctr">
              <a:lnSpc>
                <a:spcPct val="90100"/>
              </a:lnSpc>
              <a:spcBef>
                <a:spcPts val="287"/>
              </a:spcBef>
            </a:pPr>
            <a:r>
              <a:rPr lang="de-DE" sz="1333" spc="-13">
                <a:solidFill>
                  <a:srgbClr val="2067AD"/>
                </a:solidFill>
                <a:latin typeface="Zurich Sans Medium"/>
                <a:cs typeface="Zurich Sans Medium"/>
              </a:rPr>
              <a:t>Innovation &amp; Wettbewerbs-vorteil</a:t>
            </a:r>
            <a:endParaRPr lang="de-DE" sz="1333">
              <a:latin typeface="Zurich Sans Medium"/>
              <a:cs typeface="Zurich Sans Medium"/>
            </a:endParaRPr>
          </a:p>
        </p:txBody>
      </p:sp>
      <p:sp>
        <p:nvSpPr>
          <p:cNvPr id="9" name="object 9"/>
          <p:cNvSpPr txBox="1"/>
          <p:nvPr/>
        </p:nvSpPr>
        <p:spPr>
          <a:xfrm>
            <a:off x="6393180" y="5427246"/>
            <a:ext cx="1136224" cy="398398"/>
          </a:xfrm>
          <a:prstGeom prst="rect">
            <a:avLst/>
          </a:prstGeom>
        </p:spPr>
        <p:txBody>
          <a:bodyPr vert="horz" wrap="square" lIns="0" tIns="38945" rIns="0" bIns="0" rtlCol="0">
            <a:spAutoFit/>
          </a:bodyPr>
          <a:lstStyle/>
          <a:p>
            <a:pPr marL="16933" marR="6773" indent="107524" algn="ctr">
              <a:lnSpc>
                <a:spcPts val="1440"/>
              </a:lnSpc>
              <a:spcBef>
                <a:spcPts val="305"/>
              </a:spcBef>
            </a:pPr>
            <a:r>
              <a:rPr lang="de-DE" sz="1333" spc="-13">
                <a:solidFill>
                  <a:srgbClr val="FFFFFF"/>
                </a:solidFill>
                <a:latin typeface="Zurich Sans Medium"/>
                <a:cs typeface="Zurich Sans Medium"/>
              </a:rPr>
              <a:t>Mitarbeiter- </a:t>
            </a:r>
            <a:r>
              <a:rPr lang="de-DE" sz="1333" spc="-13" err="1">
                <a:solidFill>
                  <a:srgbClr val="FFFFFF"/>
                </a:solidFill>
                <a:latin typeface="Zurich Sans Medium"/>
                <a:cs typeface="Zurich Sans Medium"/>
              </a:rPr>
              <a:t>engagement</a:t>
            </a:r>
            <a:endParaRPr lang="de-DE" sz="1333">
              <a:latin typeface="Zurich Sans Medium"/>
              <a:cs typeface="Zurich Sans Medium"/>
            </a:endParaRPr>
          </a:p>
        </p:txBody>
      </p:sp>
      <p:sp>
        <p:nvSpPr>
          <p:cNvPr id="10" name="object 10"/>
          <p:cNvSpPr txBox="1"/>
          <p:nvPr/>
        </p:nvSpPr>
        <p:spPr>
          <a:xfrm>
            <a:off x="4642695" y="5323434"/>
            <a:ext cx="1230207" cy="577934"/>
          </a:xfrm>
          <a:prstGeom prst="rect">
            <a:avLst/>
          </a:prstGeom>
        </p:spPr>
        <p:txBody>
          <a:bodyPr vert="horz" wrap="square" lIns="0" tIns="38945" rIns="0" bIns="0" rtlCol="0">
            <a:spAutoFit/>
          </a:bodyPr>
          <a:lstStyle/>
          <a:p>
            <a:pPr marL="16086" marR="6773" indent="-847" algn="ctr">
              <a:lnSpc>
                <a:spcPts val="1440"/>
              </a:lnSpc>
              <a:spcBef>
                <a:spcPts val="305"/>
              </a:spcBef>
            </a:pPr>
            <a:r>
              <a:rPr lang="de-DE" sz="1333">
                <a:solidFill>
                  <a:srgbClr val="2067AD"/>
                </a:solidFill>
                <a:latin typeface="Zurich Sans Medium"/>
                <a:cs typeface="Zurich Sans Medium"/>
              </a:rPr>
              <a:t>Soziale &amp; ökologische Verantwortung</a:t>
            </a:r>
            <a:endParaRPr sz="1333">
              <a:latin typeface="Zurich Sans Medium"/>
              <a:cs typeface="Zurich Sans Medium"/>
            </a:endParaRPr>
          </a:p>
        </p:txBody>
      </p:sp>
      <p:sp>
        <p:nvSpPr>
          <p:cNvPr id="11" name="object 11"/>
          <p:cNvSpPr txBox="1"/>
          <p:nvPr/>
        </p:nvSpPr>
        <p:spPr>
          <a:xfrm>
            <a:off x="3446172" y="4008807"/>
            <a:ext cx="1411985" cy="577934"/>
          </a:xfrm>
          <a:prstGeom prst="rect">
            <a:avLst/>
          </a:prstGeom>
        </p:spPr>
        <p:txBody>
          <a:bodyPr vert="horz" wrap="square" lIns="0" tIns="38945" rIns="0" bIns="0" rtlCol="0">
            <a:spAutoFit/>
          </a:bodyPr>
          <a:lstStyle/>
          <a:p>
            <a:pPr marL="91438" marR="6773" indent="-75351" algn="ctr">
              <a:lnSpc>
                <a:spcPts val="1440"/>
              </a:lnSpc>
              <a:spcBef>
                <a:spcPts val="305"/>
              </a:spcBef>
            </a:pPr>
            <a:r>
              <a:rPr lang="de-DE" sz="1333">
                <a:solidFill>
                  <a:srgbClr val="FFFFFF"/>
                </a:solidFill>
                <a:latin typeface="Zurich Sans Medium"/>
                <a:cs typeface="Zurich Sans Medium"/>
              </a:rPr>
              <a:t>Mögliche Nichtversicher-barkeit</a:t>
            </a:r>
            <a:endParaRPr lang="de-DE" sz="1333">
              <a:latin typeface="Zurich Sans Medium"/>
              <a:cs typeface="Zurich Sans Medium"/>
            </a:endParaRPr>
          </a:p>
        </p:txBody>
      </p:sp>
      <p:sp>
        <p:nvSpPr>
          <p:cNvPr id="12" name="object 12"/>
          <p:cNvSpPr txBox="1"/>
          <p:nvPr/>
        </p:nvSpPr>
        <p:spPr>
          <a:xfrm>
            <a:off x="3875107" y="2341462"/>
            <a:ext cx="1411985" cy="616406"/>
          </a:xfrm>
          <a:prstGeom prst="rect">
            <a:avLst/>
          </a:prstGeom>
        </p:spPr>
        <p:txBody>
          <a:bodyPr vert="horz" wrap="square" lIns="0" tIns="38945" rIns="0" bIns="0" rtlCol="0">
            <a:spAutoFit/>
          </a:bodyPr>
          <a:lstStyle/>
          <a:p>
            <a:pPr marL="16933" marR="6773" indent="1693" algn="ctr">
              <a:lnSpc>
                <a:spcPts val="1440"/>
              </a:lnSpc>
              <a:spcBef>
                <a:spcPts val="305"/>
              </a:spcBef>
            </a:pPr>
            <a:r>
              <a:rPr lang="de-DE" sz="1333">
                <a:solidFill>
                  <a:srgbClr val="FFFFFF"/>
                </a:solidFill>
                <a:latin typeface="Zurich Sans Medium"/>
                <a:cs typeface="Zurich Sans Medium"/>
              </a:rPr>
              <a:t>Investoren- &amp; </a:t>
            </a:r>
            <a:r>
              <a:rPr lang="de-DE" sz="1333" err="1">
                <a:solidFill>
                  <a:srgbClr val="FFFFFF"/>
                </a:solidFill>
                <a:latin typeface="Zurich Sans Medium"/>
                <a:cs typeface="Zurich Sans Medium"/>
              </a:rPr>
              <a:t>Behördenan</a:t>
            </a:r>
            <a:r>
              <a:rPr lang="de-DE" sz="1333">
                <a:solidFill>
                  <a:srgbClr val="FFFFFF"/>
                </a:solidFill>
                <a:latin typeface="Zurich Sans Medium"/>
                <a:cs typeface="Zurich Sans Medium"/>
              </a:rPr>
              <a:t>-</a:t>
            </a:r>
          </a:p>
          <a:p>
            <a:pPr marL="16933" marR="6773" indent="1693" algn="ctr">
              <a:lnSpc>
                <a:spcPts val="1440"/>
              </a:lnSpc>
              <a:spcBef>
                <a:spcPts val="305"/>
              </a:spcBef>
            </a:pPr>
            <a:r>
              <a:rPr lang="de-DE" sz="1333" err="1">
                <a:solidFill>
                  <a:srgbClr val="FFFFFF"/>
                </a:solidFill>
                <a:latin typeface="Zurich Sans Medium"/>
                <a:cs typeface="Zurich Sans Medium"/>
              </a:rPr>
              <a:t>forderungen</a:t>
            </a:r>
            <a:endParaRPr lang="de-DE" sz="1333">
              <a:latin typeface="Zurich Sans Medium"/>
              <a:cs typeface="Zurich Sans Medium"/>
            </a:endParaRPr>
          </a:p>
        </p:txBody>
      </p:sp>
      <p:sp>
        <p:nvSpPr>
          <p:cNvPr id="13" name="object 13"/>
          <p:cNvSpPr txBox="1"/>
          <p:nvPr/>
        </p:nvSpPr>
        <p:spPr>
          <a:xfrm>
            <a:off x="6853363" y="1309918"/>
            <a:ext cx="4188588" cy="662575"/>
          </a:xfrm>
          <a:prstGeom prst="rect">
            <a:avLst/>
          </a:prstGeom>
        </p:spPr>
        <p:txBody>
          <a:bodyPr vert="horz" wrap="square" lIns="0" tIns="16087" rIns="0" bIns="0" rtlCol="0">
            <a:spAutoFit/>
          </a:bodyPr>
          <a:lstStyle/>
          <a:p>
            <a:pPr marL="16933" marR="6773">
              <a:spcBef>
                <a:spcPts val="127"/>
              </a:spcBef>
            </a:pPr>
            <a:r>
              <a:rPr lang="de-DE" sz="1400">
                <a:solidFill>
                  <a:srgbClr val="2067AD"/>
                </a:solidFill>
                <a:latin typeface="Zurich Sans Light"/>
                <a:cs typeface="Zurich Sans Light"/>
              </a:rPr>
              <a:t>Zunehmende Häufigkeit (und Dauer) extremer Ereignisse mit globalen Auswirkungen auf die Wertschöpfungskette</a:t>
            </a:r>
            <a:endParaRPr lang="de-DE" sz="1400">
              <a:latin typeface="Zurich Sans Light"/>
              <a:cs typeface="Zurich Sans Light"/>
            </a:endParaRPr>
          </a:p>
        </p:txBody>
      </p:sp>
      <p:sp>
        <p:nvSpPr>
          <p:cNvPr id="14" name="object 14"/>
          <p:cNvSpPr txBox="1"/>
          <p:nvPr/>
        </p:nvSpPr>
        <p:spPr>
          <a:xfrm>
            <a:off x="153796" y="2429060"/>
            <a:ext cx="3815657" cy="662575"/>
          </a:xfrm>
          <a:prstGeom prst="rect">
            <a:avLst/>
          </a:prstGeom>
        </p:spPr>
        <p:txBody>
          <a:bodyPr vert="horz" wrap="square" lIns="0" tIns="16087" rIns="0" bIns="0" rtlCol="0">
            <a:spAutoFit/>
          </a:bodyPr>
          <a:lstStyle/>
          <a:p>
            <a:pPr marL="120224" marR="6773" indent="-104137">
              <a:spcBef>
                <a:spcPts val="127"/>
              </a:spcBef>
            </a:pPr>
            <a:r>
              <a:rPr lang="de-DE" sz="1333">
                <a:solidFill>
                  <a:srgbClr val="2067AD"/>
                </a:solidFill>
                <a:latin typeface="Zurich Sans Light"/>
                <a:cs typeface="Zurich Sans Light"/>
              </a:rPr>
              <a:t>   </a:t>
            </a:r>
            <a:r>
              <a:rPr lang="de-DE" sz="1400">
                <a:solidFill>
                  <a:srgbClr val="2067AD"/>
                </a:solidFill>
                <a:latin typeface="Zurich Sans Light"/>
                <a:cs typeface="Zurich Sans Light"/>
              </a:rPr>
              <a:t>Forderungen von Investoren und Aufsichtsbehörden, wirksame Maßnahmen nachzuweisen und transparent zu berichten</a:t>
            </a:r>
            <a:endParaRPr sz="1333">
              <a:latin typeface="Zurich Sans Light"/>
              <a:cs typeface="Zurich Sans Light"/>
            </a:endParaRPr>
          </a:p>
        </p:txBody>
      </p:sp>
      <p:sp>
        <p:nvSpPr>
          <p:cNvPr id="15" name="object 15"/>
          <p:cNvSpPr txBox="1"/>
          <p:nvPr/>
        </p:nvSpPr>
        <p:spPr>
          <a:xfrm>
            <a:off x="704850" y="4205223"/>
            <a:ext cx="2713551" cy="231688"/>
          </a:xfrm>
          <a:prstGeom prst="rect">
            <a:avLst/>
          </a:prstGeom>
        </p:spPr>
        <p:txBody>
          <a:bodyPr vert="horz" wrap="square" lIns="0" tIns="16087" rIns="0" bIns="0" rtlCol="0">
            <a:spAutoFit/>
          </a:bodyPr>
          <a:lstStyle/>
          <a:p>
            <a:pPr marL="16933">
              <a:spcBef>
                <a:spcPts val="127"/>
              </a:spcBef>
            </a:pPr>
            <a:r>
              <a:rPr lang="de-DE" sz="1400">
                <a:solidFill>
                  <a:srgbClr val="2067AD"/>
                </a:solidFill>
                <a:latin typeface="Zurich Sans Light"/>
                <a:cs typeface="Zurich Sans Light"/>
              </a:rPr>
              <a:t>Steigende Versicherungskosten</a:t>
            </a:r>
            <a:endParaRPr lang="de-DE" sz="1400">
              <a:latin typeface="Zurich Sans Light"/>
              <a:cs typeface="Zurich Sans Light"/>
            </a:endParaRPr>
          </a:p>
        </p:txBody>
      </p:sp>
      <p:sp>
        <p:nvSpPr>
          <p:cNvPr id="16" name="object 16"/>
          <p:cNvSpPr txBox="1"/>
          <p:nvPr/>
        </p:nvSpPr>
        <p:spPr>
          <a:xfrm>
            <a:off x="1541353" y="5399159"/>
            <a:ext cx="2946149" cy="447131"/>
          </a:xfrm>
          <a:prstGeom prst="rect">
            <a:avLst/>
          </a:prstGeom>
        </p:spPr>
        <p:txBody>
          <a:bodyPr vert="horz" wrap="square" lIns="0" tIns="16087" rIns="0" bIns="0" rtlCol="0">
            <a:spAutoFit/>
          </a:bodyPr>
          <a:lstStyle/>
          <a:p>
            <a:pPr marR="6773" algn="r">
              <a:spcBef>
                <a:spcPts val="127"/>
              </a:spcBef>
            </a:pPr>
            <a:r>
              <a:rPr lang="de-DE" sz="1400">
                <a:solidFill>
                  <a:srgbClr val="2067AD"/>
                </a:solidFill>
                <a:latin typeface="Zurich Sans Light"/>
                <a:cs typeface="Zurich Sans Light"/>
              </a:rPr>
              <a:t>Öffentliche Forderung nach Handeln, Transparenz &amp; Rechenschaft</a:t>
            </a:r>
            <a:endParaRPr lang="de-DE" sz="1400">
              <a:latin typeface="Zurich Sans Light"/>
              <a:cs typeface="Zurich Sans Light"/>
            </a:endParaRPr>
          </a:p>
        </p:txBody>
      </p:sp>
      <p:sp>
        <p:nvSpPr>
          <p:cNvPr id="17" name="object 17"/>
          <p:cNvSpPr txBox="1"/>
          <p:nvPr/>
        </p:nvSpPr>
        <p:spPr>
          <a:xfrm>
            <a:off x="7722616" y="5532865"/>
            <a:ext cx="2202434" cy="447131"/>
          </a:xfrm>
          <a:prstGeom prst="rect">
            <a:avLst/>
          </a:prstGeom>
        </p:spPr>
        <p:txBody>
          <a:bodyPr vert="horz" wrap="square" lIns="0" tIns="16087" rIns="0" bIns="0" rtlCol="0">
            <a:spAutoFit/>
          </a:bodyPr>
          <a:lstStyle/>
          <a:p>
            <a:pPr marL="16933">
              <a:spcBef>
                <a:spcPts val="127"/>
              </a:spcBef>
            </a:pPr>
            <a:r>
              <a:rPr lang="de-DE" sz="1400">
                <a:solidFill>
                  <a:srgbClr val="2067AD"/>
                </a:solidFill>
                <a:latin typeface="Zurich Sans Light"/>
                <a:cs typeface="Zurich Sans Light"/>
              </a:rPr>
              <a:t>Hochqualifizierte Fachkräfte anziehen</a:t>
            </a:r>
            <a:endParaRPr lang="de-DE" sz="1400">
              <a:latin typeface="Zurich Sans Light"/>
              <a:cs typeface="Zurich Sans Light"/>
            </a:endParaRPr>
          </a:p>
        </p:txBody>
      </p:sp>
      <p:sp>
        <p:nvSpPr>
          <p:cNvPr id="18" name="object 18"/>
          <p:cNvSpPr txBox="1"/>
          <p:nvPr/>
        </p:nvSpPr>
        <p:spPr>
          <a:xfrm>
            <a:off x="8742506" y="3794982"/>
            <a:ext cx="3449492" cy="1093462"/>
          </a:xfrm>
          <a:prstGeom prst="rect">
            <a:avLst/>
          </a:prstGeom>
        </p:spPr>
        <p:txBody>
          <a:bodyPr vert="horz" wrap="square" lIns="0" tIns="16087" rIns="0" bIns="0" rtlCol="0">
            <a:spAutoFit/>
          </a:bodyPr>
          <a:lstStyle/>
          <a:p>
            <a:pPr marL="16933" marR="6773">
              <a:spcBef>
                <a:spcPts val="127"/>
              </a:spcBef>
            </a:pPr>
            <a:r>
              <a:rPr lang="de-DE" sz="1400">
                <a:solidFill>
                  <a:srgbClr val="2067AD"/>
                </a:solidFill>
                <a:latin typeface="Zurich Sans Light"/>
                <a:cs typeface="Zurich Sans Light"/>
              </a:rPr>
              <a:t>Innovation vorantreiben (und davon profitieren), etwa in den Bereichen Energie, Landwirtschaft und Mobilität, da sich daraus neue Geschäftsmöglichkeiten ergeben können</a:t>
            </a:r>
            <a:endParaRPr lang="de-DE" sz="1400">
              <a:latin typeface="Zurich Sans Light"/>
              <a:cs typeface="Zurich Sans Light"/>
            </a:endParaRPr>
          </a:p>
        </p:txBody>
      </p:sp>
      <p:sp>
        <p:nvSpPr>
          <p:cNvPr id="19" name="object 19"/>
          <p:cNvSpPr txBox="1"/>
          <p:nvPr/>
        </p:nvSpPr>
        <p:spPr>
          <a:xfrm>
            <a:off x="8394700" y="2260106"/>
            <a:ext cx="3643502" cy="878018"/>
          </a:xfrm>
          <a:prstGeom prst="rect">
            <a:avLst/>
          </a:prstGeom>
        </p:spPr>
        <p:txBody>
          <a:bodyPr vert="horz" wrap="square" lIns="0" tIns="16087" rIns="0" bIns="0" rtlCol="0">
            <a:spAutoFit/>
          </a:bodyPr>
          <a:lstStyle/>
          <a:p>
            <a:pPr marL="16933" marR="6773">
              <a:spcBef>
                <a:spcPts val="127"/>
              </a:spcBef>
            </a:pPr>
            <a:r>
              <a:rPr lang="de-DE" sz="1400" spc="-13">
                <a:solidFill>
                  <a:srgbClr val="2067AD"/>
                </a:solidFill>
                <a:latin typeface="Zurich Sans Light"/>
                <a:cs typeface="Zurich Sans Light"/>
              </a:rPr>
              <a:t>Verbraucher, Mitarbeitende, die Gesellschaft und andere Interessensgruppen erwarten von Unternehmen, dass sie auf die Klimakrise reagieren</a:t>
            </a:r>
            <a:endParaRPr lang="de-DE" sz="1400">
              <a:latin typeface="Zurich Sans Light"/>
              <a:cs typeface="Zurich Sans Light"/>
            </a:endParaRPr>
          </a:p>
        </p:txBody>
      </p:sp>
    </p:spTree>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1895CDB6-CB26-3490-C354-361E2A2DA9AD}"/>
              </a:ext>
            </a:extLst>
          </p:cNvPr>
          <p:cNvSpPr>
            <a:spLocks noGrp="1"/>
          </p:cNvSpPr>
          <p:nvPr>
            <p:ph type="title"/>
          </p:nvPr>
        </p:nvSpPr>
        <p:spPr>
          <a:xfrm>
            <a:off x="334965" y="260270"/>
            <a:ext cx="9829761" cy="664797"/>
          </a:xfrm>
        </p:spPr>
        <p:txBody>
          <a:bodyPr/>
          <a:lstStyle/>
          <a:p>
            <a:r>
              <a:rPr lang="de-DE" dirty="0"/>
              <a:t>Standorte und Lieferketten verschiedenster Industrien sind betroffen</a:t>
            </a:r>
            <a:endParaRPr lang="en-NL" dirty="0"/>
          </a:p>
        </p:txBody>
      </p:sp>
      <p:sp>
        <p:nvSpPr>
          <p:cNvPr id="7" name="Ondertitel 6">
            <a:extLst>
              <a:ext uri="{FF2B5EF4-FFF2-40B4-BE49-F238E27FC236}">
                <a16:creationId xmlns:a16="http://schemas.microsoft.com/office/drawing/2014/main" id="{F54BC3E7-F559-107B-B4D6-E80D0D95811C}"/>
              </a:ext>
            </a:extLst>
          </p:cNvPr>
          <p:cNvSpPr>
            <a:spLocks noGrp="1"/>
          </p:cNvSpPr>
          <p:nvPr>
            <p:ph type="subTitle" idx="13"/>
          </p:nvPr>
        </p:nvSpPr>
        <p:spPr/>
        <p:txBody>
          <a:bodyPr/>
          <a:lstStyle/>
          <a:p>
            <a:r>
              <a:rPr lang="de-DE" dirty="0"/>
              <a:t>Beispiele von extremem Niederschlag, Dürreperioden und Überflutungen aus der Praxis</a:t>
            </a:r>
            <a:endParaRPr lang="en-NL" dirty="0"/>
          </a:p>
        </p:txBody>
      </p:sp>
      <p:sp>
        <p:nvSpPr>
          <p:cNvPr id="5" name="Tijdelijke aanduiding voor dianummer 4">
            <a:extLst>
              <a:ext uri="{FF2B5EF4-FFF2-40B4-BE49-F238E27FC236}">
                <a16:creationId xmlns:a16="http://schemas.microsoft.com/office/drawing/2014/main" id="{F9906606-60DF-F2EF-A1EB-2E41050476C0}"/>
              </a:ext>
            </a:extLst>
          </p:cNvPr>
          <p:cNvSpPr>
            <a:spLocks noGrp="1"/>
          </p:cNvSpPr>
          <p:nvPr>
            <p:ph type="sldNum" sz="quarter" idx="4"/>
          </p:nvPr>
        </p:nvSpPr>
        <p:spPr/>
        <p:txBody>
          <a:bodyPr/>
          <a:lstStyle/>
          <a:p>
            <a:pPr marL="94824">
              <a:spcBef>
                <a:spcPts val="67"/>
              </a:spcBef>
            </a:pPr>
            <a:fld id="{81D60167-4931-47E6-BA6A-407CBD079E47}" type="slidenum">
              <a:rPr lang="en-US" spc="13" smtClean="0"/>
              <a:pPr marL="94824">
                <a:spcBef>
                  <a:spcPts val="67"/>
                </a:spcBef>
              </a:pPr>
              <a:t>6</a:t>
            </a:fld>
            <a:endParaRPr lang="en-US" spc="13"/>
          </a:p>
        </p:txBody>
      </p:sp>
      <p:sp>
        <p:nvSpPr>
          <p:cNvPr id="4" name="Tijdelijke aanduiding voor voettekst 3">
            <a:extLst>
              <a:ext uri="{FF2B5EF4-FFF2-40B4-BE49-F238E27FC236}">
                <a16:creationId xmlns:a16="http://schemas.microsoft.com/office/drawing/2014/main" id="{792B52D6-7FD0-9525-33F8-924FB6127630}"/>
              </a:ext>
            </a:extLst>
          </p:cNvPr>
          <p:cNvSpPr>
            <a:spLocks noGrp="1"/>
          </p:cNvSpPr>
          <p:nvPr>
            <p:ph type="ftr" sz="quarter" idx="3"/>
          </p:nvPr>
        </p:nvSpPr>
        <p:spPr/>
        <p:txBody>
          <a:bodyPr/>
          <a:lstStyle/>
          <a:p>
            <a:endParaRPr lang="en-NL"/>
          </a:p>
        </p:txBody>
      </p:sp>
      <p:pic>
        <p:nvPicPr>
          <p:cNvPr id="14" name="Afbeelding 13">
            <a:extLst>
              <a:ext uri="{FF2B5EF4-FFF2-40B4-BE49-F238E27FC236}">
                <a16:creationId xmlns:a16="http://schemas.microsoft.com/office/drawing/2014/main" id="{B04AE386-757A-4370-3F81-393F6D9878B6}"/>
              </a:ext>
            </a:extLst>
          </p:cNvPr>
          <p:cNvPicPr>
            <a:picLocks noChangeAspect="1"/>
          </p:cNvPicPr>
          <p:nvPr/>
        </p:nvPicPr>
        <p:blipFill>
          <a:blip r:embed="rId2"/>
          <a:srcRect l="1898" t="13709" r="3910" b="13491"/>
          <a:stretch/>
        </p:blipFill>
        <p:spPr>
          <a:xfrm>
            <a:off x="432391" y="1229819"/>
            <a:ext cx="4830725" cy="2530548"/>
          </a:xfrm>
          <a:prstGeom prst="rect">
            <a:avLst/>
          </a:prstGeom>
          <a:ln w="38100">
            <a:solidFill>
              <a:srgbClr val="2167AE"/>
            </a:solidFill>
          </a:ln>
        </p:spPr>
      </p:pic>
      <p:pic>
        <p:nvPicPr>
          <p:cNvPr id="16" name="Afbeelding 15">
            <a:extLst>
              <a:ext uri="{FF2B5EF4-FFF2-40B4-BE49-F238E27FC236}">
                <a16:creationId xmlns:a16="http://schemas.microsoft.com/office/drawing/2014/main" id="{6390212B-DECC-FEA3-3650-C2E0CA693D59}"/>
              </a:ext>
            </a:extLst>
          </p:cNvPr>
          <p:cNvPicPr>
            <a:picLocks noChangeAspect="1"/>
          </p:cNvPicPr>
          <p:nvPr/>
        </p:nvPicPr>
        <p:blipFill>
          <a:blip r:embed="rId3"/>
          <a:srcRect l="1476" t="2488" r="1802" b="17285"/>
          <a:stretch/>
        </p:blipFill>
        <p:spPr>
          <a:xfrm>
            <a:off x="7173443" y="1229819"/>
            <a:ext cx="4667872" cy="2536350"/>
          </a:xfrm>
          <a:prstGeom prst="rect">
            <a:avLst/>
          </a:prstGeom>
          <a:ln w="38100">
            <a:solidFill>
              <a:srgbClr val="2167AE"/>
            </a:solidFill>
          </a:ln>
        </p:spPr>
      </p:pic>
      <p:sp>
        <p:nvSpPr>
          <p:cNvPr id="17" name="Tekstvak 16">
            <a:extLst>
              <a:ext uri="{FF2B5EF4-FFF2-40B4-BE49-F238E27FC236}">
                <a16:creationId xmlns:a16="http://schemas.microsoft.com/office/drawing/2014/main" id="{07B1DA02-996A-32FF-B301-06BE9A0ECDC4}"/>
              </a:ext>
            </a:extLst>
          </p:cNvPr>
          <p:cNvSpPr txBox="1"/>
          <p:nvPr/>
        </p:nvSpPr>
        <p:spPr>
          <a:xfrm>
            <a:off x="8102009" y="3762342"/>
            <a:ext cx="3739306" cy="818274"/>
          </a:xfrm>
          <a:prstGeom prst="rect">
            <a:avLst/>
          </a:prstGeom>
          <a:noFill/>
        </p:spPr>
        <p:txBody>
          <a:bodyPr wrap="square" lIns="108000" tIns="108000" rIns="108000" bIns="108000" rtlCol="0">
            <a:spAutoFit/>
          </a:bodyPr>
          <a:lstStyle/>
          <a:p>
            <a:pPr algn="l"/>
            <a:r>
              <a:rPr lang="en-US" sz="1400" dirty="0" err="1">
                <a:solidFill>
                  <a:schemeClr val="accent1"/>
                </a:solidFill>
              </a:rPr>
              <a:t>Einge</a:t>
            </a:r>
            <a:r>
              <a:rPr lang="de-DE" sz="1400" dirty="0">
                <a:solidFill>
                  <a:schemeClr val="accent1"/>
                </a:solidFill>
              </a:rPr>
              <a:t>stürztes Dach der Bäckerei </a:t>
            </a:r>
            <a:r>
              <a:rPr lang="de-DE" sz="1400" dirty="0" err="1">
                <a:solidFill>
                  <a:schemeClr val="accent1"/>
                </a:solidFill>
              </a:rPr>
              <a:t>Dalfsen</a:t>
            </a:r>
            <a:r>
              <a:rPr lang="de-DE" sz="1400" dirty="0">
                <a:solidFill>
                  <a:schemeClr val="accent1"/>
                </a:solidFill>
              </a:rPr>
              <a:t> durch extremen Niederschlag</a:t>
            </a:r>
            <a:endParaRPr lang="en-US" sz="1400" dirty="0">
              <a:solidFill>
                <a:schemeClr val="accent1"/>
              </a:solidFill>
            </a:endParaRPr>
          </a:p>
          <a:p>
            <a:pPr algn="l"/>
            <a:r>
              <a:rPr lang="en-US" sz="1100" dirty="0">
                <a:solidFill>
                  <a:schemeClr val="accent1"/>
                </a:solidFill>
              </a:rPr>
              <a:t>Quelle: Oost.nl – Foto: Thomas Klomp</a:t>
            </a:r>
            <a:endParaRPr lang="en-NL" sz="1100" dirty="0">
              <a:solidFill>
                <a:schemeClr val="accent1"/>
              </a:solidFill>
            </a:endParaRPr>
          </a:p>
        </p:txBody>
      </p:sp>
      <p:sp>
        <p:nvSpPr>
          <p:cNvPr id="18" name="Tekstvak 17">
            <a:extLst>
              <a:ext uri="{FF2B5EF4-FFF2-40B4-BE49-F238E27FC236}">
                <a16:creationId xmlns:a16="http://schemas.microsoft.com/office/drawing/2014/main" id="{A009D831-8C05-93CD-4644-63849AD1545C}"/>
              </a:ext>
            </a:extLst>
          </p:cNvPr>
          <p:cNvSpPr txBox="1"/>
          <p:nvPr/>
        </p:nvSpPr>
        <p:spPr>
          <a:xfrm>
            <a:off x="334963" y="3760367"/>
            <a:ext cx="5128693" cy="618219"/>
          </a:xfrm>
          <a:prstGeom prst="rect">
            <a:avLst/>
          </a:prstGeom>
          <a:noFill/>
        </p:spPr>
        <p:txBody>
          <a:bodyPr wrap="square" lIns="108000" tIns="108000" rIns="108000" bIns="108000" rtlCol="0">
            <a:spAutoFit/>
          </a:bodyPr>
          <a:lstStyle/>
          <a:p>
            <a:pPr algn="l"/>
            <a:r>
              <a:rPr lang="de-DE" sz="1400" dirty="0">
                <a:solidFill>
                  <a:schemeClr val="accent1"/>
                </a:solidFill>
              </a:rPr>
              <a:t>Überfluteter Lidl in Monmouth. </a:t>
            </a:r>
          </a:p>
          <a:p>
            <a:pPr algn="l"/>
            <a:r>
              <a:rPr lang="de-DE" sz="1100" dirty="0">
                <a:solidFill>
                  <a:schemeClr val="accent1"/>
                </a:solidFill>
              </a:rPr>
              <a:t>Quelle: BBC – Foto: Ben </a:t>
            </a:r>
            <a:r>
              <a:rPr lang="de-DE" sz="1100" dirty="0" err="1">
                <a:solidFill>
                  <a:schemeClr val="accent1"/>
                </a:solidFill>
              </a:rPr>
              <a:t>Birchall</a:t>
            </a:r>
            <a:r>
              <a:rPr lang="de-DE" sz="1100" dirty="0">
                <a:solidFill>
                  <a:schemeClr val="accent1"/>
                </a:solidFill>
              </a:rPr>
              <a:t>, PA Wire</a:t>
            </a:r>
            <a:endParaRPr lang="en-NL" sz="1100" dirty="0">
              <a:solidFill>
                <a:schemeClr val="accent1"/>
              </a:solidFill>
            </a:endParaRPr>
          </a:p>
        </p:txBody>
      </p:sp>
      <p:sp>
        <p:nvSpPr>
          <p:cNvPr id="24" name="Tekstvak 23">
            <a:extLst>
              <a:ext uri="{FF2B5EF4-FFF2-40B4-BE49-F238E27FC236}">
                <a16:creationId xmlns:a16="http://schemas.microsoft.com/office/drawing/2014/main" id="{74D36233-9F85-71C6-A973-FA4352DD1F29}"/>
              </a:ext>
            </a:extLst>
          </p:cNvPr>
          <p:cNvSpPr txBox="1"/>
          <p:nvPr/>
        </p:nvSpPr>
        <p:spPr>
          <a:xfrm>
            <a:off x="3572276" y="5968807"/>
            <a:ext cx="4425359" cy="769441"/>
          </a:xfrm>
          <a:prstGeom prst="rect">
            <a:avLst/>
          </a:prstGeom>
          <a:noFill/>
        </p:spPr>
        <p:txBody>
          <a:bodyPr wrap="square">
            <a:spAutoFit/>
          </a:bodyPr>
          <a:lstStyle/>
          <a:p>
            <a:r>
              <a:rPr lang="en-US" sz="1400" dirty="0" err="1">
                <a:solidFill>
                  <a:schemeClr val="accent1"/>
                </a:solidFill>
              </a:rPr>
              <a:t>Ausgetrocknetes</a:t>
            </a:r>
            <a:r>
              <a:rPr lang="en-US" sz="1400" dirty="0">
                <a:solidFill>
                  <a:schemeClr val="accent1"/>
                </a:solidFill>
              </a:rPr>
              <a:t> </a:t>
            </a:r>
            <a:r>
              <a:rPr lang="en-US" sz="1400" dirty="0" err="1">
                <a:solidFill>
                  <a:schemeClr val="accent1"/>
                </a:solidFill>
              </a:rPr>
              <a:t>Flussbett</a:t>
            </a:r>
            <a:r>
              <a:rPr lang="en-US" sz="1400" dirty="0">
                <a:solidFill>
                  <a:schemeClr val="accent1"/>
                </a:solidFill>
              </a:rPr>
              <a:t> in China. </a:t>
            </a:r>
          </a:p>
          <a:p>
            <a:r>
              <a:rPr lang="en-US" sz="1100" dirty="0">
                <a:solidFill>
                  <a:schemeClr val="accent1"/>
                </a:solidFill>
              </a:rPr>
              <a:t>Quelle: Stn.de – Foto: Uncredited/</a:t>
            </a:r>
            <a:r>
              <a:rPr lang="en-US" sz="1100" dirty="0" err="1">
                <a:solidFill>
                  <a:schemeClr val="accent1"/>
                </a:solidFill>
              </a:rPr>
              <a:t>Chinatopix</a:t>
            </a:r>
            <a:r>
              <a:rPr lang="en-US" sz="1100" dirty="0">
                <a:solidFill>
                  <a:schemeClr val="accent1"/>
                </a:solidFill>
              </a:rPr>
              <a:t>/AP/</a:t>
            </a:r>
            <a:r>
              <a:rPr lang="en-US" sz="1100" dirty="0" err="1">
                <a:solidFill>
                  <a:schemeClr val="accent1"/>
                </a:solidFill>
              </a:rPr>
              <a:t>dp</a:t>
            </a:r>
            <a:r>
              <a:rPr lang="en-US" sz="1100" dirty="0">
                <a:solidFill>
                  <a:schemeClr val="accent1"/>
                </a:solidFill>
              </a:rPr>
              <a:t>/a</a:t>
            </a:r>
          </a:p>
          <a:p>
            <a:endParaRPr lang="en-NL" sz="1800" dirty="0">
              <a:solidFill>
                <a:schemeClr val="accent1"/>
              </a:solidFill>
            </a:endParaRPr>
          </a:p>
        </p:txBody>
      </p:sp>
      <p:pic>
        <p:nvPicPr>
          <p:cNvPr id="1026" name="Picture 2" descr="Extreme Hitze in China: Kein Regen, trockene Flüsse und  Stromknappheit">
            <a:extLst>
              <a:ext uri="{FF2B5EF4-FFF2-40B4-BE49-F238E27FC236}">
                <a16:creationId xmlns:a16="http://schemas.microsoft.com/office/drawing/2014/main" id="{C3A54ABA-0F3C-436C-FED0-36EC4E8E0F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2276" y="3429377"/>
            <a:ext cx="4425359" cy="2490845"/>
          </a:xfrm>
          <a:prstGeom prst="rect">
            <a:avLst/>
          </a:prstGeom>
          <a:noFill/>
          <a:ln w="38100">
            <a:solidFill>
              <a:srgbClr val="2167AE"/>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46548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91BFE3"/>
        </a:solidFill>
        <a:effectLst/>
      </p:bgPr>
    </p:bg>
    <p:spTree>
      <p:nvGrpSpPr>
        <p:cNvPr id="1" name=""/>
        <p:cNvGrpSpPr/>
        <p:nvPr/>
      </p:nvGrpSpPr>
      <p:grpSpPr>
        <a:xfrm>
          <a:off x="0" y="0"/>
          <a:ext cx="0" cy="0"/>
          <a:chOff x="0" y="0"/>
          <a:chExt cx="0" cy="0"/>
        </a:xfrm>
      </p:grpSpPr>
      <p:sp>
        <p:nvSpPr>
          <p:cNvPr id="40" name="Oval 39">
            <a:extLst>
              <a:ext uri="{FF2B5EF4-FFF2-40B4-BE49-F238E27FC236}">
                <a16:creationId xmlns:a16="http://schemas.microsoft.com/office/drawing/2014/main" id="{D303ECFE-258D-EFDE-DD72-53C325F1F7B3}"/>
              </a:ext>
            </a:extLst>
          </p:cNvPr>
          <p:cNvSpPr/>
          <p:nvPr/>
        </p:nvSpPr>
        <p:spPr>
          <a:xfrm>
            <a:off x="-3543945" y="-1301261"/>
            <a:ext cx="9460522" cy="9460522"/>
          </a:xfrm>
          <a:prstGeom prst="ellipse">
            <a:avLst/>
          </a:prstGeom>
          <a:solidFill>
            <a:srgbClr val="19508A">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2">
            <a:extLst>
              <a:ext uri="{FF2B5EF4-FFF2-40B4-BE49-F238E27FC236}">
                <a16:creationId xmlns:a16="http://schemas.microsoft.com/office/drawing/2014/main" id="{804A11AC-6EE3-29E8-D9F6-6007647FF4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59131" y="998096"/>
            <a:ext cx="1112248" cy="1112248"/>
          </a:xfrm>
          <a:prstGeom prst="rect">
            <a:avLst/>
          </a:prstGeom>
          <a:noFill/>
          <a:extLst>
            <a:ext uri="{909E8E84-426E-40DD-AFC4-6F175D3DCCD1}">
              <a14:hiddenFill xmlns:a14="http://schemas.microsoft.com/office/drawing/2010/main">
                <a:solidFill>
                  <a:srgbClr val="FFFFFF"/>
                </a:solidFill>
              </a14:hiddenFill>
            </a:ext>
          </a:extLst>
        </p:spPr>
      </p:pic>
      <p:pic>
        <p:nvPicPr>
          <p:cNvPr id="17" name="Grafik 16">
            <a:extLst>
              <a:ext uri="{FF2B5EF4-FFF2-40B4-BE49-F238E27FC236}">
                <a16:creationId xmlns:a16="http://schemas.microsoft.com/office/drawing/2014/main" id="{08685E4F-7269-10A0-2995-E5B0D8F85C49}"/>
              </a:ext>
            </a:extLst>
          </p:cNvPr>
          <p:cNvPicPr>
            <a:picLocks noChangeAspect="1"/>
          </p:cNvPicPr>
          <p:nvPr/>
        </p:nvPicPr>
        <p:blipFill>
          <a:blip r:embed="rId4"/>
          <a:stretch>
            <a:fillRect/>
          </a:stretch>
        </p:blipFill>
        <p:spPr>
          <a:xfrm>
            <a:off x="6054353" y="2453093"/>
            <a:ext cx="1112248" cy="1112248"/>
          </a:xfrm>
          <a:prstGeom prst="rect">
            <a:avLst/>
          </a:prstGeom>
        </p:spPr>
      </p:pic>
      <p:pic>
        <p:nvPicPr>
          <p:cNvPr id="20" name="Grafik 19">
            <a:extLst>
              <a:ext uri="{FF2B5EF4-FFF2-40B4-BE49-F238E27FC236}">
                <a16:creationId xmlns:a16="http://schemas.microsoft.com/office/drawing/2014/main" id="{23F3B1C4-791D-95F1-63F8-7DE5080D7DB4}"/>
              </a:ext>
            </a:extLst>
          </p:cNvPr>
          <p:cNvPicPr>
            <a:picLocks noChangeAspect="1"/>
          </p:cNvPicPr>
          <p:nvPr/>
        </p:nvPicPr>
        <p:blipFill>
          <a:blip r:embed="rId5"/>
          <a:stretch>
            <a:fillRect/>
          </a:stretch>
        </p:blipFill>
        <p:spPr>
          <a:xfrm>
            <a:off x="6054353" y="3908090"/>
            <a:ext cx="1112248" cy="1112248"/>
          </a:xfrm>
          <a:prstGeom prst="rect">
            <a:avLst/>
          </a:prstGeom>
        </p:spPr>
      </p:pic>
      <p:pic>
        <p:nvPicPr>
          <p:cNvPr id="21" name="Grafik 20">
            <a:extLst>
              <a:ext uri="{FF2B5EF4-FFF2-40B4-BE49-F238E27FC236}">
                <a16:creationId xmlns:a16="http://schemas.microsoft.com/office/drawing/2014/main" id="{FEF024A1-F37C-6B84-A337-71173D05D2B3}"/>
              </a:ext>
            </a:extLst>
          </p:cNvPr>
          <p:cNvPicPr>
            <a:picLocks noChangeAspect="1"/>
          </p:cNvPicPr>
          <p:nvPr/>
        </p:nvPicPr>
        <p:blipFill>
          <a:blip r:embed="rId6"/>
          <a:stretch>
            <a:fillRect/>
          </a:stretch>
        </p:blipFill>
        <p:spPr>
          <a:xfrm>
            <a:off x="6054353" y="5363087"/>
            <a:ext cx="1112248" cy="1112248"/>
          </a:xfrm>
          <a:prstGeom prst="rect">
            <a:avLst/>
          </a:prstGeom>
        </p:spPr>
      </p:pic>
      <p:sp>
        <p:nvSpPr>
          <p:cNvPr id="22" name="Textfeld 21">
            <a:extLst>
              <a:ext uri="{FF2B5EF4-FFF2-40B4-BE49-F238E27FC236}">
                <a16:creationId xmlns:a16="http://schemas.microsoft.com/office/drawing/2014/main" id="{D00C9601-EA45-3590-590C-9FA125605494}"/>
              </a:ext>
            </a:extLst>
          </p:cNvPr>
          <p:cNvSpPr txBox="1"/>
          <p:nvPr/>
        </p:nvSpPr>
        <p:spPr>
          <a:xfrm>
            <a:off x="7355923" y="826722"/>
            <a:ext cx="4813849" cy="1454996"/>
          </a:xfrm>
          <a:prstGeom prst="rect">
            <a:avLst/>
          </a:prstGeom>
          <a:no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b="1" i="0" u="none" strike="noStrike" kern="1200" cap="none" spc="0" normalizeH="0" baseline="0" noProof="0">
                <a:ln>
                  <a:noFill/>
                </a:ln>
                <a:solidFill>
                  <a:srgbClr val="FFFFFF"/>
                </a:solidFill>
                <a:effectLst/>
                <a:uLnTx/>
                <a:uFillTx/>
                <a:latin typeface="Ogg" panose="02090504080706030203" pitchFamily="18" charset="0"/>
                <a:ea typeface="+mn-ea"/>
                <a:cs typeface="+mn-cs"/>
              </a:rPr>
              <a:t>Steigende physische Risik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Zurich Sans Light"/>
                <a:ea typeface="+mn-ea"/>
                <a:cs typeface="+mn-cs"/>
              </a:rPr>
              <a:t>Extremwetterereignisse erhöhen physische Risiken. Sie haben in der EU in den letzten zehn Jahren rund 145 Milliarden Euro an wirtschaftlichen Schäden verursacht. </a:t>
            </a:r>
            <a:r>
              <a:rPr kumimoji="0" lang="de-DE" sz="1200" b="1" i="0" u="none" strike="noStrike" kern="1200" cap="none" spc="0" normalizeH="0" baseline="0" noProof="0">
                <a:ln>
                  <a:noFill/>
                </a:ln>
                <a:solidFill>
                  <a:srgbClr val="FFFFFF"/>
                </a:solidFill>
                <a:effectLst/>
                <a:uLnTx/>
                <a:uFillTx/>
                <a:latin typeface="Zurich Sans Light"/>
                <a:ea typeface="+mn-ea"/>
                <a:cs typeface="+mn-cs"/>
              </a:rPr>
              <a:t>Der Jahresdurchschnitt dieser klimabedingten Verluste hat sich in der letzten Dekade jährlich um fast 2% erhöht</a:t>
            </a:r>
            <a:r>
              <a:rPr kumimoji="0" lang="de-DE" sz="1200" b="0" i="0" u="none" strike="noStrike" kern="1200" cap="none" spc="0" normalizeH="0" baseline="0" noProof="0">
                <a:ln>
                  <a:noFill/>
                </a:ln>
                <a:solidFill>
                  <a:srgbClr val="FFFFFF"/>
                </a:solidFill>
                <a:effectLst/>
                <a:uLnTx/>
                <a:uFillTx/>
                <a:latin typeface="Zurich Sans Light"/>
                <a:ea typeface="+mn-ea"/>
                <a:cs typeface="+mn-cs"/>
              </a:rPr>
              <a:t>.</a:t>
            </a:r>
          </a:p>
        </p:txBody>
      </p:sp>
      <p:sp>
        <p:nvSpPr>
          <p:cNvPr id="25" name="Textfeld 24">
            <a:extLst>
              <a:ext uri="{FF2B5EF4-FFF2-40B4-BE49-F238E27FC236}">
                <a16:creationId xmlns:a16="http://schemas.microsoft.com/office/drawing/2014/main" id="{42DD6B57-F55F-E17A-B497-6A5C8AD78031}"/>
              </a:ext>
            </a:extLst>
          </p:cNvPr>
          <p:cNvSpPr txBox="1"/>
          <p:nvPr/>
        </p:nvSpPr>
        <p:spPr>
          <a:xfrm>
            <a:off x="7355922" y="2281718"/>
            <a:ext cx="4813850" cy="1454997"/>
          </a:xfrm>
          <a:prstGeom prst="rect">
            <a:avLst/>
          </a:prstGeom>
          <a:no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b="1" i="0" u="none" strike="noStrike" kern="1200" cap="none" spc="0" normalizeH="0" baseline="0" noProof="0">
                <a:ln>
                  <a:noFill/>
                </a:ln>
                <a:solidFill>
                  <a:srgbClr val="FFFFFF"/>
                </a:solidFill>
                <a:effectLst/>
                <a:uLnTx/>
                <a:uFillTx/>
                <a:latin typeface="Ogg" panose="02090504080706030203" pitchFamily="18" charset="0"/>
                <a:ea typeface="+mn-ea"/>
                <a:cs typeface="+mn-cs"/>
              </a:rPr>
              <a:t>Zunehmende regulatorische Anforderung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Zurich Sans Light"/>
                <a:ea typeface="+mn-ea"/>
                <a:cs typeface="+mn-cs"/>
              </a:rPr>
              <a:t>Die Anforderungen an die Berichterstattung zu Klimarisiken und THG-Emissionen steigen. </a:t>
            </a:r>
          </a:p>
        </p:txBody>
      </p:sp>
      <p:sp>
        <p:nvSpPr>
          <p:cNvPr id="26" name="Textfeld 25">
            <a:extLst>
              <a:ext uri="{FF2B5EF4-FFF2-40B4-BE49-F238E27FC236}">
                <a16:creationId xmlns:a16="http://schemas.microsoft.com/office/drawing/2014/main" id="{062075C4-6ABA-2F4A-4CC3-8485C39EF9DE}"/>
              </a:ext>
            </a:extLst>
          </p:cNvPr>
          <p:cNvSpPr txBox="1"/>
          <p:nvPr/>
        </p:nvSpPr>
        <p:spPr>
          <a:xfrm>
            <a:off x="7355921" y="3734372"/>
            <a:ext cx="4813850" cy="1454996"/>
          </a:xfrm>
          <a:prstGeom prst="rect">
            <a:avLst/>
          </a:prstGeom>
          <a:no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b="1" i="0" u="none" strike="noStrike" kern="1200" cap="none" spc="0" normalizeH="0" baseline="0" noProof="0">
                <a:ln>
                  <a:noFill/>
                </a:ln>
                <a:solidFill>
                  <a:srgbClr val="FFFFFF"/>
                </a:solidFill>
                <a:effectLst/>
                <a:uLnTx/>
                <a:uFillTx/>
                <a:latin typeface="Ogg" panose="02090504080706030203" pitchFamily="18" charset="0"/>
                <a:ea typeface="+mn-ea"/>
                <a:cs typeface="+mn-cs"/>
              </a:rPr>
              <a:t>Steigende Erwartungen von Stakehol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Zurich Sans Light"/>
                <a:ea typeface="+mn-ea"/>
                <a:cs typeface="+mn-cs"/>
              </a:rPr>
              <a:t>Kunden, Mitarbeitende und Investoren haben zunehmende Erwartungen an die Transition zu nachhaltigeren Geschäftsmodellen. Dem Carbon Disclosure Project (CDP) zufolge ist </a:t>
            </a:r>
            <a:r>
              <a:rPr kumimoji="0" lang="de-DE" sz="1200" b="1" i="0" u="none" strike="noStrike" kern="1200" cap="none" spc="0" normalizeH="0" baseline="0" noProof="0">
                <a:ln>
                  <a:noFill/>
                </a:ln>
                <a:solidFill>
                  <a:srgbClr val="FFFFFF"/>
                </a:solidFill>
                <a:effectLst/>
                <a:uLnTx/>
                <a:uFillTx/>
                <a:latin typeface="Zurich Sans Light"/>
                <a:ea typeface="+mn-ea"/>
                <a:cs typeface="+mn-cs"/>
              </a:rPr>
              <a:t>der finanzielle Nutzen von Maßnahmen zur Klimaadaption und -</a:t>
            </a:r>
            <a:r>
              <a:rPr kumimoji="0" lang="de-DE" sz="1200" b="1" i="0" u="none" strike="noStrike" kern="1200" cap="none" spc="0" normalizeH="0" baseline="0" noProof="0" err="1">
                <a:ln>
                  <a:noFill/>
                </a:ln>
                <a:solidFill>
                  <a:srgbClr val="FFFFFF"/>
                </a:solidFill>
                <a:effectLst/>
                <a:uLnTx/>
                <a:uFillTx/>
                <a:latin typeface="Zurich Sans Light"/>
                <a:ea typeface="+mn-ea"/>
                <a:cs typeface="+mn-cs"/>
              </a:rPr>
              <a:t>mitigation</a:t>
            </a:r>
            <a:r>
              <a:rPr kumimoji="0" lang="de-DE" sz="1200" b="1" i="0" u="none" strike="noStrike" kern="1200" cap="none" spc="0" normalizeH="0" baseline="0" noProof="0">
                <a:ln>
                  <a:noFill/>
                </a:ln>
                <a:solidFill>
                  <a:srgbClr val="FFFFFF"/>
                </a:solidFill>
                <a:effectLst/>
                <a:uLnTx/>
                <a:uFillTx/>
                <a:latin typeface="Zurich Sans Light"/>
                <a:ea typeface="+mn-ea"/>
                <a:cs typeface="+mn-cs"/>
              </a:rPr>
              <a:t> um ein 15-faches höher, als der Aufwand</a:t>
            </a:r>
            <a:r>
              <a:rPr kumimoji="0" lang="de-DE" sz="1200" b="0" i="0" u="none" strike="noStrike" kern="1200" cap="none" spc="0" normalizeH="0" baseline="0" noProof="0">
                <a:ln>
                  <a:noFill/>
                </a:ln>
                <a:solidFill>
                  <a:srgbClr val="FFFFFF"/>
                </a:solidFill>
                <a:effectLst/>
                <a:uLnTx/>
                <a:uFillTx/>
                <a:latin typeface="Zurich Sans Light"/>
                <a:ea typeface="+mn-ea"/>
                <a:cs typeface="+mn-cs"/>
              </a:rPr>
              <a:t>.</a:t>
            </a:r>
          </a:p>
        </p:txBody>
      </p:sp>
      <p:sp>
        <p:nvSpPr>
          <p:cNvPr id="27" name="Textfeld 26">
            <a:extLst>
              <a:ext uri="{FF2B5EF4-FFF2-40B4-BE49-F238E27FC236}">
                <a16:creationId xmlns:a16="http://schemas.microsoft.com/office/drawing/2014/main" id="{6E4ADEE5-7998-9FD0-B835-135DDABA3ECB}"/>
              </a:ext>
            </a:extLst>
          </p:cNvPr>
          <p:cNvSpPr txBox="1"/>
          <p:nvPr/>
        </p:nvSpPr>
        <p:spPr>
          <a:xfrm>
            <a:off x="7355921" y="5231832"/>
            <a:ext cx="4813850" cy="1454996"/>
          </a:xfrm>
          <a:prstGeom prst="rect">
            <a:avLst/>
          </a:prstGeom>
          <a:no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b="1" i="0" u="none" strike="noStrike" kern="1200" cap="none" spc="0" normalizeH="0" baseline="0" noProof="0">
                <a:ln>
                  <a:noFill/>
                </a:ln>
                <a:solidFill>
                  <a:srgbClr val="FFFFFF"/>
                </a:solidFill>
                <a:effectLst/>
                <a:uLnTx/>
                <a:uFillTx/>
                <a:latin typeface="Ogg" panose="02090504080706030203" pitchFamily="18" charset="0"/>
                <a:ea typeface="+mn-ea"/>
                <a:cs typeface="+mn-cs"/>
              </a:rPr>
              <a:t>Erhöhte Versicherbarke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Zurich Sans Light"/>
                <a:ea typeface="+mn-ea"/>
                <a:cs typeface="+mn-cs"/>
              </a:rPr>
              <a:t>Die Modellierung zukünftiger Wettermuster wird basierend auf rein historischen Daten, aufgrund des Klimawandels, immer schwieriger. Gleichzeitig steigt der Bedarf an adäquatem Versicherungsschutz. </a:t>
            </a:r>
          </a:p>
        </p:txBody>
      </p:sp>
      <p:sp>
        <p:nvSpPr>
          <p:cNvPr id="41" name="TextBox 4">
            <a:extLst>
              <a:ext uri="{FF2B5EF4-FFF2-40B4-BE49-F238E27FC236}">
                <a16:creationId xmlns:a16="http://schemas.microsoft.com/office/drawing/2014/main" id="{8EF7401A-94AD-44AD-1D27-F9BF03B7470A}"/>
              </a:ext>
            </a:extLst>
          </p:cNvPr>
          <p:cNvSpPr txBox="1"/>
          <p:nvPr/>
        </p:nvSpPr>
        <p:spPr>
          <a:xfrm>
            <a:off x="673452" y="1905505"/>
            <a:ext cx="4931382"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1" i="0" u="none" strike="noStrike" kern="1200" cap="none" spc="0" normalizeH="0" baseline="0" noProof="0" err="1">
                <a:ln>
                  <a:noFill/>
                </a:ln>
                <a:solidFill>
                  <a:prstClr val="white"/>
                </a:solidFill>
                <a:effectLst/>
                <a:uLnTx/>
                <a:uFillTx/>
                <a:latin typeface="Ogg" panose="02090504080706030203" pitchFamily="18" charset="0"/>
                <a:cs typeface="Arial" panose="020B0604020202020204" pitchFamily="34" charset="0"/>
              </a:rPr>
              <a:t>Zurich</a:t>
            </a:r>
            <a:r>
              <a:rPr kumimoji="0" lang="de-DE" sz="3200" b="1" i="0" u="none" strike="noStrike" kern="1200" cap="none" spc="0" normalizeH="0" baseline="0" noProof="0">
                <a:ln>
                  <a:noFill/>
                </a:ln>
                <a:solidFill>
                  <a:prstClr val="white"/>
                </a:solidFill>
                <a:effectLst/>
                <a:uLnTx/>
                <a:uFillTx/>
                <a:latin typeface="Ogg" panose="02090504080706030203" pitchFamily="18" charset="0"/>
                <a:cs typeface="Arial" panose="020B0604020202020204" pitchFamily="34" charset="0"/>
              </a:rPr>
              <a:t> </a:t>
            </a:r>
            <a:r>
              <a:rPr kumimoji="0" lang="de-DE" sz="3200" b="1" i="0" u="none" strike="noStrike" kern="1200" cap="none" spc="0" normalizeH="0" baseline="0" noProof="0" err="1">
                <a:ln>
                  <a:noFill/>
                </a:ln>
                <a:solidFill>
                  <a:prstClr val="white"/>
                </a:solidFill>
                <a:effectLst/>
                <a:uLnTx/>
                <a:uFillTx/>
                <a:latin typeface="Ogg" panose="02090504080706030203" pitchFamily="18" charset="0"/>
                <a:cs typeface="Arial" panose="020B0604020202020204" pitchFamily="34" charset="0"/>
              </a:rPr>
              <a:t>Resilience</a:t>
            </a:r>
            <a:r>
              <a:rPr kumimoji="0" lang="de-DE" sz="3200" b="1" i="0" u="none" strike="noStrike" kern="1200" cap="none" spc="0" normalizeH="0" baseline="0" noProof="0">
                <a:ln>
                  <a:noFill/>
                </a:ln>
                <a:solidFill>
                  <a:prstClr val="white"/>
                </a:solidFill>
                <a:effectLst/>
                <a:uLnTx/>
                <a:uFillTx/>
                <a:latin typeface="Ogg" panose="02090504080706030203" pitchFamily="18" charset="0"/>
                <a:cs typeface="Arial" panose="020B0604020202020204" pitchFamily="34" charset="0"/>
              </a:rPr>
              <a:t> Solutions: </a:t>
            </a:r>
            <a:r>
              <a:rPr kumimoji="0" lang="de-DE" sz="3200" i="0" u="none" strike="noStrike" kern="1200" cap="none" spc="0" normalizeH="0" baseline="0" noProof="0">
                <a:ln>
                  <a:noFill/>
                </a:ln>
                <a:solidFill>
                  <a:prstClr val="white"/>
                </a:solidFill>
                <a:effectLst/>
                <a:uLnTx/>
                <a:uFillTx/>
                <a:latin typeface="Zurich Sans Light" panose="02000000000000000000" pitchFamily="2" charset="0"/>
                <a:ea typeface="+mn-ea"/>
                <a:cs typeface="Arial" panose="020B0604020202020204" pitchFamily="34" charset="0"/>
              </a:rPr>
              <a:t>Wir helfen Kunden heutige und zukünftige Klimarisiken zu verstehen und ihre </a:t>
            </a:r>
            <a:r>
              <a:rPr kumimoji="0" lang="de-DE" sz="3200" i="0" u="none" strike="noStrike" kern="1200" cap="none" spc="0" normalizeH="0" baseline="0" noProof="0" err="1">
                <a:ln>
                  <a:noFill/>
                </a:ln>
                <a:solidFill>
                  <a:prstClr val="white"/>
                </a:solidFill>
                <a:effectLst/>
                <a:uLnTx/>
                <a:uFillTx/>
                <a:latin typeface="Ogg" panose="02090504080706030203" pitchFamily="18" charset="0"/>
                <a:ea typeface="+mn-ea"/>
                <a:cs typeface="Arial" panose="020B0604020202020204" pitchFamily="34" charset="0"/>
              </a:rPr>
              <a:t>Klimaresilienz</a:t>
            </a:r>
            <a:r>
              <a:rPr kumimoji="0" lang="de-DE" sz="3200" i="0" u="none" strike="noStrike" kern="1200" cap="none" spc="0" normalizeH="0" baseline="0" noProof="0">
                <a:ln>
                  <a:noFill/>
                </a:ln>
                <a:solidFill>
                  <a:prstClr val="white"/>
                </a:solidFill>
                <a:effectLst/>
                <a:uLnTx/>
                <a:uFillTx/>
                <a:latin typeface="Zurich Sans Light" panose="02000000000000000000" pitchFamily="2" charset="0"/>
                <a:ea typeface="+mn-ea"/>
                <a:cs typeface="Arial" panose="020B0604020202020204" pitchFamily="34" charset="0"/>
              </a:rPr>
              <a:t> zu erhöhen.</a:t>
            </a:r>
          </a:p>
        </p:txBody>
      </p:sp>
      <p:sp>
        <p:nvSpPr>
          <p:cNvPr id="4" name="Foliennummernplatzhalter 3">
            <a:extLst>
              <a:ext uri="{FF2B5EF4-FFF2-40B4-BE49-F238E27FC236}">
                <a16:creationId xmlns:a16="http://schemas.microsoft.com/office/drawing/2014/main" id="{C47242F4-145F-E850-C33B-D20B94DAEDFE}"/>
              </a:ext>
            </a:extLst>
          </p:cNvPr>
          <p:cNvSpPr>
            <a:spLocks noGrp="1"/>
          </p:cNvSpPr>
          <p:nvPr>
            <p:ph type="sldNum" sz="quarter" idx="4"/>
          </p:nvPr>
        </p:nvSpPr>
        <p:spPr>
          <a:xfrm>
            <a:off x="10723563" y="6551042"/>
            <a:ext cx="551115" cy="181960"/>
          </a:xfrm>
        </p:spPr>
        <p:txBody>
          <a:bodyPr/>
          <a:lstStyle/>
          <a:p>
            <a:fld id="{FA58F0B4-6BC7-4BFB-804F-EE9B892902C7}" type="slidenum">
              <a:rPr lang="en-US" smtClean="0"/>
              <a:pPr/>
              <a:t>7</a:t>
            </a:fld>
            <a:endParaRPr lang="en-US"/>
          </a:p>
        </p:txBody>
      </p:sp>
    </p:spTree>
    <p:extLst>
      <p:ext uri="{BB962C8B-B14F-4D97-AF65-F5344CB8AC3E}">
        <p14:creationId xmlns:p14="http://schemas.microsoft.com/office/powerpoint/2010/main" val="2262361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0AEAC0-C2D2-CBE9-80E0-539C785A66F0}"/>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8B851D-FD3C-C128-90D3-FFDA856A12BF}"/>
              </a:ext>
            </a:extLst>
          </p:cNvPr>
          <p:cNvGraphicFramePr>
            <a:graphicFrameLocks noChangeAspect="1"/>
          </p:cNvGraphicFramePr>
          <p:nvPr>
            <p:custDataLst>
              <p:tags r:id="rId1"/>
            </p:custDataLst>
          </p:nvPr>
        </p:nvGraphicFramePr>
        <p:xfrm>
          <a:off x="2382" y="2035"/>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588B851D-FD3C-C128-90D3-FFDA856A12BF}"/>
                          </a:ext>
                        </a:extLst>
                      </p:cNvPr>
                      <p:cNvPicPr/>
                      <p:nvPr/>
                    </p:nvPicPr>
                    <p:blipFill>
                      <a:blip r:embed="rId5"/>
                      <a:stretch>
                        <a:fillRect/>
                      </a:stretch>
                    </p:blipFill>
                    <p:spPr>
                      <a:xfrm>
                        <a:off x="2382" y="2035"/>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7FB5B43-BDF0-CA4F-F474-3A11CE8FD2CF}"/>
              </a:ext>
            </a:extLst>
          </p:cNvPr>
          <p:cNvSpPr>
            <a:spLocks noGrp="1"/>
          </p:cNvSpPr>
          <p:nvPr>
            <p:ph type="title"/>
          </p:nvPr>
        </p:nvSpPr>
        <p:spPr>
          <a:xfrm>
            <a:off x="407988" y="260270"/>
            <a:ext cx="9418320" cy="332399"/>
          </a:xfrm>
        </p:spPr>
        <p:txBody>
          <a:bodyPr vert="horz"/>
          <a:lstStyle/>
          <a:p>
            <a:r>
              <a:rPr lang="en-US" dirty="0">
                <a:latin typeface="Zurich Sans Light" panose="02000000000000000000" pitchFamily="2" charset="0"/>
              </a:rPr>
              <a:t>Climate Resilience: Unser </a:t>
            </a:r>
            <a:r>
              <a:rPr lang="en-US" dirty="0" err="1">
                <a:latin typeface="Zurich Sans Light" panose="02000000000000000000" pitchFamily="2" charset="0"/>
              </a:rPr>
              <a:t>ganzheitlicher</a:t>
            </a:r>
            <a:r>
              <a:rPr lang="en-US" dirty="0">
                <a:latin typeface="Zurich Sans Light" panose="02000000000000000000" pitchFamily="2" charset="0"/>
              </a:rPr>
              <a:t> Ansatz</a:t>
            </a:r>
          </a:p>
        </p:txBody>
      </p:sp>
      <p:sp>
        <p:nvSpPr>
          <p:cNvPr id="7" name="Slide Number Placeholder 2">
            <a:extLst>
              <a:ext uri="{FF2B5EF4-FFF2-40B4-BE49-F238E27FC236}">
                <a16:creationId xmlns:a16="http://schemas.microsoft.com/office/drawing/2014/main" id="{FF1AE397-9E0A-0231-8FAF-CC8373D0C56C}"/>
              </a:ext>
            </a:extLst>
          </p:cNvPr>
          <p:cNvSpPr>
            <a:spLocks noGrp="1"/>
          </p:cNvSpPr>
          <p:nvPr>
            <p:ph type="sldNum" sz="quarter" idx="4"/>
          </p:nvPr>
        </p:nvSpPr>
        <p:spPr/>
        <p:txBody>
          <a:bodyPr/>
          <a:lstStyle/>
          <a:p>
            <a:pPr defTabSz="914377"/>
            <a:fld id="{FA58F0B4-6BC7-4BFB-804F-EE9B892902C7}" type="slidenum">
              <a:rPr lang="en-US" kern="1200">
                <a:solidFill>
                  <a:srgbClr val="2167AE"/>
                </a:solidFill>
                <a:ea typeface="+mn-ea"/>
              </a:rPr>
              <a:pPr defTabSz="914377"/>
              <a:t>8</a:t>
            </a:fld>
            <a:endParaRPr lang="en-US" kern="1200">
              <a:solidFill>
                <a:srgbClr val="2167AE"/>
              </a:solidFill>
              <a:ea typeface="+mn-ea"/>
            </a:endParaRPr>
          </a:p>
        </p:txBody>
      </p:sp>
      <p:sp>
        <p:nvSpPr>
          <p:cNvPr id="3" name="Arrow: Pentagon 2">
            <a:extLst>
              <a:ext uri="{FF2B5EF4-FFF2-40B4-BE49-F238E27FC236}">
                <a16:creationId xmlns:a16="http://schemas.microsoft.com/office/drawing/2014/main" id="{B2C12BC9-70A1-DC92-4772-6BA38FD6750B}"/>
              </a:ext>
            </a:extLst>
          </p:cNvPr>
          <p:cNvSpPr/>
          <p:nvPr/>
        </p:nvSpPr>
        <p:spPr>
          <a:xfrm>
            <a:off x="407987" y="2029121"/>
            <a:ext cx="5838376" cy="1371600"/>
          </a:xfrm>
          <a:prstGeom prst="homePlate">
            <a:avLst>
              <a:gd name="adj" fmla="val 287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defTabSz="914377">
              <a:lnSpc>
                <a:spcPct val="120000"/>
              </a:lnSpc>
            </a:pPr>
            <a:r>
              <a:rPr lang="en-US">
                <a:solidFill>
                  <a:srgbClr val="FFFFFF"/>
                </a:solidFill>
                <a:latin typeface="Zurich Sans Medium"/>
              </a:rPr>
              <a:t>Portfolio-Ebene </a:t>
            </a:r>
          </a:p>
          <a:p>
            <a:pPr algn="ctr" defTabSz="914377">
              <a:lnSpc>
                <a:spcPct val="120000"/>
              </a:lnSpc>
            </a:pPr>
            <a:r>
              <a:rPr lang="en-US">
                <a:solidFill>
                  <a:srgbClr val="FFFFFF"/>
                </a:solidFill>
                <a:latin typeface="Zurich Sans Light" panose="02000000000000000000" pitchFamily="2" charset="0"/>
              </a:rPr>
              <a:t>Climate Spotlight </a:t>
            </a:r>
            <a:r>
              <a:rPr lang="en-US" err="1">
                <a:solidFill>
                  <a:srgbClr val="FFFFFF"/>
                </a:solidFill>
                <a:latin typeface="Zurich Sans Light" panose="02000000000000000000" pitchFamily="2" charset="0"/>
              </a:rPr>
              <a:t>Risikoanalyse</a:t>
            </a:r>
            <a:endParaRPr lang="en-US">
              <a:solidFill>
                <a:srgbClr val="FFFFFF"/>
              </a:solidFill>
              <a:latin typeface="Zurich Sans Light" panose="02000000000000000000" pitchFamily="2" charset="0"/>
            </a:endParaRPr>
          </a:p>
        </p:txBody>
      </p:sp>
      <p:sp>
        <p:nvSpPr>
          <p:cNvPr id="125" name="Freeform: Shape 124">
            <a:extLst>
              <a:ext uri="{FF2B5EF4-FFF2-40B4-BE49-F238E27FC236}">
                <a16:creationId xmlns:a16="http://schemas.microsoft.com/office/drawing/2014/main" id="{2317199E-DCA8-2F6F-E405-71852F513017}"/>
              </a:ext>
            </a:extLst>
          </p:cNvPr>
          <p:cNvSpPr/>
          <p:nvPr/>
        </p:nvSpPr>
        <p:spPr>
          <a:xfrm>
            <a:off x="5940874" y="2029121"/>
            <a:ext cx="5440364" cy="1371600"/>
          </a:xfrm>
          <a:custGeom>
            <a:avLst/>
            <a:gdLst>
              <a:gd name="connsiteX0" fmla="*/ 0 w 5440364"/>
              <a:gd name="connsiteY0" fmla="*/ 0 h 1371600"/>
              <a:gd name="connsiteX1" fmla="*/ 5438280 w 5440364"/>
              <a:gd name="connsiteY1" fmla="*/ 0 h 1371600"/>
              <a:gd name="connsiteX2" fmla="*/ 5440364 w 5440364"/>
              <a:gd name="connsiteY2" fmla="*/ 3572 h 1371600"/>
              <a:gd name="connsiteX3" fmla="*/ 5440364 w 5440364"/>
              <a:gd name="connsiteY3" fmla="*/ 1368028 h 1371600"/>
              <a:gd name="connsiteX4" fmla="*/ 5438280 w 5440364"/>
              <a:gd name="connsiteY4" fmla="*/ 1371600 h 1371600"/>
              <a:gd name="connsiteX5" fmla="*/ 0 w 5440364"/>
              <a:gd name="connsiteY5" fmla="*/ 1371600 h 1371600"/>
              <a:gd name="connsiteX6" fmla="*/ 400096 w 5440364"/>
              <a:gd name="connsiteY6" fmla="*/ 68580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0364" h="1371600">
                <a:moveTo>
                  <a:pt x="0" y="0"/>
                </a:moveTo>
                <a:lnTo>
                  <a:pt x="5438280" y="0"/>
                </a:lnTo>
                <a:lnTo>
                  <a:pt x="5440364" y="3572"/>
                </a:lnTo>
                <a:lnTo>
                  <a:pt x="5440364" y="1368028"/>
                </a:lnTo>
                <a:lnTo>
                  <a:pt x="5438280" y="1371600"/>
                </a:lnTo>
                <a:lnTo>
                  <a:pt x="0" y="1371600"/>
                </a:lnTo>
                <a:lnTo>
                  <a:pt x="400096" y="685800"/>
                </a:lnTo>
                <a:close/>
              </a:path>
            </a:pathLst>
          </a:custGeom>
          <a:solidFill>
            <a:srgbClr val="19BAB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p>
            <a:pPr algn="ctr" defTabSz="914377">
              <a:lnSpc>
                <a:spcPct val="120000"/>
              </a:lnSpc>
            </a:pPr>
            <a:r>
              <a:rPr lang="en-US" err="1">
                <a:solidFill>
                  <a:srgbClr val="FFFFFF"/>
                </a:solidFill>
                <a:latin typeface="Zurich Sans Medium"/>
              </a:rPr>
              <a:t>Standort</a:t>
            </a:r>
            <a:r>
              <a:rPr lang="en-US">
                <a:solidFill>
                  <a:srgbClr val="FFFFFF"/>
                </a:solidFill>
                <a:latin typeface="Zurich Sans Medium"/>
              </a:rPr>
              <a:t>-Ebene</a:t>
            </a:r>
          </a:p>
          <a:p>
            <a:pPr algn="ctr" defTabSz="914377">
              <a:lnSpc>
                <a:spcPct val="120000"/>
              </a:lnSpc>
            </a:pPr>
            <a:r>
              <a:rPr lang="en-US" err="1">
                <a:solidFill>
                  <a:srgbClr val="FFFFFF"/>
                </a:solidFill>
                <a:latin typeface="Zurich Sans Light" panose="02000000000000000000" pitchFamily="2" charset="0"/>
              </a:rPr>
              <a:t>Klimarisikoanalyse</a:t>
            </a:r>
            <a:endParaRPr lang="en-US">
              <a:solidFill>
                <a:srgbClr val="FFFFFF"/>
              </a:solidFill>
              <a:latin typeface="Zurich Sans Light" panose="02000000000000000000" pitchFamily="2" charset="0"/>
            </a:endParaRPr>
          </a:p>
        </p:txBody>
      </p:sp>
      <p:sp>
        <p:nvSpPr>
          <p:cNvPr id="47" name="Rectangle 46">
            <a:extLst>
              <a:ext uri="{FF2B5EF4-FFF2-40B4-BE49-F238E27FC236}">
                <a16:creationId xmlns:a16="http://schemas.microsoft.com/office/drawing/2014/main" id="{CE6DC630-264E-E612-087B-3D1E1ECABC98}"/>
              </a:ext>
            </a:extLst>
          </p:cNvPr>
          <p:cNvSpPr/>
          <p:nvPr/>
        </p:nvSpPr>
        <p:spPr>
          <a:xfrm>
            <a:off x="3128169" y="3400721"/>
            <a:ext cx="2720183" cy="2598443"/>
          </a:xfrm>
          <a:prstGeom prst="rect">
            <a:avLst/>
          </a:prstGeom>
          <a:solidFill>
            <a:schemeClr val="accent1">
              <a:lumMod val="20000"/>
              <a:lumOff val="80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defTabSz="914377">
              <a:lnSpc>
                <a:spcPct val="110000"/>
              </a:lnSpc>
            </a:pPr>
            <a:endParaRPr lang="en-US">
              <a:solidFill>
                <a:srgbClr val="FFFFFF"/>
              </a:solidFill>
              <a:latin typeface="Zurich Sans Light" panose="02000000000000000000" pitchFamily="2" charset="0"/>
            </a:endParaRPr>
          </a:p>
        </p:txBody>
      </p:sp>
      <p:sp>
        <p:nvSpPr>
          <p:cNvPr id="60" name="Rectangle 59">
            <a:extLst>
              <a:ext uri="{FF2B5EF4-FFF2-40B4-BE49-F238E27FC236}">
                <a16:creationId xmlns:a16="http://schemas.microsoft.com/office/drawing/2014/main" id="{22A76B25-603B-787B-D3AA-FD5A802F0E0B}"/>
              </a:ext>
            </a:extLst>
          </p:cNvPr>
          <p:cNvSpPr/>
          <p:nvPr/>
        </p:nvSpPr>
        <p:spPr>
          <a:xfrm>
            <a:off x="407986" y="3400721"/>
            <a:ext cx="2720183" cy="259844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defTabSz="914377">
              <a:lnSpc>
                <a:spcPct val="110000"/>
              </a:lnSpc>
            </a:pPr>
            <a:endParaRPr lang="en-US">
              <a:solidFill>
                <a:srgbClr val="FFFFFF"/>
              </a:solidFill>
              <a:latin typeface="Zurich Sans Light" panose="02000000000000000000" pitchFamily="2" charset="0"/>
            </a:endParaRPr>
          </a:p>
        </p:txBody>
      </p:sp>
      <p:sp>
        <p:nvSpPr>
          <p:cNvPr id="63" name="Rectangle 62">
            <a:extLst>
              <a:ext uri="{FF2B5EF4-FFF2-40B4-BE49-F238E27FC236}">
                <a16:creationId xmlns:a16="http://schemas.microsoft.com/office/drawing/2014/main" id="{8164C9F6-8D1E-B781-6B7C-3D1F3A552AEC}"/>
              </a:ext>
            </a:extLst>
          </p:cNvPr>
          <p:cNvSpPr/>
          <p:nvPr/>
        </p:nvSpPr>
        <p:spPr>
          <a:xfrm>
            <a:off x="8661055" y="3400721"/>
            <a:ext cx="2720183" cy="2598443"/>
          </a:xfrm>
          <a:prstGeom prst="rect">
            <a:avLst/>
          </a:prstGeom>
          <a:solidFill>
            <a:srgbClr val="8CDCDA">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defTabSz="914377">
              <a:lnSpc>
                <a:spcPct val="110000"/>
              </a:lnSpc>
            </a:pPr>
            <a:endParaRPr lang="en-US">
              <a:solidFill>
                <a:srgbClr val="FFFFFF"/>
              </a:solidFill>
              <a:latin typeface="Zurich Sans Light" panose="02000000000000000000" pitchFamily="2" charset="0"/>
            </a:endParaRPr>
          </a:p>
        </p:txBody>
      </p:sp>
      <p:sp>
        <p:nvSpPr>
          <p:cNvPr id="65" name="Rectangle 64">
            <a:extLst>
              <a:ext uri="{FF2B5EF4-FFF2-40B4-BE49-F238E27FC236}">
                <a16:creationId xmlns:a16="http://schemas.microsoft.com/office/drawing/2014/main" id="{66164665-835E-B3DB-7AE2-75C8B94E0DC1}"/>
              </a:ext>
            </a:extLst>
          </p:cNvPr>
          <p:cNvSpPr/>
          <p:nvPr/>
        </p:nvSpPr>
        <p:spPr>
          <a:xfrm>
            <a:off x="5940874" y="3400721"/>
            <a:ext cx="2720183" cy="2598443"/>
          </a:xfrm>
          <a:prstGeom prst="rect">
            <a:avLst/>
          </a:prstGeom>
          <a:solidFill>
            <a:srgbClr val="8CDCD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defTabSz="914377">
              <a:lnSpc>
                <a:spcPct val="110000"/>
              </a:lnSpc>
            </a:pPr>
            <a:endParaRPr lang="en-US">
              <a:solidFill>
                <a:srgbClr val="FFFFFF"/>
              </a:solidFill>
              <a:latin typeface="Zurich Sans Light" panose="02000000000000000000" pitchFamily="2" charset="0"/>
            </a:endParaRPr>
          </a:p>
        </p:txBody>
      </p:sp>
      <p:grpSp>
        <p:nvGrpSpPr>
          <p:cNvPr id="69" name="Group 68">
            <a:extLst>
              <a:ext uri="{FF2B5EF4-FFF2-40B4-BE49-F238E27FC236}">
                <a16:creationId xmlns:a16="http://schemas.microsoft.com/office/drawing/2014/main" id="{14A7FEBC-CA89-6195-55E7-DDD72C299DA5}"/>
              </a:ext>
            </a:extLst>
          </p:cNvPr>
          <p:cNvGrpSpPr>
            <a:grpSpLocks noChangeAspect="1"/>
          </p:cNvGrpSpPr>
          <p:nvPr/>
        </p:nvGrpSpPr>
        <p:grpSpPr>
          <a:xfrm>
            <a:off x="3939545" y="3998927"/>
            <a:ext cx="1097427" cy="1097280"/>
            <a:chOff x="4915566" y="3716369"/>
            <a:chExt cx="709802" cy="709707"/>
          </a:xfrm>
        </p:grpSpPr>
        <p:sp>
          <p:nvSpPr>
            <p:cNvPr id="70" name="Freeform: Shape 69">
              <a:extLst>
                <a:ext uri="{FF2B5EF4-FFF2-40B4-BE49-F238E27FC236}">
                  <a16:creationId xmlns:a16="http://schemas.microsoft.com/office/drawing/2014/main" id="{805CD7F5-169E-A436-5090-90CE76D2F336}"/>
                </a:ext>
              </a:extLst>
            </p:cNvPr>
            <p:cNvSpPr/>
            <p:nvPr/>
          </p:nvSpPr>
          <p:spPr>
            <a:xfrm>
              <a:off x="4915566" y="3716369"/>
              <a:ext cx="709802" cy="709707"/>
            </a:xfrm>
            <a:custGeom>
              <a:avLst/>
              <a:gdLst>
                <a:gd name="connsiteX0" fmla="*/ 709803 w 709802"/>
                <a:gd name="connsiteY0" fmla="*/ 354806 h 709707"/>
                <a:gd name="connsiteX1" fmla="*/ 354901 w 709802"/>
                <a:gd name="connsiteY1" fmla="*/ 709708 h 709707"/>
                <a:gd name="connsiteX2" fmla="*/ 0 w 709802"/>
                <a:gd name="connsiteY2" fmla="*/ 354806 h 709707"/>
                <a:gd name="connsiteX3" fmla="*/ 354901 w 709802"/>
                <a:gd name="connsiteY3" fmla="*/ 0 h 709707"/>
                <a:gd name="connsiteX4" fmla="*/ 709803 w 709802"/>
                <a:gd name="connsiteY4" fmla="*/ 354806 h 709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802" h="709707">
                  <a:moveTo>
                    <a:pt x="709803" y="354806"/>
                  </a:moveTo>
                  <a:cubicBezTo>
                    <a:pt x="709803" y="550831"/>
                    <a:pt x="550926" y="709708"/>
                    <a:pt x="354901" y="709708"/>
                  </a:cubicBezTo>
                  <a:cubicBezTo>
                    <a:pt x="158877" y="709708"/>
                    <a:pt x="0" y="550831"/>
                    <a:pt x="0" y="354806"/>
                  </a:cubicBezTo>
                  <a:cubicBezTo>
                    <a:pt x="0" y="158782"/>
                    <a:pt x="158877" y="0"/>
                    <a:pt x="354901" y="0"/>
                  </a:cubicBezTo>
                  <a:cubicBezTo>
                    <a:pt x="550926" y="0"/>
                    <a:pt x="709803" y="158877"/>
                    <a:pt x="709803" y="354806"/>
                  </a:cubicBezTo>
                </a:path>
              </a:pathLst>
            </a:custGeom>
            <a:solidFill>
              <a:schemeClr val="accent4">
                <a:lumMod val="20000"/>
                <a:lumOff val="80000"/>
              </a:schemeClr>
            </a:solidFill>
            <a:ln w="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sp>
          <p:nvSpPr>
            <p:cNvPr id="71" name="Freeform: Shape 70">
              <a:extLst>
                <a:ext uri="{FF2B5EF4-FFF2-40B4-BE49-F238E27FC236}">
                  <a16:creationId xmlns:a16="http://schemas.microsoft.com/office/drawing/2014/main" id="{5FFC0360-A811-ABDB-88FB-5C8A18E9A2B5}"/>
                </a:ext>
              </a:extLst>
            </p:cNvPr>
            <p:cNvSpPr/>
            <p:nvPr/>
          </p:nvSpPr>
          <p:spPr>
            <a:xfrm>
              <a:off x="5129237" y="3855624"/>
              <a:ext cx="142563" cy="149362"/>
            </a:xfrm>
            <a:custGeom>
              <a:avLst/>
              <a:gdLst>
                <a:gd name="connsiteX0" fmla="*/ 142564 w 142563"/>
                <a:gd name="connsiteY0" fmla="*/ 139541 h 149362"/>
                <a:gd name="connsiteX1" fmla="*/ 142564 w 142563"/>
                <a:gd name="connsiteY1" fmla="*/ 10192 h 149362"/>
                <a:gd name="connsiteX2" fmla="*/ 132467 w 142563"/>
                <a:gd name="connsiteY2" fmla="*/ 0 h 149362"/>
                <a:gd name="connsiteX3" fmla="*/ 128086 w 142563"/>
                <a:gd name="connsiteY3" fmla="*/ 953 h 149362"/>
                <a:gd name="connsiteX4" fmla="*/ 5785 w 142563"/>
                <a:gd name="connsiteY4" fmla="*/ 59436 h 149362"/>
                <a:gd name="connsiteX5" fmla="*/ 1022 w 142563"/>
                <a:gd name="connsiteY5" fmla="*/ 72962 h 149362"/>
                <a:gd name="connsiteX6" fmla="*/ 5118 w 142563"/>
                <a:gd name="connsiteY6" fmla="*/ 77343 h 149362"/>
                <a:gd name="connsiteX7" fmla="*/ 127419 w 142563"/>
                <a:gd name="connsiteY7" fmla="*/ 148018 h 149362"/>
                <a:gd name="connsiteX8" fmla="*/ 141230 w 142563"/>
                <a:gd name="connsiteY8" fmla="*/ 144304 h 149362"/>
                <a:gd name="connsiteX9" fmla="*/ 142564 w 142563"/>
                <a:gd name="connsiteY9" fmla="*/ 139446 h 14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563" h="149362">
                  <a:moveTo>
                    <a:pt x="142564" y="139541"/>
                  </a:moveTo>
                  <a:lnTo>
                    <a:pt x="142564" y="10192"/>
                  </a:lnTo>
                  <a:cubicBezTo>
                    <a:pt x="142564" y="4572"/>
                    <a:pt x="138087" y="0"/>
                    <a:pt x="132467" y="0"/>
                  </a:cubicBezTo>
                  <a:cubicBezTo>
                    <a:pt x="130943" y="0"/>
                    <a:pt x="129419" y="286"/>
                    <a:pt x="128086" y="953"/>
                  </a:cubicBezTo>
                  <a:lnTo>
                    <a:pt x="5785" y="59436"/>
                  </a:lnTo>
                  <a:cubicBezTo>
                    <a:pt x="736" y="61817"/>
                    <a:pt x="-1454" y="67913"/>
                    <a:pt x="1022" y="72962"/>
                  </a:cubicBezTo>
                  <a:cubicBezTo>
                    <a:pt x="1880" y="74866"/>
                    <a:pt x="3308" y="76390"/>
                    <a:pt x="5118" y="77343"/>
                  </a:cubicBezTo>
                  <a:lnTo>
                    <a:pt x="127419" y="148018"/>
                  </a:lnTo>
                  <a:cubicBezTo>
                    <a:pt x="132277" y="150781"/>
                    <a:pt x="138468" y="149162"/>
                    <a:pt x="141230" y="144304"/>
                  </a:cubicBezTo>
                  <a:cubicBezTo>
                    <a:pt x="142088" y="142875"/>
                    <a:pt x="142564" y="141160"/>
                    <a:pt x="142564" y="139446"/>
                  </a:cubicBezTo>
                </a:path>
              </a:pathLst>
            </a:custGeom>
            <a:solidFill>
              <a:schemeClr val="accent1"/>
            </a:solidFill>
            <a:ln w="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sp>
          <p:nvSpPr>
            <p:cNvPr id="72" name="Freeform: Shape 71">
              <a:extLst>
                <a:ext uri="{FF2B5EF4-FFF2-40B4-BE49-F238E27FC236}">
                  <a16:creationId xmlns:a16="http://schemas.microsoft.com/office/drawing/2014/main" id="{B1C9A857-CCED-6A82-2766-0D0763CFD73F}"/>
                </a:ext>
              </a:extLst>
            </p:cNvPr>
            <p:cNvSpPr/>
            <p:nvPr/>
          </p:nvSpPr>
          <p:spPr>
            <a:xfrm>
              <a:off x="5258752" y="3843432"/>
              <a:ext cx="23336" cy="201549"/>
            </a:xfrm>
            <a:custGeom>
              <a:avLst/>
              <a:gdLst>
                <a:gd name="connsiteX0" fmla="*/ 95 w 23336"/>
                <a:gd name="connsiteY0" fmla="*/ 201549 h 201549"/>
                <a:gd name="connsiteX1" fmla="*/ 95 w 23336"/>
                <a:gd name="connsiteY1" fmla="*/ 11621 h 201549"/>
                <a:gd name="connsiteX2" fmla="*/ 11716 w 23336"/>
                <a:gd name="connsiteY2" fmla="*/ 0 h 201549"/>
                <a:gd name="connsiteX3" fmla="*/ 23336 w 23336"/>
                <a:gd name="connsiteY3" fmla="*/ 11621 h 201549"/>
                <a:gd name="connsiteX4" fmla="*/ 23336 w 23336"/>
                <a:gd name="connsiteY4" fmla="*/ 201549 h 201549"/>
                <a:gd name="connsiteX5" fmla="*/ 0 w 23336"/>
                <a:gd name="connsiteY5" fmla="*/ 201549 h 20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6" h="201549">
                  <a:moveTo>
                    <a:pt x="95" y="201549"/>
                  </a:moveTo>
                  <a:lnTo>
                    <a:pt x="95" y="11621"/>
                  </a:lnTo>
                  <a:cubicBezTo>
                    <a:pt x="95" y="5143"/>
                    <a:pt x="5334" y="0"/>
                    <a:pt x="11716" y="0"/>
                  </a:cubicBezTo>
                  <a:cubicBezTo>
                    <a:pt x="18097" y="0"/>
                    <a:pt x="23336" y="5239"/>
                    <a:pt x="23336" y="11621"/>
                  </a:cubicBezTo>
                  <a:lnTo>
                    <a:pt x="23336" y="201549"/>
                  </a:lnTo>
                  <a:lnTo>
                    <a:pt x="0" y="201549"/>
                  </a:lnTo>
                  <a:close/>
                </a:path>
              </a:pathLst>
            </a:custGeom>
            <a:solidFill>
              <a:schemeClr val="accent2"/>
            </a:solidFill>
            <a:ln w="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sp>
          <p:nvSpPr>
            <p:cNvPr id="73" name="Freeform: Shape 72">
              <a:extLst>
                <a:ext uri="{FF2B5EF4-FFF2-40B4-BE49-F238E27FC236}">
                  <a16:creationId xmlns:a16="http://schemas.microsoft.com/office/drawing/2014/main" id="{36C6D9DA-93E4-9005-0378-1CB5F4339D33}"/>
                </a:ext>
              </a:extLst>
            </p:cNvPr>
            <p:cNvSpPr/>
            <p:nvPr/>
          </p:nvSpPr>
          <p:spPr>
            <a:xfrm>
              <a:off x="5147786" y="4024450"/>
              <a:ext cx="245268" cy="189098"/>
            </a:xfrm>
            <a:custGeom>
              <a:avLst/>
              <a:gdLst>
                <a:gd name="connsiteX0" fmla="*/ 38100 w 245268"/>
                <a:gd name="connsiteY0" fmla="*/ 169883 h 189098"/>
                <a:gd name="connsiteX1" fmla="*/ 38481 w 245268"/>
                <a:gd name="connsiteY1" fmla="*/ 169502 h 189098"/>
                <a:gd name="connsiteX2" fmla="*/ 64865 w 245268"/>
                <a:gd name="connsiteY2" fmla="*/ 136927 h 189098"/>
                <a:gd name="connsiteX3" fmla="*/ 75533 w 245268"/>
                <a:gd name="connsiteY3" fmla="*/ 135784 h 189098"/>
                <a:gd name="connsiteX4" fmla="*/ 76676 w 245268"/>
                <a:gd name="connsiteY4" fmla="*/ 136927 h 189098"/>
                <a:gd name="connsiteX5" fmla="*/ 116681 w 245268"/>
                <a:gd name="connsiteY5" fmla="*/ 186267 h 189098"/>
                <a:gd name="connsiteX6" fmla="*/ 127349 w 245268"/>
                <a:gd name="connsiteY6" fmla="*/ 187409 h 189098"/>
                <a:gd name="connsiteX7" fmla="*/ 128492 w 245268"/>
                <a:gd name="connsiteY7" fmla="*/ 186267 h 189098"/>
                <a:gd name="connsiteX8" fmla="*/ 129254 w 245268"/>
                <a:gd name="connsiteY8" fmla="*/ 185600 h 189098"/>
                <a:gd name="connsiteX9" fmla="*/ 168783 w 245268"/>
                <a:gd name="connsiteY9" fmla="*/ 136832 h 189098"/>
                <a:gd name="connsiteX10" fmla="*/ 179451 w 245268"/>
                <a:gd name="connsiteY10" fmla="*/ 135689 h 189098"/>
                <a:gd name="connsiteX11" fmla="*/ 180594 w 245268"/>
                <a:gd name="connsiteY11" fmla="*/ 136832 h 189098"/>
                <a:gd name="connsiteX12" fmla="*/ 206883 w 245268"/>
                <a:gd name="connsiteY12" fmla="*/ 169217 h 189098"/>
                <a:gd name="connsiteX13" fmla="*/ 207454 w 245268"/>
                <a:gd name="connsiteY13" fmla="*/ 169788 h 189098"/>
                <a:gd name="connsiteX14" fmla="*/ 218218 w 245268"/>
                <a:gd name="connsiteY14" fmla="*/ 170836 h 189098"/>
                <a:gd name="connsiteX15" fmla="*/ 219361 w 245268"/>
                <a:gd name="connsiteY15" fmla="*/ 169788 h 189098"/>
                <a:gd name="connsiteX16" fmla="*/ 245269 w 245268"/>
                <a:gd name="connsiteY16" fmla="*/ 137879 h 189098"/>
                <a:gd name="connsiteX17" fmla="*/ 140398 w 245268"/>
                <a:gd name="connsiteY17" fmla="*/ 8340 h 189098"/>
                <a:gd name="connsiteX18" fmla="*/ 108013 w 245268"/>
                <a:gd name="connsiteY18" fmla="*/ 5292 h 189098"/>
                <a:gd name="connsiteX19" fmla="*/ 104965 w 245268"/>
                <a:gd name="connsiteY19" fmla="*/ 8340 h 189098"/>
                <a:gd name="connsiteX20" fmla="*/ 0 w 245268"/>
                <a:gd name="connsiteY20" fmla="*/ 137879 h 189098"/>
                <a:gd name="connsiteX21" fmla="*/ 26289 w 245268"/>
                <a:gd name="connsiteY21" fmla="*/ 169788 h 189098"/>
                <a:gd name="connsiteX22" fmla="*/ 37052 w 245268"/>
                <a:gd name="connsiteY22" fmla="*/ 170645 h 189098"/>
                <a:gd name="connsiteX23" fmla="*/ 37909 w 245268"/>
                <a:gd name="connsiteY23" fmla="*/ 169788 h 18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5268" h="189098">
                  <a:moveTo>
                    <a:pt x="38100" y="169883"/>
                  </a:moveTo>
                  <a:lnTo>
                    <a:pt x="38481" y="169502"/>
                  </a:lnTo>
                  <a:lnTo>
                    <a:pt x="64865" y="136927"/>
                  </a:lnTo>
                  <a:cubicBezTo>
                    <a:pt x="67532" y="133688"/>
                    <a:pt x="72295" y="133117"/>
                    <a:pt x="75533" y="135784"/>
                  </a:cubicBezTo>
                  <a:cubicBezTo>
                    <a:pt x="76009" y="136165"/>
                    <a:pt x="76390" y="136546"/>
                    <a:pt x="76676" y="136927"/>
                  </a:cubicBezTo>
                  <a:lnTo>
                    <a:pt x="116681" y="186267"/>
                  </a:lnTo>
                  <a:cubicBezTo>
                    <a:pt x="119348" y="189505"/>
                    <a:pt x="124111" y="190076"/>
                    <a:pt x="127349" y="187409"/>
                  </a:cubicBezTo>
                  <a:cubicBezTo>
                    <a:pt x="127825" y="187028"/>
                    <a:pt x="128206" y="186647"/>
                    <a:pt x="128492" y="186267"/>
                  </a:cubicBezTo>
                  <a:lnTo>
                    <a:pt x="129254" y="185600"/>
                  </a:lnTo>
                  <a:lnTo>
                    <a:pt x="168783" y="136832"/>
                  </a:lnTo>
                  <a:cubicBezTo>
                    <a:pt x="171450" y="133593"/>
                    <a:pt x="176213" y="133022"/>
                    <a:pt x="179451" y="135689"/>
                  </a:cubicBezTo>
                  <a:cubicBezTo>
                    <a:pt x="179927" y="136070"/>
                    <a:pt x="180308" y="136451"/>
                    <a:pt x="180594" y="136832"/>
                  </a:cubicBezTo>
                  <a:lnTo>
                    <a:pt x="206883" y="169217"/>
                  </a:lnTo>
                  <a:lnTo>
                    <a:pt x="207454" y="169788"/>
                  </a:lnTo>
                  <a:cubicBezTo>
                    <a:pt x="210121" y="173027"/>
                    <a:pt x="214979" y="173598"/>
                    <a:pt x="218218" y="170836"/>
                  </a:cubicBezTo>
                  <a:cubicBezTo>
                    <a:pt x="218599" y="170550"/>
                    <a:pt x="218980" y="170169"/>
                    <a:pt x="219361" y="169788"/>
                  </a:cubicBezTo>
                  <a:lnTo>
                    <a:pt x="245269" y="137879"/>
                  </a:lnTo>
                  <a:lnTo>
                    <a:pt x="140398" y="8340"/>
                  </a:lnTo>
                  <a:cubicBezTo>
                    <a:pt x="132302" y="-1471"/>
                    <a:pt x="117824" y="-2805"/>
                    <a:pt x="108013" y="5292"/>
                  </a:cubicBezTo>
                  <a:cubicBezTo>
                    <a:pt x="106871" y="6244"/>
                    <a:pt x="105823" y="7292"/>
                    <a:pt x="104965" y="8340"/>
                  </a:cubicBezTo>
                  <a:lnTo>
                    <a:pt x="0" y="137879"/>
                  </a:lnTo>
                  <a:lnTo>
                    <a:pt x="26289" y="169788"/>
                  </a:lnTo>
                  <a:cubicBezTo>
                    <a:pt x="29051" y="173027"/>
                    <a:pt x="33909" y="173408"/>
                    <a:pt x="37052" y="170645"/>
                  </a:cubicBezTo>
                  <a:cubicBezTo>
                    <a:pt x="37338" y="170360"/>
                    <a:pt x="37624" y="170074"/>
                    <a:pt x="37909" y="169788"/>
                  </a:cubicBezTo>
                </a:path>
              </a:pathLst>
            </a:custGeom>
            <a:solidFill>
              <a:schemeClr val="accent2"/>
            </a:solidFill>
            <a:ln w="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sp>
          <p:nvSpPr>
            <p:cNvPr id="74" name="Freeform: Shape 73">
              <a:extLst>
                <a:ext uri="{FF2B5EF4-FFF2-40B4-BE49-F238E27FC236}">
                  <a16:creationId xmlns:a16="http://schemas.microsoft.com/office/drawing/2014/main" id="{F1060E3B-1C6F-A5A5-76CC-17DB57537ADE}"/>
                </a:ext>
              </a:extLst>
            </p:cNvPr>
            <p:cNvSpPr/>
            <p:nvPr/>
          </p:nvSpPr>
          <p:spPr>
            <a:xfrm>
              <a:off x="5019103" y="4158544"/>
              <a:ext cx="503110" cy="267414"/>
            </a:xfrm>
            <a:custGeom>
              <a:avLst/>
              <a:gdLst>
                <a:gd name="connsiteX0" fmla="*/ 374047 w 503110"/>
                <a:gd name="connsiteY0" fmla="*/ 3880 h 267414"/>
                <a:gd name="connsiteX1" fmla="*/ 348139 w 503110"/>
                <a:gd name="connsiteY1" fmla="*/ 35789 h 267414"/>
                <a:gd name="connsiteX2" fmla="*/ 337375 w 503110"/>
                <a:gd name="connsiteY2" fmla="*/ 36837 h 267414"/>
                <a:gd name="connsiteX3" fmla="*/ 336232 w 503110"/>
                <a:gd name="connsiteY3" fmla="*/ 35789 h 267414"/>
                <a:gd name="connsiteX4" fmla="*/ 335661 w 503110"/>
                <a:gd name="connsiteY4" fmla="*/ 35218 h 267414"/>
                <a:gd name="connsiteX5" fmla="*/ 309372 w 503110"/>
                <a:gd name="connsiteY5" fmla="*/ 2833 h 267414"/>
                <a:gd name="connsiteX6" fmla="*/ 298704 w 503110"/>
                <a:gd name="connsiteY6" fmla="*/ 1689 h 267414"/>
                <a:gd name="connsiteX7" fmla="*/ 297561 w 503110"/>
                <a:gd name="connsiteY7" fmla="*/ 2833 h 267414"/>
                <a:gd name="connsiteX8" fmla="*/ 258032 w 503110"/>
                <a:gd name="connsiteY8" fmla="*/ 51505 h 267414"/>
                <a:gd name="connsiteX9" fmla="*/ 257270 w 503110"/>
                <a:gd name="connsiteY9" fmla="*/ 52172 h 267414"/>
                <a:gd name="connsiteX10" fmla="*/ 246602 w 503110"/>
                <a:gd name="connsiteY10" fmla="*/ 53315 h 267414"/>
                <a:gd name="connsiteX11" fmla="*/ 245459 w 503110"/>
                <a:gd name="connsiteY11" fmla="*/ 52172 h 267414"/>
                <a:gd name="connsiteX12" fmla="*/ 205454 w 503110"/>
                <a:gd name="connsiteY12" fmla="*/ 2833 h 267414"/>
                <a:gd name="connsiteX13" fmla="*/ 194786 w 503110"/>
                <a:gd name="connsiteY13" fmla="*/ 1689 h 267414"/>
                <a:gd name="connsiteX14" fmla="*/ 193643 w 503110"/>
                <a:gd name="connsiteY14" fmla="*/ 2833 h 267414"/>
                <a:gd name="connsiteX15" fmla="*/ 167259 w 503110"/>
                <a:gd name="connsiteY15" fmla="*/ 35408 h 267414"/>
                <a:gd name="connsiteX16" fmla="*/ 166878 w 503110"/>
                <a:gd name="connsiteY16" fmla="*/ 35789 h 267414"/>
                <a:gd name="connsiteX17" fmla="*/ 156115 w 503110"/>
                <a:gd name="connsiteY17" fmla="*/ 36932 h 267414"/>
                <a:gd name="connsiteX18" fmla="*/ 155067 w 503110"/>
                <a:gd name="connsiteY18" fmla="*/ 35789 h 267414"/>
                <a:gd name="connsiteX19" fmla="*/ 128969 w 503110"/>
                <a:gd name="connsiteY19" fmla="*/ 3785 h 267414"/>
                <a:gd name="connsiteX20" fmla="*/ 0 w 503110"/>
                <a:gd name="connsiteY20" fmla="*/ 162853 h 267414"/>
                <a:gd name="connsiteX21" fmla="*/ 501872 w 503110"/>
                <a:gd name="connsiteY21" fmla="*/ 164091 h 267414"/>
                <a:gd name="connsiteX22" fmla="*/ 503111 w 503110"/>
                <a:gd name="connsiteY22" fmla="*/ 162853 h 267414"/>
                <a:gd name="connsiteX23" fmla="*/ 374237 w 503110"/>
                <a:gd name="connsiteY23" fmla="*/ 3785 h 26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03110" h="267414">
                  <a:moveTo>
                    <a:pt x="374047" y="3880"/>
                  </a:moveTo>
                  <a:lnTo>
                    <a:pt x="348139" y="35789"/>
                  </a:lnTo>
                  <a:cubicBezTo>
                    <a:pt x="345472" y="39028"/>
                    <a:pt x="340614" y="39504"/>
                    <a:pt x="337375" y="36837"/>
                  </a:cubicBezTo>
                  <a:cubicBezTo>
                    <a:pt x="336995" y="36551"/>
                    <a:pt x="336613" y="36170"/>
                    <a:pt x="336232" y="35789"/>
                  </a:cubicBezTo>
                  <a:lnTo>
                    <a:pt x="335661" y="35218"/>
                  </a:lnTo>
                  <a:lnTo>
                    <a:pt x="309372" y="2833"/>
                  </a:lnTo>
                  <a:cubicBezTo>
                    <a:pt x="306705" y="-406"/>
                    <a:pt x="301943" y="-977"/>
                    <a:pt x="298704" y="1689"/>
                  </a:cubicBezTo>
                  <a:cubicBezTo>
                    <a:pt x="298228" y="2071"/>
                    <a:pt x="297847" y="2452"/>
                    <a:pt x="297561" y="2833"/>
                  </a:cubicBezTo>
                  <a:lnTo>
                    <a:pt x="258032" y="51505"/>
                  </a:lnTo>
                  <a:lnTo>
                    <a:pt x="257270" y="52172"/>
                  </a:lnTo>
                  <a:cubicBezTo>
                    <a:pt x="254603" y="55411"/>
                    <a:pt x="249841" y="55982"/>
                    <a:pt x="246602" y="53315"/>
                  </a:cubicBezTo>
                  <a:cubicBezTo>
                    <a:pt x="246126" y="52934"/>
                    <a:pt x="245745" y="52553"/>
                    <a:pt x="245459" y="52172"/>
                  </a:cubicBezTo>
                  <a:lnTo>
                    <a:pt x="205454" y="2833"/>
                  </a:lnTo>
                  <a:cubicBezTo>
                    <a:pt x="202787" y="-406"/>
                    <a:pt x="198025" y="-977"/>
                    <a:pt x="194786" y="1689"/>
                  </a:cubicBezTo>
                  <a:cubicBezTo>
                    <a:pt x="194310" y="2071"/>
                    <a:pt x="193929" y="2452"/>
                    <a:pt x="193643" y="2833"/>
                  </a:cubicBezTo>
                  <a:lnTo>
                    <a:pt x="167259" y="35408"/>
                  </a:lnTo>
                  <a:lnTo>
                    <a:pt x="166878" y="35789"/>
                  </a:lnTo>
                  <a:cubicBezTo>
                    <a:pt x="164211" y="39028"/>
                    <a:pt x="159353" y="39599"/>
                    <a:pt x="156115" y="36932"/>
                  </a:cubicBezTo>
                  <a:cubicBezTo>
                    <a:pt x="155734" y="36646"/>
                    <a:pt x="155353" y="36265"/>
                    <a:pt x="155067" y="35789"/>
                  </a:cubicBezTo>
                  <a:lnTo>
                    <a:pt x="128969" y="3785"/>
                  </a:lnTo>
                  <a:lnTo>
                    <a:pt x="0" y="162853"/>
                  </a:lnTo>
                  <a:cubicBezTo>
                    <a:pt x="138208" y="301822"/>
                    <a:pt x="362903" y="302298"/>
                    <a:pt x="501872" y="164091"/>
                  </a:cubicBezTo>
                  <a:cubicBezTo>
                    <a:pt x="502253" y="163710"/>
                    <a:pt x="502730" y="163234"/>
                    <a:pt x="503111" y="162853"/>
                  </a:cubicBezTo>
                  <a:lnTo>
                    <a:pt x="374237" y="3785"/>
                  </a:lnTo>
                  <a:close/>
                </a:path>
              </a:pathLst>
            </a:custGeom>
            <a:solidFill>
              <a:schemeClr val="accent1"/>
            </a:solidFill>
            <a:ln w="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grpSp>
      <p:grpSp>
        <p:nvGrpSpPr>
          <p:cNvPr id="75" name="Group 74">
            <a:extLst>
              <a:ext uri="{FF2B5EF4-FFF2-40B4-BE49-F238E27FC236}">
                <a16:creationId xmlns:a16="http://schemas.microsoft.com/office/drawing/2014/main" id="{A7D39151-4A81-A486-3806-8417C6B6DEE7}"/>
              </a:ext>
            </a:extLst>
          </p:cNvPr>
          <p:cNvGrpSpPr>
            <a:grpSpLocks noChangeAspect="1"/>
          </p:cNvGrpSpPr>
          <p:nvPr/>
        </p:nvGrpSpPr>
        <p:grpSpPr>
          <a:xfrm>
            <a:off x="1219437" y="3998927"/>
            <a:ext cx="1097280" cy="1097280"/>
            <a:chOff x="2971031" y="3268481"/>
            <a:chExt cx="978408" cy="978408"/>
          </a:xfrm>
        </p:grpSpPr>
        <p:sp>
          <p:nvSpPr>
            <p:cNvPr id="76" name="Freeform 15">
              <a:extLst>
                <a:ext uri="{FF2B5EF4-FFF2-40B4-BE49-F238E27FC236}">
                  <a16:creationId xmlns:a16="http://schemas.microsoft.com/office/drawing/2014/main" id="{7C822AE7-EB0A-23C7-9471-48697F2D1EDF}"/>
                </a:ext>
              </a:extLst>
            </p:cNvPr>
            <p:cNvSpPr/>
            <p:nvPr/>
          </p:nvSpPr>
          <p:spPr>
            <a:xfrm>
              <a:off x="2971031" y="3268481"/>
              <a:ext cx="978408" cy="978408"/>
            </a:xfrm>
            <a:custGeom>
              <a:avLst/>
              <a:gdLst>
                <a:gd name="connsiteX0" fmla="*/ 978408 w 978408"/>
                <a:gd name="connsiteY0" fmla="*/ 489204 h 978408"/>
                <a:gd name="connsiteX1" fmla="*/ 489204 w 978408"/>
                <a:gd name="connsiteY1" fmla="*/ 978408 h 978408"/>
                <a:gd name="connsiteX2" fmla="*/ 0 w 978408"/>
                <a:gd name="connsiteY2" fmla="*/ 489204 h 978408"/>
                <a:gd name="connsiteX3" fmla="*/ 489204 w 978408"/>
                <a:gd name="connsiteY3" fmla="*/ 0 h 978408"/>
                <a:gd name="connsiteX4" fmla="*/ 978408 w 978408"/>
                <a:gd name="connsiteY4" fmla="*/ 489204 h 97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8408" h="978408">
                  <a:moveTo>
                    <a:pt x="978408" y="489204"/>
                  </a:moveTo>
                  <a:cubicBezTo>
                    <a:pt x="978408" y="759384"/>
                    <a:pt x="759384" y="978408"/>
                    <a:pt x="489204" y="978408"/>
                  </a:cubicBezTo>
                  <a:cubicBezTo>
                    <a:pt x="219024" y="978408"/>
                    <a:pt x="0" y="759384"/>
                    <a:pt x="0" y="489204"/>
                  </a:cubicBezTo>
                  <a:cubicBezTo>
                    <a:pt x="0" y="219024"/>
                    <a:pt x="219024" y="0"/>
                    <a:pt x="489204" y="0"/>
                  </a:cubicBezTo>
                  <a:cubicBezTo>
                    <a:pt x="759384" y="0"/>
                    <a:pt x="978408" y="219024"/>
                    <a:pt x="978408" y="489204"/>
                  </a:cubicBezTo>
                </a:path>
              </a:pathLst>
            </a:custGeom>
            <a:solidFill>
              <a:schemeClr val="accent4">
                <a:lumMod val="20000"/>
                <a:lumOff val="80000"/>
              </a:schemeClr>
            </a:solidFill>
            <a:ln w="694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grpSp>
          <p:nvGrpSpPr>
            <p:cNvPr id="77" name="Graphic 43">
              <a:extLst>
                <a:ext uri="{FF2B5EF4-FFF2-40B4-BE49-F238E27FC236}">
                  <a16:creationId xmlns:a16="http://schemas.microsoft.com/office/drawing/2014/main" id="{FD4B63E0-44AC-FF7C-3985-51E59EB2E5F3}"/>
                </a:ext>
              </a:extLst>
            </p:cNvPr>
            <p:cNvGrpSpPr/>
            <p:nvPr/>
          </p:nvGrpSpPr>
          <p:grpSpPr>
            <a:xfrm>
              <a:off x="3150289" y="3425026"/>
              <a:ext cx="619937" cy="665330"/>
              <a:chOff x="3031023" y="3425026"/>
              <a:chExt cx="619937" cy="665330"/>
            </a:xfrm>
          </p:grpSpPr>
          <p:sp>
            <p:nvSpPr>
              <p:cNvPr id="78" name="Freeform 18">
                <a:extLst>
                  <a:ext uri="{FF2B5EF4-FFF2-40B4-BE49-F238E27FC236}">
                    <a16:creationId xmlns:a16="http://schemas.microsoft.com/office/drawing/2014/main" id="{4335FA48-E9F5-EAAA-E3CF-6C859B4AFFC9}"/>
                  </a:ext>
                </a:extLst>
              </p:cNvPr>
              <p:cNvSpPr/>
              <p:nvPr/>
            </p:nvSpPr>
            <p:spPr>
              <a:xfrm>
                <a:off x="3441478" y="3853300"/>
                <a:ext cx="209481" cy="237056"/>
              </a:xfrm>
              <a:custGeom>
                <a:avLst/>
                <a:gdLst>
                  <a:gd name="connsiteX0" fmla="*/ 201749 w 209481"/>
                  <a:gd name="connsiteY0" fmla="*/ 178968 h 237056"/>
                  <a:gd name="connsiteX1" fmla="*/ 64142 w 209481"/>
                  <a:gd name="connsiteY1" fmla="*/ 12219 h 237056"/>
                  <a:gd name="connsiteX2" fmla="*/ 19625 w 209481"/>
                  <a:gd name="connsiteY2" fmla="*/ 5720 h 237056"/>
                  <a:gd name="connsiteX3" fmla="*/ 14873 w 209481"/>
                  <a:gd name="connsiteY3" fmla="*/ 8865 h 237056"/>
                  <a:gd name="connsiteX4" fmla="*/ 12217 w 209481"/>
                  <a:gd name="connsiteY4" fmla="*/ 10892 h 237056"/>
                  <a:gd name="connsiteX5" fmla="*/ 7655 w 209481"/>
                  <a:gd name="connsiteY5" fmla="*/ 58112 h 237056"/>
                  <a:gd name="connsiteX6" fmla="*/ 7674 w 209481"/>
                  <a:gd name="connsiteY6" fmla="*/ 58135 h 237056"/>
                  <a:gd name="connsiteX7" fmla="*/ 145350 w 209481"/>
                  <a:gd name="connsiteY7" fmla="*/ 224883 h 237056"/>
                  <a:gd name="connsiteX8" fmla="*/ 189868 w 209481"/>
                  <a:gd name="connsiteY8" fmla="*/ 231383 h 237056"/>
                  <a:gd name="connsiteX9" fmla="*/ 194550 w 209481"/>
                  <a:gd name="connsiteY9" fmla="*/ 228238 h 237056"/>
                  <a:gd name="connsiteX10" fmla="*/ 197276 w 209481"/>
                  <a:gd name="connsiteY10" fmla="*/ 226211 h 237056"/>
                  <a:gd name="connsiteX11" fmla="*/ 201853 w 209481"/>
                  <a:gd name="connsiteY11" fmla="*/ 179094 h 237056"/>
                  <a:gd name="connsiteX12" fmla="*/ 201749 w 209481"/>
                  <a:gd name="connsiteY12" fmla="*/ 178968 h 237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9481" h="237056">
                    <a:moveTo>
                      <a:pt x="201749" y="178968"/>
                    </a:moveTo>
                    <a:lnTo>
                      <a:pt x="64142" y="12219"/>
                    </a:lnTo>
                    <a:cubicBezTo>
                      <a:pt x="53205" y="-1113"/>
                      <a:pt x="33917" y="-3928"/>
                      <a:pt x="19625" y="5720"/>
                    </a:cubicBezTo>
                    <a:lnTo>
                      <a:pt x="14873" y="8865"/>
                    </a:lnTo>
                    <a:lnTo>
                      <a:pt x="12217" y="10892"/>
                    </a:lnTo>
                    <a:cubicBezTo>
                      <a:pt x="-2083" y="22672"/>
                      <a:pt x="-4125" y="43813"/>
                      <a:pt x="7655" y="58112"/>
                    </a:cubicBezTo>
                    <a:cubicBezTo>
                      <a:pt x="7662" y="58119"/>
                      <a:pt x="7668" y="58127"/>
                      <a:pt x="7674" y="58135"/>
                    </a:cubicBezTo>
                    <a:lnTo>
                      <a:pt x="145350" y="224883"/>
                    </a:lnTo>
                    <a:cubicBezTo>
                      <a:pt x="156322" y="238155"/>
                      <a:pt x="175562" y="240964"/>
                      <a:pt x="189868" y="231383"/>
                    </a:cubicBezTo>
                    <a:lnTo>
                      <a:pt x="194550" y="228238"/>
                    </a:lnTo>
                    <a:cubicBezTo>
                      <a:pt x="195501" y="227616"/>
                      <a:pt x="196409" y="226938"/>
                      <a:pt x="197276" y="226211"/>
                    </a:cubicBezTo>
                    <a:cubicBezTo>
                      <a:pt x="211554" y="214463"/>
                      <a:pt x="213601" y="193365"/>
                      <a:pt x="201853" y="179094"/>
                    </a:cubicBezTo>
                    <a:cubicBezTo>
                      <a:pt x="201818" y="179052"/>
                      <a:pt x="201783" y="179010"/>
                      <a:pt x="201749" y="178968"/>
                    </a:cubicBezTo>
                    <a:close/>
                  </a:path>
                </a:pathLst>
              </a:custGeom>
              <a:solidFill>
                <a:schemeClr val="accent1"/>
              </a:solidFill>
              <a:ln w="694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sp>
            <p:nvSpPr>
              <p:cNvPr id="79" name="Freeform 19">
                <a:extLst>
                  <a:ext uri="{FF2B5EF4-FFF2-40B4-BE49-F238E27FC236}">
                    <a16:creationId xmlns:a16="http://schemas.microsoft.com/office/drawing/2014/main" id="{04382428-67B5-4C50-05B3-A1C31EA8C1E7}"/>
                  </a:ext>
                </a:extLst>
              </p:cNvPr>
              <p:cNvSpPr/>
              <p:nvPr/>
            </p:nvSpPr>
            <p:spPr>
              <a:xfrm>
                <a:off x="3031023" y="3425026"/>
                <a:ext cx="546650" cy="546650"/>
              </a:xfrm>
              <a:custGeom>
                <a:avLst/>
                <a:gdLst>
                  <a:gd name="connsiteX0" fmla="*/ 273325 w 546650"/>
                  <a:gd name="connsiteY0" fmla="*/ 546651 h 546650"/>
                  <a:gd name="connsiteX1" fmla="*/ 0 w 546650"/>
                  <a:gd name="connsiteY1" fmla="*/ 273325 h 546650"/>
                  <a:gd name="connsiteX2" fmla="*/ 273325 w 546650"/>
                  <a:gd name="connsiteY2" fmla="*/ 0 h 546650"/>
                  <a:gd name="connsiteX3" fmla="*/ 546651 w 546650"/>
                  <a:gd name="connsiteY3" fmla="*/ 273325 h 546650"/>
                  <a:gd name="connsiteX4" fmla="*/ 546651 w 546650"/>
                  <a:gd name="connsiteY4" fmla="*/ 273395 h 546650"/>
                  <a:gd name="connsiteX5" fmla="*/ 273325 w 546650"/>
                  <a:gd name="connsiteY5" fmla="*/ 546651 h 546650"/>
                  <a:gd name="connsiteX6" fmla="*/ 273325 w 546650"/>
                  <a:gd name="connsiteY6" fmla="*/ 62968 h 546650"/>
                  <a:gd name="connsiteX7" fmla="*/ 62898 w 546650"/>
                  <a:gd name="connsiteY7" fmla="*/ 273395 h 546650"/>
                  <a:gd name="connsiteX8" fmla="*/ 273325 w 546650"/>
                  <a:gd name="connsiteY8" fmla="*/ 483823 h 546650"/>
                  <a:gd name="connsiteX9" fmla="*/ 483753 w 546650"/>
                  <a:gd name="connsiteY9" fmla="*/ 273395 h 546650"/>
                  <a:gd name="connsiteX10" fmla="*/ 273325 w 546650"/>
                  <a:gd name="connsiteY10" fmla="*/ 62968 h 54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6650" h="546650">
                    <a:moveTo>
                      <a:pt x="273325" y="546651"/>
                    </a:moveTo>
                    <a:cubicBezTo>
                      <a:pt x="122372" y="546651"/>
                      <a:pt x="0" y="424279"/>
                      <a:pt x="0" y="273325"/>
                    </a:cubicBezTo>
                    <a:cubicBezTo>
                      <a:pt x="0" y="122372"/>
                      <a:pt x="122372" y="0"/>
                      <a:pt x="273325" y="0"/>
                    </a:cubicBezTo>
                    <a:cubicBezTo>
                      <a:pt x="424279" y="0"/>
                      <a:pt x="546651" y="122372"/>
                      <a:pt x="546651" y="273325"/>
                    </a:cubicBezTo>
                    <a:cubicBezTo>
                      <a:pt x="546651" y="273348"/>
                      <a:pt x="546651" y="273372"/>
                      <a:pt x="546651" y="273395"/>
                    </a:cubicBezTo>
                    <a:cubicBezTo>
                      <a:pt x="546455" y="424257"/>
                      <a:pt x="424187" y="546497"/>
                      <a:pt x="273325" y="546651"/>
                    </a:cubicBezTo>
                    <a:close/>
                    <a:moveTo>
                      <a:pt x="273325" y="62968"/>
                    </a:moveTo>
                    <a:cubicBezTo>
                      <a:pt x="157109" y="62968"/>
                      <a:pt x="62898" y="157179"/>
                      <a:pt x="62898" y="273395"/>
                    </a:cubicBezTo>
                    <a:cubicBezTo>
                      <a:pt x="62898" y="389611"/>
                      <a:pt x="157109" y="483823"/>
                      <a:pt x="273325" y="483823"/>
                    </a:cubicBezTo>
                    <a:cubicBezTo>
                      <a:pt x="389541" y="483823"/>
                      <a:pt x="483753" y="389611"/>
                      <a:pt x="483753" y="273395"/>
                    </a:cubicBezTo>
                    <a:cubicBezTo>
                      <a:pt x="483638" y="157227"/>
                      <a:pt x="389493" y="63083"/>
                      <a:pt x="273325" y="62968"/>
                    </a:cubicBezTo>
                    <a:close/>
                  </a:path>
                </a:pathLst>
              </a:custGeom>
              <a:solidFill>
                <a:schemeClr val="accent1"/>
              </a:solidFill>
              <a:ln w="694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sp>
            <p:nvSpPr>
              <p:cNvPr id="80" name="Freeform 20">
                <a:extLst>
                  <a:ext uri="{FF2B5EF4-FFF2-40B4-BE49-F238E27FC236}">
                    <a16:creationId xmlns:a16="http://schemas.microsoft.com/office/drawing/2014/main" id="{00B2A04E-470E-E44F-7D64-B846CA5ECA3E}"/>
                  </a:ext>
                </a:extLst>
              </p:cNvPr>
              <p:cNvSpPr/>
              <p:nvPr/>
            </p:nvSpPr>
            <p:spPr>
              <a:xfrm>
                <a:off x="3186103" y="3565325"/>
                <a:ext cx="236307" cy="280136"/>
              </a:xfrm>
              <a:custGeom>
                <a:avLst/>
                <a:gdLst>
                  <a:gd name="connsiteX0" fmla="*/ 201899 w 236307"/>
                  <a:gd name="connsiteY0" fmla="*/ 34626 h 280136"/>
                  <a:gd name="connsiteX1" fmla="*/ 34626 w 236307"/>
                  <a:gd name="connsiteY1" fmla="*/ 34661 h 280136"/>
                  <a:gd name="connsiteX2" fmla="*/ 34661 w 236307"/>
                  <a:gd name="connsiteY2" fmla="*/ 201934 h 280136"/>
                  <a:gd name="connsiteX3" fmla="*/ 112165 w 236307"/>
                  <a:gd name="connsiteY3" fmla="*/ 277620 h 280136"/>
                  <a:gd name="connsiteX4" fmla="*/ 118245 w 236307"/>
                  <a:gd name="connsiteY4" fmla="*/ 280136 h 280136"/>
                  <a:gd name="connsiteX5" fmla="*/ 124325 w 236307"/>
                  <a:gd name="connsiteY5" fmla="*/ 277620 h 280136"/>
                  <a:gd name="connsiteX6" fmla="*/ 201899 w 236307"/>
                  <a:gd name="connsiteY6" fmla="*/ 201864 h 280136"/>
                  <a:gd name="connsiteX7" fmla="*/ 201899 w 236307"/>
                  <a:gd name="connsiteY7" fmla="*/ 34626 h 280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07" h="280136">
                    <a:moveTo>
                      <a:pt x="201899" y="34626"/>
                    </a:moveTo>
                    <a:cubicBezTo>
                      <a:pt x="155698" y="-11556"/>
                      <a:pt x="80807" y="-11540"/>
                      <a:pt x="34626" y="34661"/>
                    </a:cubicBezTo>
                    <a:cubicBezTo>
                      <a:pt x="-11556" y="80861"/>
                      <a:pt x="-11540" y="155752"/>
                      <a:pt x="34661" y="201934"/>
                    </a:cubicBezTo>
                    <a:lnTo>
                      <a:pt x="112165" y="277620"/>
                    </a:lnTo>
                    <a:cubicBezTo>
                      <a:pt x="113773" y="279239"/>
                      <a:pt x="115963" y="280145"/>
                      <a:pt x="118245" y="280136"/>
                    </a:cubicBezTo>
                    <a:cubicBezTo>
                      <a:pt x="120524" y="280129"/>
                      <a:pt x="122708" y="279226"/>
                      <a:pt x="124325" y="277620"/>
                    </a:cubicBezTo>
                    <a:lnTo>
                      <a:pt x="201899" y="201864"/>
                    </a:lnTo>
                    <a:cubicBezTo>
                      <a:pt x="247778" y="155558"/>
                      <a:pt x="247778" y="80932"/>
                      <a:pt x="201899" y="34626"/>
                    </a:cubicBezTo>
                    <a:close/>
                  </a:path>
                </a:pathLst>
              </a:custGeom>
              <a:solidFill>
                <a:schemeClr val="accent2"/>
              </a:solidFill>
              <a:ln w="694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sp>
            <p:nvSpPr>
              <p:cNvPr id="81" name="Freeform 21">
                <a:extLst>
                  <a:ext uri="{FF2B5EF4-FFF2-40B4-BE49-F238E27FC236}">
                    <a16:creationId xmlns:a16="http://schemas.microsoft.com/office/drawing/2014/main" id="{EC4B29E3-B482-7873-D48A-D878175AE5DE}"/>
                  </a:ext>
                </a:extLst>
              </p:cNvPr>
              <p:cNvSpPr/>
              <p:nvPr/>
            </p:nvSpPr>
            <p:spPr>
              <a:xfrm>
                <a:off x="3242010" y="3620777"/>
                <a:ext cx="124677" cy="124677"/>
              </a:xfrm>
              <a:custGeom>
                <a:avLst/>
                <a:gdLst>
                  <a:gd name="connsiteX0" fmla="*/ 62339 w 124677"/>
                  <a:gd name="connsiteY0" fmla="*/ 0 h 124677"/>
                  <a:gd name="connsiteX1" fmla="*/ 0 w 124677"/>
                  <a:gd name="connsiteY1" fmla="*/ 62339 h 124677"/>
                  <a:gd name="connsiteX2" fmla="*/ 62339 w 124677"/>
                  <a:gd name="connsiteY2" fmla="*/ 124677 h 124677"/>
                  <a:gd name="connsiteX3" fmla="*/ 124677 w 124677"/>
                  <a:gd name="connsiteY3" fmla="*/ 62339 h 124677"/>
                  <a:gd name="connsiteX4" fmla="*/ 124677 w 124677"/>
                  <a:gd name="connsiteY4" fmla="*/ 62269 h 124677"/>
                  <a:gd name="connsiteX5" fmla="*/ 62339 w 124677"/>
                  <a:gd name="connsiteY5" fmla="*/ 0 h 12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677" h="124677">
                    <a:moveTo>
                      <a:pt x="62339" y="0"/>
                    </a:moveTo>
                    <a:cubicBezTo>
                      <a:pt x="27910" y="0"/>
                      <a:pt x="0" y="27910"/>
                      <a:pt x="0" y="62339"/>
                    </a:cubicBezTo>
                    <a:cubicBezTo>
                      <a:pt x="0" y="96767"/>
                      <a:pt x="27910" y="124677"/>
                      <a:pt x="62339" y="124677"/>
                    </a:cubicBezTo>
                    <a:cubicBezTo>
                      <a:pt x="96767" y="124677"/>
                      <a:pt x="124677" y="96767"/>
                      <a:pt x="124677" y="62339"/>
                    </a:cubicBezTo>
                    <a:cubicBezTo>
                      <a:pt x="124677" y="62315"/>
                      <a:pt x="124677" y="62292"/>
                      <a:pt x="124677" y="62269"/>
                    </a:cubicBezTo>
                    <a:cubicBezTo>
                      <a:pt x="124600" y="27883"/>
                      <a:pt x="96724" y="38"/>
                      <a:pt x="62339" y="0"/>
                    </a:cubicBezTo>
                    <a:close/>
                  </a:path>
                </a:pathLst>
              </a:custGeom>
              <a:solidFill>
                <a:schemeClr val="accent1"/>
              </a:solidFill>
              <a:ln w="694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grpSp>
      </p:grpSp>
      <p:grpSp>
        <p:nvGrpSpPr>
          <p:cNvPr id="82" name="Group 81">
            <a:extLst>
              <a:ext uri="{FF2B5EF4-FFF2-40B4-BE49-F238E27FC236}">
                <a16:creationId xmlns:a16="http://schemas.microsoft.com/office/drawing/2014/main" id="{1C62EF66-2D49-51CA-8769-6D21C0CB85C8}"/>
              </a:ext>
            </a:extLst>
          </p:cNvPr>
          <p:cNvGrpSpPr>
            <a:grpSpLocks noChangeAspect="1"/>
          </p:cNvGrpSpPr>
          <p:nvPr/>
        </p:nvGrpSpPr>
        <p:grpSpPr>
          <a:xfrm>
            <a:off x="9472433" y="3998927"/>
            <a:ext cx="1097428" cy="1097280"/>
            <a:chOff x="9099938" y="2570463"/>
            <a:chExt cx="709803" cy="709707"/>
          </a:xfrm>
        </p:grpSpPr>
        <p:sp>
          <p:nvSpPr>
            <p:cNvPr id="83" name="Freeform: Shape 82">
              <a:extLst>
                <a:ext uri="{FF2B5EF4-FFF2-40B4-BE49-F238E27FC236}">
                  <a16:creationId xmlns:a16="http://schemas.microsoft.com/office/drawing/2014/main" id="{A9481399-DF56-BAFB-8290-D651B33FBD05}"/>
                </a:ext>
              </a:extLst>
            </p:cNvPr>
            <p:cNvSpPr/>
            <p:nvPr/>
          </p:nvSpPr>
          <p:spPr>
            <a:xfrm>
              <a:off x="9099938" y="2570463"/>
              <a:ext cx="709803" cy="709707"/>
            </a:xfrm>
            <a:custGeom>
              <a:avLst/>
              <a:gdLst>
                <a:gd name="connsiteX0" fmla="*/ 709803 w 709803"/>
                <a:gd name="connsiteY0" fmla="*/ 354806 h 709707"/>
                <a:gd name="connsiteX1" fmla="*/ 354902 w 709803"/>
                <a:gd name="connsiteY1" fmla="*/ 709708 h 709707"/>
                <a:gd name="connsiteX2" fmla="*/ 0 w 709803"/>
                <a:gd name="connsiteY2" fmla="*/ 354806 h 709707"/>
                <a:gd name="connsiteX3" fmla="*/ 354902 w 709803"/>
                <a:gd name="connsiteY3" fmla="*/ 0 h 709707"/>
                <a:gd name="connsiteX4" fmla="*/ 709803 w 709803"/>
                <a:gd name="connsiteY4" fmla="*/ 354806 h 709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803" h="709707">
                  <a:moveTo>
                    <a:pt x="709803" y="354806"/>
                  </a:moveTo>
                  <a:cubicBezTo>
                    <a:pt x="709803" y="550831"/>
                    <a:pt x="550926" y="709708"/>
                    <a:pt x="354902" y="709708"/>
                  </a:cubicBezTo>
                  <a:cubicBezTo>
                    <a:pt x="158877" y="709708"/>
                    <a:pt x="0" y="550831"/>
                    <a:pt x="0" y="354806"/>
                  </a:cubicBezTo>
                  <a:cubicBezTo>
                    <a:pt x="0" y="158782"/>
                    <a:pt x="158877" y="0"/>
                    <a:pt x="354902" y="0"/>
                  </a:cubicBezTo>
                  <a:cubicBezTo>
                    <a:pt x="550926" y="0"/>
                    <a:pt x="709803" y="158877"/>
                    <a:pt x="709803" y="354806"/>
                  </a:cubicBezTo>
                </a:path>
              </a:pathLst>
            </a:custGeom>
            <a:solidFill>
              <a:schemeClr val="accent4">
                <a:lumMod val="20000"/>
                <a:lumOff val="80000"/>
              </a:schemeClr>
            </a:solidFill>
            <a:ln w="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sp>
          <p:nvSpPr>
            <p:cNvPr id="84" name="Freeform: Shape 83">
              <a:extLst>
                <a:ext uri="{FF2B5EF4-FFF2-40B4-BE49-F238E27FC236}">
                  <a16:creationId xmlns:a16="http://schemas.microsoft.com/office/drawing/2014/main" id="{4FADFB1F-2C66-45BC-225D-95BEFB75D5A7}"/>
                </a:ext>
              </a:extLst>
            </p:cNvPr>
            <p:cNvSpPr/>
            <p:nvPr/>
          </p:nvSpPr>
          <p:spPr>
            <a:xfrm>
              <a:off x="9328252" y="2813755"/>
              <a:ext cx="365093" cy="293822"/>
            </a:xfrm>
            <a:custGeom>
              <a:avLst/>
              <a:gdLst>
                <a:gd name="connsiteX0" fmla="*/ 301657 w 365093"/>
                <a:gd name="connsiteY0" fmla="*/ 1881 h 293822"/>
                <a:gd name="connsiteX1" fmla="*/ 282130 w 365093"/>
                <a:gd name="connsiteY1" fmla="*/ 7120 h 293822"/>
                <a:gd name="connsiteX2" fmla="*/ 282130 w 365093"/>
                <a:gd name="connsiteY2" fmla="*/ 7215 h 293822"/>
                <a:gd name="connsiteX3" fmla="*/ 287179 w 365093"/>
                <a:gd name="connsiteY3" fmla="*/ 26741 h 293822"/>
                <a:gd name="connsiteX4" fmla="*/ 287179 w 365093"/>
                <a:gd name="connsiteY4" fmla="*/ 26741 h 293822"/>
                <a:gd name="connsiteX5" fmla="*/ 287465 w 365093"/>
                <a:gd name="connsiteY5" fmla="*/ 26741 h 293822"/>
                <a:gd name="connsiteX6" fmla="*/ 322993 w 365093"/>
                <a:gd name="connsiteY6" fmla="*/ 160282 h 293822"/>
                <a:gd name="connsiteX7" fmla="*/ 238696 w 365093"/>
                <a:gd name="connsiteY7" fmla="*/ 208955 h 293822"/>
                <a:gd name="connsiteX8" fmla="*/ 49245 w 365093"/>
                <a:gd name="connsiteY8" fmla="*/ 208955 h 293822"/>
                <a:gd name="connsiteX9" fmla="*/ 81153 w 365093"/>
                <a:gd name="connsiteY9" fmla="*/ 177332 h 293822"/>
                <a:gd name="connsiteX10" fmla="*/ 80963 w 365093"/>
                <a:gd name="connsiteY10" fmla="*/ 156948 h 293822"/>
                <a:gd name="connsiteX11" fmla="*/ 60579 w 365093"/>
                <a:gd name="connsiteY11" fmla="*/ 157139 h 293822"/>
                <a:gd name="connsiteX12" fmla="*/ 4096 w 365093"/>
                <a:gd name="connsiteY12" fmla="*/ 213622 h 293822"/>
                <a:gd name="connsiteX13" fmla="*/ 3048 w 365093"/>
                <a:gd name="connsiteY13" fmla="*/ 215051 h 293822"/>
                <a:gd name="connsiteX14" fmla="*/ 1143 w 365093"/>
                <a:gd name="connsiteY14" fmla="*/ 218003 h 293822"/>
                <a:gd name="connsiteX15" fmla="*/ 0 w 365093"/>
                <a:gd name="connsiteY15" fmla="*/ 223623 h 293822"/>
                <a:gd name="connsiteX16" fmla="*/ 1238 w 365093"/>
                <a:gd name="connsiteY16" fmla="*/ 229338 h 293822"/>
                <a:gd name="connsiteX17" fmla="*/ 3048 w 365093"/>
                <a:gd name="connsiteY17" fmla="*/ 232195 h 293822"/>
                <a:gd name="connsiteX18" fmla="*/ 4191 w 365093"/>
                <a:gd name="connsiteY18" fmla="*/ 233815 h 293822"/>
                <a:gd name="connsiteX19" fmla="*/ 60293 w 365093"/>
                <a:gd name="connsiteY19" fmla="*/ 289536 h 293822"/>
                <a:gd name="connsiteX20" fmla="*/ 70485 w 365093"/>
                <a:gd name="connsiteY20" fmla="*/ 293822 h 293822"/>
                <a:gd name="connsiteX21" fmla="*/ 84868 w 365093"/>
                <a:gd name="connsiteY21" fmla="*/ 279249 h 293822"/>
                <a:gd name="connsiteX22" fmla="*/ 80677 w 365093"/>
                <a:gd name="connsiteY22" fmla="*/ 269153 h 293822"/>
                <a:gd name="connsiteX23" fmla="*/ 49245 w 365093"/>
                <a:gd name="connsiteY23" fmla="*/ 237720 h 293822"/>
                <a:gd name="connsiteX24" fmla="*/ 238602 w 365093"/>
                <a:gd name="connsiteY24" fmla="*/ 237720 h 293822"/>
                <a:gd name="connsiteX25" fmla="*/ 365093 w 365093"/>
                <a:gd name="connsiteY25" fmla="*/ 111228 h 293822"/>
                <a:gd name="connsiteX26" fmla="*/ 301847 w 365093"/>
                <a:gd name="connsiteY26" fmla="*/ 1691 h 293822"/>
                <a:gd name="connsiteX27" fmla="*/ 301847 w 365093"/>
                <a:gd name="connsiteY27" fmla="*/ 1976 h 29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5093" h="293822">
                  <a:moveTo>
                    <a:pt x="301657" y="1881"/>
                  </a:moveTo>
                  <a:cubicBezTo>
                    <a:pt x="294799" y="-2024"/>
                    <a:pt x="286036" y="357"/>
                    <a:pt x="282130" y="7120"/>
                  </a:cubicBezTo>
                  <a:cubicBezTo>
                    <a:pt x="282130" y="7120"/>
                    <a:pt x="282130" y="7120"/>
                    <a:pt x="282130" y="7215"/>
                  </a:cubicBezTo>
                  <a:cubicBezTo>
                    <a:pt x="278130" y="13978"/>
                    <a:pt x="280416" y="22741"/>
                    <a:pt x="287179" y="26741"/>
                  </a:cubicBezTo>
                  <a:cubicBezTo>
                    <a:pt x="287179" y="26741"/>
                    <a:pt x="287179" y="26741"/>
                    <a:pt x="287179" y="26741"/>
                  </a:cubicBezTo>
                  <a:lnTo>
                    <a:pt x="287465" y="26741"/>
                  </a:lnTo>
                  <a:cubicBezTo>
                    <a:pt x="334137" y="53792"/>
                    <a:pt x="350044" y="113609"/>
                    <a:pt x="322993" y="160282"/>
                  </a:cubicBezTo>
                  <a:cubicBezTo>
                    <a:pt x="305562" y="190381"/>
                    <a:pt x="273463" y="208859"/>
                    <a:pt x="238696" y="208955"/>
                  </a:cubicBezTo>
                  <a:lnTo>
                    <a:pt x="49245" y="208955"/>
                  </a:lnTo>
                  <a:lnTo>
                    <a:pt x="81153" y="177332"/>
                  </a:lnTo>
                  <a:cubicBezTo>
                    <a:pt x="86773" y="171617"/>
                    <a:pt x="86678" y="162473"/>
                    <a:pt x="80963" y="156948"/>
                  </a:cubicBezTo>
                  <a:cubicBezTo>
                    <a:pt x="75248" y="151328"/>
                    <a:pt x="66104" y="151424"/>
                    <a:pt x="60579" y="157139"/>
                  </a:cubicBezTo>
                  <a:lnTo>
                    <a:pt x="4096" y="213622"/>
                  </a:lnTo>
                  <a:cubicBezTo>
                    <a:pt x="4096" y="213622"/>
                    <a:pt x="3334" y="214574"/>
                    <a:pt x="3048" y="215051"/>
                  </a:cubicBezTo>
                  <a:cubicBezTo>
                    <a:pt x="2286" y="216003"/>
                    <a:pt x="1620" y="216956"/>
                    <a:pt x="1143" y="218003"/>
                  </a:cubicBezTo>
                  <a:cubicBezTo>
                    <a:pt x="381" y="219813"/>
                    <a:pt x="0" y="221718"/>
                    <a:pt x="0" y="223623"/>
                  </a:cubicBezTo>
                  <a:cubicBezTo>
                    <a:pt x="0" y="225624"/>
                    <a:pt x="477" y="227528"/>
                    <a:pt x="1238" y="229338"/>
                  </a:cubicBezTo>
                  <a:cubicBezTo>
                    <a:pt x="1715" y="230386"/>
                    <a:pt x="2286" y="231338"/>
                    <a:pt x="3048" y="232195"/>
                  </a:cubicBezTo>
                  <a:cubicBezTo>
                    <a:pt x="3429" y="232767"/>
                    <a:pt x="3810" y="233243"/>
                    <a:pt x="4191" y="233815"/>
                  </a:cubicBezTo>
                  <a:lnTo>
                    <a:pt x="60293" y="289536"/>
                  </a:lnTo>
                  <a:cubicBezTo>
                    <a:pt x="62961" y="292299"/>
                    <a:pt x="66580" y="293822"/>
                    <a:pt x="70485" y="293822"/>
                  </a:cubicBezTo>
                  <a:cubicBezTo>
                    <a:pt x="78486" y="293822"/>
                    <a:pt x="84868" y="287250"/>
                    <a:pt x="84868" y="279249"/>
                  </a:cubicBezTo>
                  <a:cubicBezTo>
                    <a:pt x="84868" y="275439"/>
                    <a:pt x="83344" y="271820"/>
                    <a:pt x="80677" y="269153"/>
                  </a:cubicBezTo>
                  <a:lnTo>
                    <a:pt x="49245" y="237720"/>
                  </a:lnTo>
                  <a:lnTo>
                    <a:pt x="238602" y="237720"/>
                  </a:lnTo>
                  <a:cubicBezTo>
                    <a:pt x="308420" y="237720"/>
                    <a:pt x="365093" y="181142"/>
                    <a:pt x="365093" y="111228"/>
                  </a:cubicBezTo>
                  <a:cubicBezTo>
                    <a:pt x="365093" y="65984"/>
                    <a:pt x="340995" y="24265"/>
                    <a:pt x="301847" y="1691"/>
                  </a:cubicBezTo>
                  <a:lnTo>
                    <a:pt x="301847" y="1976"/>
                  </a:lnTo>
                  <a:close/>
                </a:path>
              </a:pathLst>
            </a:custGeom>
            <a:solidFill>
              <a:srgbClr val="19BAB6"/>
            </a:solidFill>
            <a:ln w="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sp>
          <p:nvSpPr>
            <p:cNvPr id="85" name="Freeform: Shape 84">
              <a:extLst>
                <a:ext uri="{FF2B5EF4-FFF2-40B4-BE49-F238E27FC236}">
                  <a16:creationId xmlns:a16="http://schemas.microsoft.com/office/drawing/2014/main" id="{E3AB9D37-87B6-D6EC-F1C2-9B25FB20C3C8}"/>
                </a:ext>
              </a:extLst>
            </p:cNvPr>
            <p:cNvSpPr/>
            <p:nvPr/>
          </p:nvSpPr>
          <p:spPr>
            <a:xfrm>
              <a:off x="9217096" y="2742961"/>
              <a:ext cx="364617" cy="293750"/>
            </a:xfrm>
            <a:custGeom>
              <a:avLst/>
              <a:gdLst>
                <a:gd name="connsiteX0" fmla="*/ 363284 w 364617"/>
                <a:gd name="connsiteY0" fmla="*/ 64484 h 293750"/>
                <a:gd name="connsiteX1" fmla="*/ 361474 w 364617"/>
                <a:gd name="connsiteY1" fmla="*/ 61627 h 293750"/>
                <a:gd name="connsiteX2" fmla="*/ 360331 w 364617"/>
                <a:gd name="connsiteY2" fmla="*/ 60008 h 293750"/>
                <a:gd name="connsiteX3" fmla="*/ 304229 w 364617"/>
                <a:gd name="connsiteY3" fmla="*/ 4286 h 293750"/>
                <a:gd name="connsiteX4" fmla="*/ 294132 w 364617"/>
                <a:gd name="connsiteY4" fmla="*/ 0 h 293750"/>
                <a:gd name="connsiteX5" fmla="*/ 279749 w 364617"/>
                <a:gd name="connsiteY5" fmla="*/ 14573 h 293750"/>
                <a:gd name="connsiteX6" fmla="*/ 283940 w 364617"/>
                <a:gd name="connsiteY6" fmla="*/ 24670 h 293750"/>
                <a:gd name="connsiteX7" fmla="*/ 315468 w 364617"/>
                <a:gd name="connsiteY7" fmla="*/ 56102 h 293750"/>
                <a:gd name="connsiteX8" fmla="*/ 126302 w 364617"/>
                <a:gd name="connsiteY8" fmla="*/ 56102 h 293750"/>
                <a:gd name="connsiteX9" fmla="*/ 0 w 364617"/>
                <a:gd name="connsiteY9" fmla="*/ 182785 h 293750"/>
                <a:gd name="connsiteX10" fmla="*/ 62865 w 364617"/>
                <a:gd name="connsiteY10" fmla="*/ 291846 h 293750"/>
                <a:gd name="connsiteX11" fmla="*/ 69914 w 364617"/>
                <a:gd name="connsiteY11" fmla="*/ 293751 h 293750"/>
                <a:gd name="connsiteX12" fmla="*/ 82392 w 364617"/>
                <a:gd name="connsiteY12" fmla="*/ 286417 h 293750"/>
                <a:gd name="connsiteX13" fmla="*/ 77343 w 364617"/>
                <a:gd name="connsiteY13" fmla="*/ 266891 h 293750"/>
                <a:gd name="connsiteX14" fmla="*/ 77343 w 364617"/>
                <a:gd name="connsiteY14" fmla="*/ 266891 h 293750"/>
                <a:gd name="connsiteX15" fmla="*/ 41434 w 364617"/>
                <a:gd name="connsiteY15" fmla="*/ 133445 h 293750"/>
                <a:gd name="connsiteX16" fmla="*/ 126302 w 364617"/>
                <a:gd name="connsiteY16" fmla="*/ 84487 h 293750"/>
                <a:gd name="connsiteX17" fmla="*/ 315373 w 364617"/>
                <a:gd name="connsiteY17" fmla="*/ 84487 h 293750"/>
                <a:gd name="connsiteX18" fmla="*/ 283464 w 364617"/>
                <a:gd name="connsiteY18" fmla="*/ 116205 h 293750"/>
                <a:gd name="connsiteX19" fmla="*/ 283655 w 364617"/>
                <a:gd name="connsiteY19" fmla="*/ 136588 h 293750"/>
                <a:gd name="connsiteX20" fmla="*/ 304038 w 364617"/>
                <a:gd name="connsiteY20" fmla="*/ 136398 h 293750"/>
                <a:gd name="connsiteX21" fmla="*/ 360331 w 364617"/>
                <a:gd name="connsiteY21" fmla="*/ 80105 h 293750"/>
                <a:gd name="connsiteX22" fmla="*/ 361379 w 364617"/>
                <a:gd name="connsiteY22" fmla="*/ 78677 h 293750"/>
                <a:gd name="connsiteX23" fmla="*/ 363284 w 364617"/>
                <a:gd name="connsiteY23" fmla="*/ 75724 h 293750"/>
                <a:gd name="connsiteX24" fmla="*/ 364617 w 364617"/>
                <a:gd name="connsiteY24" fmla="*/ 69913 h 293750"/>
                <a:gd name="connsiteX25" fmla="*/ 363379 w 364617"/>
                <a:gd name="connsiteY25" fmla="*/ 64199 h 2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4617" h="293750">
                  <a:moveTo>
                    <a:pt x="363284" y="64484"/>
                  </a:moveTo>
                  <a:cubicBezTo>
                    <a:pt x="362808" y="63437"/>
                    <a:pt x="362236" y="62484"/>
                    <a:pt x="361474" y="61627"/>
                  </a:cubicBezTo>
                  <a:cubicBezTo>
                    <a:pt x="361093" y="61055"/>
                    <a:pt x="360712" y="60579"/>
                    <a:pt x="360331" y="60008"/>
                  </a:cubicBezTo>
                  <a:lnTo>
                    <a:pt x="304229" y="4286"/>
                  </a:lnTo>
                  <a:cubicBezTo>
                    <a:pt x="301562" y="1524"/>
                    <a:pt x="297942" y="0"/>
                    <a:pt x="294132" y="0"/>
                  </a:cubicBezTo>
                  <a:cubicBezTo>
                    <a:pt x="286131" y="0"/>
                    <a:pt x="279749" y="6572"/>
                    <a:pt x="279749" y="14573"/>
                  </a:cubicBezTo>
                  <a:cubicBezTo>
                    <a:pt x="279749" y="18383"/>
                    <a:pt x="281274" y="22003"/>
                    <a:pt x="283940" y="24670"/>
                  </a:cubicBezTo>
                  <a:lnTo>
                    <a:pt x="315468" y="56102"/>
                  </a:lnTo>
                  <a:lnTo>
                    <a:pt x="126302" y="56102"/>
                  </a:lnTo>
                  <a:cubicBezTo>
                    <a:pt x="56483" y="56198"/>
                    <a:pt x="-95" y="112871"/>
                    <a:pt x="0" y="182785"/>
                  </a:cubicBezTo>
                  <a:cubicBezTo>
                    <a:pt x="0" y="227743"/>
                    <a:pt x="24003" y="269272"/>
                    <a:pt x="62865" y="291846"/>
                  </a:cubicBezTo>
                  <a:cubicBezTo>
                    <a:pt x="64961" y="293084"/>
                    <a:pt x="67437" y="293751"/>
                    <a:pt x="69914" y="293751"/>
                  </a:cubicBezTo>
                  <a:cubicBezTo>
                    <a:pt x="75057" y="293751"/>
                    <a:pt x="79820" y="290989"/>
                    <a:pt x="82392" y="286417"/>
                  </a:cubicBezTo>
                  <a:cubicBezTo>
                    <a:pt x="86392" y="279654"/>
                    <a:pt x="84106" y="270891"/>
                    <a:pt x="77343" y="266891"/>
                  </a:cubicBezTo>
                  <a:cubicBezTo>
                    <a:pt x="77343" y="266891"/>
                    <a:pt x="77343" y="266891"/>
                    <a:pt x="77343" y="266891"/>
                  </a:cubicBezTo>
                  <a:cubicBezTo>
                    <a:pt x="30576" y="239935"/>
                    <a:pt x="14478" y="180213"/>
                    <a:pt x="41434" y="133445"/>
                  </a:cubicBezTo>
                  <a:cubicBezTo>
                    <a:pt x="58960" y="103061"/>
                    <a:pt x="91250" y="84392"/>
                    <a:pt x="126302" y="84487"/>
                  </a:cubicBezTo>
                  <a:lnTo>
                    <a:pt x="315373" y="84487"/>
                  </a:lnTo>
                  <a:lnTo>
                    <a:pt x="283464" y="116205"/>
                  </a:lnTo>
                  <a:cubicBezTo>
                    <a:pt x="277844" y="121920"/>
                    <a:pt x="277940" y="131064"/>
                    <a:pt x="283655" y="136588"/>
                  </a:cubicBezTo>
                  <a:cubicBezTo>
                    <a:pt x="289370" y="142208"/>
                    <a:pt x="298514" y="142113"/>
                    <a:pt x="304038" y="136398"/>
                  </a:cubicBezTo>
                  <a:lnTo>
                    <a:pt x="360331" y="80105"/>
                  </a:lnTo>
                  <a:cubicBezTo>
                    <a:pt x="360331" y="80105"/>
                    <a:pt x="361093" y="79153"/>
                    <a:pt x="361379" y="78677"/>
                  </a:cubicBezTo>
                  <a:cubicBezTo>
                    <a:pt x="362141" y="77819"/>
                    <a:pt x="362808" y="76771"/>
                    <a:pt x="363284" y="75724"/>
                  </a:cubicBezTo>
                  <a:cubicBezTo>
                    <a:pt x="364141" y="73914"/>
                    <a:pt x="364522" y="71914"/>
                    <a:pt x="364617" y="69913"/>
                  </a:cubicBezTo>
                  <a:cubicBezTo>
                    <a:pt x="364617" y="67913"/>
                    <a:pt x="364141" y="66008"/>
                    <a:pt x="363379" y="64199"/>
                  </a:cubicBezTo>
                </a:path>
              </a:pathLst>
            </a:custGeom>
            <a:solidFill>
              <a:srgbClr val="2167AE"/>
            </a:solidFill>
            <a:ln w="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grpSp>
      <p:grpSp>
        <p:nvGrpSpPr>
          <p:cNvPr id="86" name="Group 85">
            <a:extLst>
              <a:ext uri="{FF2B5EF4-FFF2-40B4-BE49-F238E27FC236}">
                <a16:creationId xmlns:a16="http://schemas.microsoft.com/office/drawing/2014/main" id="{C9E540AC-AE91-BD94-5D65-3C13EE1FE04B}"/>
              </a:ext>
            </a:extLst>
          </p:cNvPr>
          <p:cNvGrpSpPr>
            <a:grpSpLocks noChangeAspect="1"/>
          </p:cNvGrpSpPr>
          <p:nvPr/>
        </p:nvGrpSpPr>
        <p:grpSpPr>
          <a:xfrm>
            <a:off x="6751881" y="3998927"/>
            <a:ext cx="1098169" cy="1097280"/>
            <a:chOff x="8499992" y="3223669"/>
            <a:chExt cx="978408" cy="978408"/>
          </a:xfrm>
        </p:grpSpPr>
        <p:sp>
          <p:nvSpPr>
            <p:cNvPr id="87" name="Freeform 24">
              <a:extLst>
                <a:ext uri="{FF2B5EF4-FFF2-40B4-BE49-F238E27FC236}">
                  <a16:creationId xmlns:a16="http://schemas.microsoft.com/office/drawing/2014/main" id="{6C51C046-7C36-0719-47CF-BA0B2D5A1B4A}"/>
                </a:ext>
              </a:extLst>
            </p:cNvPr>
            <p:cNvSpPr/>
            <p:nvPr/>
          </p:nvSpPr>
          <p:spPr>
            <a:xfrm>
              <a:off x="8499992" y="3223669"/>
              <a:ext cx="978408" cy="978408"/>
            </a:xfrm>
            <a:custGeom>
              <a:avLst/>
              <a:gdLst>
                <a:gd name="connsiteX0" fmla="*/ 978408 w 978408"/>
                <a:gd name="connsiteY0" fmla="*/ 489204 h 978408"/>
                <a:gd name="connsiteX1" fmla="*/ 489204 w 978408"/>
                <a:gd name="connsiteY1" fmla="*/ 978408 h 978408"/>
                <a:gd name="connsiteX2" fmla="*/ 0 w 978408"/>
                <a:gd name="connsiteY2" fmla="*/ 489204 h 978408"/>
                <a:gd name="connsiteX3" fmla="*/ 489204 w 978408"/>
                <a:gd name="connsiteY3" fmla="*/ 0 h 978408"/>
                <a:gd name="connsiteX4" fmla="*/ 978408 w 978408"/>
                <a:gd name="connsiteY4" fmla="*/ 489204 h 978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8408" h="978408">
                  <a:moveTo>
                    <a:pt x="978408" y="489204"/>
                  </a:moveTo>
                  <a:cubicBezTo>
                    <a:pt x="978408" y="759384"/>
                    <a:pt x="759384" y="978408"/>
                    <a:pt x="489204" y="978408"/>
                  </a:cubicBezTo>
                  <a:cubicBezTo>
                    <a:pt x="219024" y="978408"/>
                    <a:pt x="0" y="759384"/>
                    <a:pt x="0" y="489204"/>
                  </a:cubicBezTo>
                  <a:cubicBezTo>
                    <a:pt x="0" y="219024"/>
                    <a:pt x="219024" y="0"/>
                    <a:pt x="489204" y="0"/>
                  </a:cubicBezTo>
                  <a:cubicBezTo>
                    <a:pt x="759384" y="0"/>
                    <a:pt x="978408" y="219024"/>
                    <a:pt x="978408" y="489204"/>
                  </a:cubicBezTo>
                </a:path>
              </a:pathLst>
            </a:custGeom>
            <a:solidFill>
              <a:schemeClr val="accent4">
                <a:lumMod val="20000"/>
                <a:lumOff val="80000"/>
              </a:schemeClr>
            </a:solidFill>
            <a:ln w="694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grpSp>
          <p:nvGrpSpPr>
            <p:cNvPr id="88" name="Graphic 46">
              <a:extLst>
                <a:ext uri="{FF2B5EF4-FFF2-40B4-BE49-F238E27FC236}">
                  <a16:creationId xmlns:a16="http://schemas.microsoft.com/office/drawing/2014/main" id="{521BC30C-606A-CDDC-D6EB-65A68F1F4A0B}"/>
                </a:ext>
              </a:extLst>
            </p:cNvPr>
            <p:cNvGrpSpPr/>
            <p:nvPr/>
          </p:nvGrpSpPr>
          <p:grpSpPr>
            <a:xfrm>
              <a:off x="8752561" y="3418645"/>
              <a:ext cx="473130" cy="588448"/>
              <a:chOff x="8752561" y="3418645"/>
              <a:chExt cx="473130" cy="588448"/>
            </a:xfrm>
          </p:grpSpPr>
          <p:sp>
            <p:nvSpPr>
              <p:cNvPr id="89" name="Freeform 26">
                <a:extLst>
                  <a:ext uri="{FF2B5EF4-FFF2-40B4-BE49-F238E27FC236}">
                    <a16:creationId xmlns:a16="http://schemas.microsoft.com/office/drawing/2014/main" id="{35F9A0A3-973F-58E2-AFA6-D86856115E97}"/>
                  </a:ext>
                </a:extLst>
              </p:cNvPr>
              <p:cNvSpPr/>
              <p:nvPr/>
            </p:nvSpPr>
            <p:spPr>
              <a:xfrm>
                <a:off x="8768355" y="3462749"/>
                <a:ext cx="441681" cy="528549"/>
              </a:xfrm>
              <a:custGeom>
                <a:avLst/>
                <a:gdLst>
                  <a:gd name="connsiteX0" fmla="*/ 441681 w 441681"/>
                  <a:gd name="connsiteY0" fmla="*/ 65903 h 528549"/>
                  <a:gd name="connsiteX1" fmla="*/ 375779 w 441681"/>
                  <a:gd name="connsiteY1" fmla="*/ 0 h 528549"/>
                  <a:gd name="connsiteX2" fmla="*/ 65903 w 441681"/>
                  <a:gd name="connsiteY2" fmla="*/ 0 h 528549"/>
                  <a:gd name="connsiteX3" fmla="*/ 0 w 441681"/>
                  <a:gd name="connsiteY3" fmla="*/ 65903 h 528549"/>
                  <a:gd name="connsiteX4" fmla="*/ 0 w 441681"/>
                  <a:gd name="connsiteY4" fmla="*/ 462997 h 528549"/>
                  <a:gd name="connsiteX5" fmla="*/ 65553 w 441681"/>
                  <a:gd name="connsiteY5" fmla="*/ 528550 h 528549"/>
                  <a:gd name="connsiteX6" fmla="*/ 375918 w 441681"/>
                  <a:gd name="connsiteY6" fmla="*/ 528550 h 528549"/>
                  <a:gd name="connsiteX7" fmla="*/ 441472 w 441681"/>
                  <a:gd name="connsiteY7" fmla="*/ 462997 h 528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681" h="528549">
                    <a:moveTo>
                      <a:pt x="441681" y="65903"/>
                    </a:moveTo>
                    <a:cubicBezTo>
                      <a:pt x="441681" y="29506"/>
                      <a:pt x="412175" y="0"/>
                      <a:pt x="375779" y="0"/>
                    </a:cubicBezTo>
                    <a:lnTo>
                      <a:pt x="65903" y="0"/>
                    </a:lnTo>
                    <a:cubicBezTo>
                      <a:pt x="29506" y="0"/>
                      <a:pt x="0" y="29506"/>
                      <a:pt x="0" y="65903"/>
                    </a:cubicBezTo>
                    <a:lnTo>
                      <a:pt x="0" y="462997"/>
                    </a:lnTo>
                    <a:cubicBezTo>
                      <a:pt x="0" y="499198"/>
                      <a:pt x="29349" y="528550"/>
                      <a:pt x="65553" y="528550"/>
                    </a:cubicBezTo>
                    <a:lnTo>
                      <a:pt x="375918" y="528550"/>
                    </a:lnTo>
                    <a:cubicBezTo>
                      <a:pt x="412122" y="528550"/>
                      <a:pt x="441472" y="499198"/>
                      <a:pt x="441472" y="462997"/>
                    </a:cubicBezTo>
                    <a:close/>
                  </a:path>
                </a:pathLst>
              </a:custGeom>
              <a:solidFill>
                <a:srgbClr val="ECEEEF"/>
              </a:solidFill>
              <a:ln w="694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sp>
            <p:nvSpPr>
              <p:cNvPr id="90" name="Freeform 38">
                <a:extLst>
                  <a:ext uri="{FF2B5EF4-FFF2-40B4-BE49-F238E27FC236}">
                    <a16:creationId xmlns:a16="http://schemas.microsoft.com/office/drawing/2014/main" id="{6CAA766C-E514-EB6C-2FA5-A22F625209C7}"/>
                  </a:ext>
                </a:extLst>
              </p:cNvPr>
              <p:cNvSpPr/>
              <p:nvPr/>
            </p:nvSpPr>
            <p:spPr>
              <a:xfrm>
                <a:off x="8831202" y="3597908"/>
                <a:ext cx="207941" cy="35226"/>
              </a:xfrm>
              <a:custGeom>
                <a:avLst/>
                <a:gdLst>
                  <a:gd name="connsiteX0" fmla="*/ 19828 w 207941"/>
                  <a:gd name="connsiteY0" fmla="*/ 35085 h 35226"/>
                  <a:gd name="connsiteX1" fmla="*/ 188114 w 207941"/>
                  <a:gd name="connsiteY1" fmla="*/ 35085 h 35226"/>
                  <a:gd name="connsiteX2" fmla="*/ 207800 w 207941"/>
                  <a:gd name="connsiteY2" fmla="*/ 19828 h 35226"/>
                  <a:gd name="connsiteX3" fmla="*/ 192543 w 207941"/>
                  <a:gd name="connsiteY3" fmla="*/ 142 h 35226"/>
                  <a:gd name="connsiteX4" fmla="*/ 188114 w 207941"/>
                  <a:gd name="connsiteY4" fmla="*/ 142 h 35226"/>
                  <a:gd name="connsiteX5" fmla="*/ 19828 w 207941"/>
                  <a:gd name="connsiteY5" fmla="*/ 142 h 35226"/>
                  <a:gd name="connsiteX6" fmla="*/ 142 w 207941"/>
                  <a:gd name="connsiteY6" fmla="*/ 15399 h 35226"/>
                  <a:gd name="connsiteX7" fmla="*/ 15399 w 207941"/>
                  <a:gd name="connsiteY7" fmla="*/ 35085 h 35226"/>
                  <a:gd name="connsiteX8" fmla="*/ 19828 w 207941"/>
                  <a:gd name="connsiteY8" fmla="*/ 35085 h 35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941" h="35226">
                    <a:moveTo>
                      <a:pt x="19828" y="35085"/>
                    </a:moveTo>
                    <a:lnTo>
                      <a:pt x="188114" y="35085"/>
                    </a:lnTo>
                    <a:cubicBezTo>
                      <a:pt x="197763" y="36308"/>
                      <a:pt x="206577" y="29477"/>
                      <a:pt x="207800" y="19828"/>
                    </a:cubicBezTo>
                    <a:cubicBezTo>
                      <a:pt x="209023" y="10178"/>
                      <a:pt x="202192" y="1365"/>
                      <a:pt x="192543" y="142"/>
                    </a:cubicBezTo>
                    <a:cubicBezTo>
                      <a:pt x="191072" y="-45"/>
                      <a:pt x="189585" y="-45"/>
                      <a:pt x="188114" y="142"/>
                    </a:cubicBezTo>
                    <a:lnTo>
                      <a:pt x="19828" y="142"/>
                    </a:lnTo>
                    <a:cubicBezTo>
                      <a:pt x="10179" y="-1081"/>
                      <a:pt x="1365" y="5749"/>
                      <a:pt x="142" y="15399"/>
                    </a:cubicBezTo>
                    <a:cubicBezTo>
                      <a:pt x="-1081" y="25048"/>
                      <a:pt x="5750" y="33862"/>
                      <a:pt x="15399" y="35085"/>
                    </a:cubicBezTo>
                    <a:cubicBezTo>
                      <a:pt x="16870" y="35271"/>
                      <a:pt x="18358" y="35271"/>
                      <a:pt x="19828" y="35085"/>
                    </a:cubicBezTo>
                    <a:close/>
                  </a:path>
                </a:pathLst>
              </a:custGeom>
              <a:solidFill>
                <a:schemeClr val="accent2"/>
              </a:solidFill>
              <a:ln w="694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sp>
            <p:nvSpPr>
              <p:cNvPr id="91" name="Freeform 39">
                <a:extLst>
                  <a:ext uri="{FF2B5EF4-FFF2-40B4-BE49-F238E27FC236}">
                    <a16:creationId xmlns:a16="http://schemas.microsoft.com/office/drawing/2014/main" id="{1BE24F99-A358-CD5C-02D4-5B77D410DF4F}"/>
                  </a:ext>
                </a:extLst>
              </p:cNvPr>
              <p:cNvSpPr/>
              <p:nvPr/>
            </p:nvSpPr>
            <p:spPr>
              <a:xfrm>
                <a:off x="8830632" y="3722095"/>
                <a:ext cx="209083" cy="35367"/>
              </a:xfrm>
              <a:custGeom>
                <a:avLst/>
                <a:gdLst>
                  <a:gd name="connsiteX0" fmla="*/ 188685 w 209083"/>
                  <a:gd name="connsiteY0" fmla="*/ 212 h 35367"/>
                  <a:gd name="connsiteX1" fmla="*/ 20399 w 209083"/>
                  <a:gd name="connsiteY1" fmla="*/ 212 h 35367"/>
                  <a:gd name="connsiteX2" fmla="*/ 212 w 209083"/>
                  <a:gd name="connsiteY2" fmla="*/ 14969 h 35367"/>
                  <a:gd name="connsiteX3" fmla="*/ 14969 w 209083"/>
                  <a:gd name="connsiteY3" fmla="*/ 35155 h 35367"/>
                  <a:gd name="connsiteX4" fmla="*/ 20399 w 209083"/>
                  <a:gd name="connsiteY4" fmla="*/ 35155 h 35367"/>
                  <a:gd name="connsiteX5" fmla="*/ 188685 w 209083"/>
                  <a:gd name="connsiteY5" fmla="*/ 35155 h 35367"/>
                  <a:gd name="connsiteX6" fmla="*/ 208872 w 209083"/>
                  <a:gd name="connsiteY6" fmla="*/ 20399 h 35367"/>
                  <a:gd name="connsiteX7" fmla="*/ 194114 w 209083"/>
                  <a:gd name="connsiteY7" fmla="*/ 212 h 35367"/>
                  <a:gd name="connsiteX8" fmla="*/ 188685 w 209083"/>
                  <a:gd name="connsiteY8" fmla="*/ 212 h 3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83" h="35367">
                    <a:moveTo>
                      <a:pt x="188685" y="212"/>
                    </a:moveTo>
                    <a:lnTo>
                      <a:pt x="20399" y="212"/>
                    </a:lnTo>
                    <a:cubicBezTo>
                      <a:pt x="10750" y="-1287"/>
                      <a:pt x="1712" y="5319"/>
                      <a:pt x="212" y="14969"/>
                    </a:cubicBezTo>
                    <a:cubicBezTo>
                      <a:pt x="-1287" y="24619"/>
                      <a:pt x="5320" y="33656"/>
                      <a:pt x="14969" y="35155"/>
                    </a:cubicBezTo>
                    <a:cubicBezTo>
                      <a:pt x="16768" y="35435"/>
                      <a:pt x="18600" y="35435"/>
                      <a:pt x="20399" y="35155"/>
                    </a:cubicBezTo>
                    <a:lnTo>
                      <a:pt x="188685" y="35155"/>
                    </a:lnTo>
                    <a:cubicBezTo>
                      <a:pt x="198334" y="36654"/>
                      <a:pt x="207372" y="30048"/>
                      <a:pt x="208872" y="20399"/>
                    </a:cubicBezTo>
                    <a:cubicBezTo>
                      <a:pt x="210371" y="10749"/>
                      <a:pt x="203764" y="1711"/>
                      <a:pt x="194114" y="212"/>
                    </a:cubicBezTo>
                    <a:cubicBezTo>
                      <a:pt x="192316" y="-67"/>
                      <a:pt x="190484" y="-67"/>
                      <a:pt x="188685" y="212"/>
                    </a:cubicBezTo>
                    <a:close/>
                  </a:path>
                </a:pathLst>
              </a:custGeom>
              <a:solidFill>
                <a:schemeClr val="accent2"/>
              </a:solidFill>
              <a:ln w="694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sp>
            <p:nvSpPr>
              <p:cNvPr id="92" name="Freeform 40">
                <a:extLst>
                  <a:ext uri="{FF2B5EF4-FFF2-40B4-BE49-F238E27FC236}">
                    <a16:creationId xmlns:a16="http://schemas.microsoft.com/office/drawing/2014/main" id="{02F45ECF-AACE-3AFD-35A6-DDABF6E62ECD}"/>
                  </a:ext>
                </a:extLst>
              </p:cNvPr>
              <p:cNvSpPr/>
              <p:nvPr/>
            </p:nvSpPr>
            <p:spPr>
              <a:xfrm>
                <a:off x="8830632" y="3846493"/>
                <a:ext cx="205589" cy="35367"/>
              </a:xfrm>
              <a:custGeom>
                <a:avLst/>
                <a:gdLst>
                  <a:gd name="connsiteX0" fmla="*/ 185191 w 205589"/>
                  <a:gd name="connsiteY0" fmla="*/ 212 h 35367"/>
                  <a:gd name="connsiteX1" fmla="*/ 20399 w 205589"/>
                  <a:gd name="connsiteY1" fmla="*/ 212 h 35367"/>
                  <a:gd name="connsiteX2" fmla="*/ 212 w 205589"/>
                  <a:gd name="connsiteY2" fmla="*/ 14969 h 35367"/>
                  <a:gd name="connsiteX3" fmla="*/ 14969 w 205589"/>
                  <a:gd name="connsiteY3" fmla="*/ 35155 h 35367"/>
                  <a:gd name="connsiteX4" fmla="*/ 20399 w 205589"/>
                  <a:gd name="connsiteY4" fmla="*/ 35155 h 35367"/>
                  <a:gd name="connsiteX5" fmla="*/ 185191 w 205589"/>
                  <a:gd name="connsiteY5" fmla="*/ 35155 h 35367"/>
                  <a:gd name="connsiteX6" fmla="*/ 205377 w 205589"/>
                  <a:gd name="connsiteY6" fmla="*/ 20399 h 35367"/>
                  <a:gd name="connsiteX7" fmla="*/ 190620 w 205589"/>
                  <a:gd name="connsiteY7" fmla="*/ 212 h 35367"/>
                  <a:gd name="connsiteX8" fmla="*/ 185191 w 205589"/>
                  <a:gd name="connsiteY8" fmla="*/ 212 h 3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589" h="35367">
                    <a:moveTo>
                      <a:pt x="185191" y="212"/>
                    </a:moveTo>
                    <a:lnTo>
                      <a:pt x="20399" y="212"/>
                    </a:lnTo>
                    <a:cubicBezTo>
                      <a:pt x="10750" y="-1287"/>
                      <a:pt x="1712" y="5319"/>
                      <a:pt x="212" y="14969"/>
                    </a:cubicBezTo>
                    <a:cubicBezTo>
                      <a:pt x="-1287" y="24619"/>
                      <a:pt x="5320" y="33656"/>
                      <a:pt x="14969" y="35155"/>
                    </a:cubicBezTo>
                    <a:cubicBezTo>
                      <a:pt x="16768" y="35435"/>
                      <a:pt x="18600" y="35435"/>
                      <a:pt x="20399" y="35155"/>
                    </a:cubicBezTo>
                    <a:lnTo>
                      <a:pt x="185191" y="35155"/>
                    </a:lnTo>
                    <a:cubicBezTo>
                      <a:pt x="194840" y="36654"/>
                      <a:pt x="203878" y="30048"/>
                      <a:pt x="205377" y="20399"/>
                    </a:cubicBezTo>
                    <a:cubicBezTo>
                      <a:pt x="206876" y="10749"/>
                      <a:pt x="200269" y="1711"/>
                      <a:pt x="190620" y="212"/>
                    </a:cubicBezTo>
                    <a:cubicBezTo>
                      <a:pt x="188821" y="-67"/>
                      <a:pt x="186989" y="-67"/>
                      <a:pt x="185191" y="212"/>
                    </a:cubicBezTo>
                    <a:close/>
                  </a:path>
                </a:pathLst>
              </a:custGeom>
              <a:solidFill>
                <a:schemeClr val="accent2"/>
              </a:solidFill>
              <a:ln w="694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sp>
            <p:nvSpPr>
              <p:cNvPr id="93" name="Freeform 41">
                <a:extLst>
                  <a:ext uri="{FF2B5EF4-FFF2-40B4-BE49-F238E27FC236}">
                    <a16:creationId xmlns:a16="http://schemas.microsoft.com/office/drawing/2014/main" id="{9BCF810D-4F14-4EDA-64D1-FB272C567472}"/>
                  </a:ext>
                </a:extLst>
              </p:cNvPr>
              <p:cNvSpPr/>
              <p:nvPr/>
            </p:nvSpPr>
            <p:spPr>
              <a:xfrm>
                <a:off x="8752561" y="3418645"/>
                <a:ext cx="473130" cy="588448"/>
              </a:xfrm>
              <a:custGeom>
                <a:avLst/>
                <a:gdLst>
                  <a:gd name="connsiteX0" fmla="*/ 391573 w 473130"/>
                  <a:gd name="connsiteY0" fmla="*/ 28659 h 588448"/>
                  <a:gd name="connsiteX1" fmla="*/ 335664 w 473130"/>
                  <a:gd name="connsiteY1" fmla="*/ 28659 h 588448"/>
                  <a:gd name="connsiteX2" fmla="*/ 335664 w 473130"/>
                  <a:gd name="connsiteY2" fmla="*/ 10349 h 588448"/>
                  <a:gd name="connsiteX3" fmla="*/ 324771 w 473130"/>
                  <a:gd name="connsiteY3" fmla="*/ 4 h 588448"/>
                  <a:gd name="connsiteX4" fmla="*/ 324692 w 473130"/>
                  <a:gd name="connsiteY4" fmla="*/ 6 h 588448"/>
                  <a:gd name="connsiteX5" fmla="*/ 148648 w 473130"/>
                  <a:gd name="connsiteY5" fmla="*/ 6 h 588448"/>
                  <a:gd name="connsiteX6" fmla="*/ 137607 w 473130"/>
                  <a:gd name="connsiteY6" fmla="*/ 10338 h 588448"/>
                  <a:gd name="connsiteX7" fmla="*/ 137606 w 473130"/>
                  <a:gd name="connsiteY7" fmla="*/ 10349 h 588448"/>
                  <a:gd name="connsiteX8" fmla="*/ 137606 w 473130"/>
                  <a:gd name="connsiteY8" fmla="*/ 28659 h 588448"/>
                  <a:gd name="connsiteX9" fmla="*/ 81697 w 473130"/>
                  <a:gd name="connsiteY9" fmla="*/ 28659 h 588448"/>
                  <a:gd name="connsiteX10" fmla="*/ 0 w 473130"/>
                  <a:gd name="connsiteY10" fmla="*/ 110007 h 588448"/>
                  <a:gd name="connsiteX11" fmla="*/ 0 w 473130"/>
                  <a:gd name="connsiteY11" fmla="*/ 507101 h 588448"/>
                  <a:gd name="connsiteX12" fmla="*/ 81557 w 473130"/>
                  <a:gd name="connsiteY12" fmla="*/ 588449 h 588448"/>
                  <a:gd name="connsiteX13" fmla="*/ 391713 w 473130"/>
                  <a:gd name="connsiteY13" fmla="*/ 588449 h 588448"/>
                  <a:gd name="connsiteX14" fmla="*/ 473130 w 473130"/>
                  <a:gd name="connsiteY14" fmla="*/ 507101 h 588448"/>
                  <a:gd name="connsiteX15" fmla="*/ 473130 w 473130"/>
                  <a:gd name="connsiteY15" fmla="*/ 110007 h 588448"/>
                  <a:gd name="connsiteX16" fmla="*/ 391573 w 473130"/>
                  <a:gd name="connsiteY16" fmla="*/ 28659 h 588448"/>
                  <a:gd name="connsiteX17" fmla="*/ 441472 w 473130"/>
                  <a:gd name="connsiteY17" fmla="*/ 507450 h 588448"/>
                  <a:gd name="connsiteX18" fmla="*/ 391713 w 473130"/>
                  <a:gd name="connsiteY18" fmla="*/ 557209 h 588448"/>
                  <a:gd name="connsiteX19" fmla="*/ 81557 w 473130"/>
                  <a:gd name="connsiteY19" fmla="*/ 557209 h 588448"/>
                  <a:gd name="connsiteX20" fmla="*/ 31798 w 473130"/>
                  <a:gd name="connsiteY20" fmla="*/ 507450 h 588448"/>
                  <a:gd name="connsiteX21" fmla="*/ 31798 w 473130"/>
                  <a:gd name="connsiteY21" fmla="*/ 110356 h 588448"/>
                  <a:gd name="connsiteX22" fmla="*/ 81837 w 473130"/>
                  <a:gd name="connsiteY22" fmla="*/ 60248 h 588448"/>
                  <a:gd name="connsiteX23" fmla="*/ 137746 w 473130"/>
                  <a:gd name="connsiteY23" fmla="*/ 60248 h 588448"/>
                  <a:gd name="connsiteX24" fmla="*/ 137746 w 473130"/>
                  <a:gd name="connsiteY24" fmla="*/ 74225 h 588448"/>
                  <a:gd name="connsiteX25" fmla="*/ 148648 w 473130"/>
                  <a:gd name="connsiteY25" fmla="*/ 84568 h 588448"/>
                  <a:gd name="connsiteX26" fmla="*/ 324762 w 473130"/>
                  <a:gd name="connsiteY26" fmla="*/ 84568 h 588448"/>
                  <a:gd name="connsiteX27" fmla="*/ 335734 w 473130"/>
                  <a:gd name="connsiteY27" fmla="*/ 74162 h 588448"/>
                  <a:gd name="connsiteX28" fmla="*/ 335734 w 473130"/>
                  <a:gd name="connsiteY28" fmla="*/ 74155 h 588448"/>
                  <a:gd name="connsiteX29" fmla="*/ 335734 w 473130"/>
                  <a:gd name="connsiteY29" fmla="*/ 60178 h 588448"/>
                  <a:gd name="connsiteX30" fmla="*/ 391643 w 473130"/>
                  <a:gd name="connsiteY30" fmla="*/ 60178 h 588448"/>
                  <a:gd name="connsiteX31" fmla="*/ 441681 w 473130"/>
                  <a:gd name="connsiteY31" fmla="*/ 110217 h 58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73130" h="588448">
                    <a:moveTo>
                      <a:pt x="391573" y="28659"/>
                    </a:moveTo>
                    <a:lnTo>
                      <a:pt x="335664" y="28659"/>
                    </a:lnTo>
                    <a:lnTo>
                      <a:pt x="335664" y="10349"/>
                    </a:lnTo>
                    <a:cubicBezTo>
                      <a:pt x="335513" y="4484"/>
                      <a:pt x="330636" y="-148"/>
                      <a:pt x="324771" y="4"/>
                    </a:cubicBezTo>
                    <a:cubicBezTo>
                      <a:pt x="324745" y="5"/>
                      <a:pt x="324718" y="5"/>
                      <a:pt x="324692" y="6"/>
                    </a:cubicBezTo>
                    <a:lnTo>
                      <a:pt x="148648" y="6"/>
                    </a:lnTo>
                    <a:cubicBezTo>
                      <a:pt x="142746" y="-190"/>
                      <a:pt x="137802" y="4435"/>
                      <a:pt x="137607" y="10338"/>
                    </a:cubicBezTo>
                    <a:cubicBezTo>
                      <a:pt x="137606" y="10342"/>
                      <a:pt x="137606" y="10346"/>
                      <a:pt x="137606" y="10349"/>
                    </a:cubicBezTo>
                    <a:lnTo>
                      <a:pt x="137606" y="28659"/>
                    </a:lnTo>
                    <a:lnTo>
                      <a:pt x="81697" y="28659"/>
                    </a:lnTo>
                    <a:cubicBezTo>
                      <a:pt x="36729" y="28697"/>
                      <a:pt x="231" y="65039"/>
                      <a:pt x="0" y="110007"/>
                    </a:cubicBezTo>
                    <a:lnTo>
                      <a:pt x="0" y="507101"/>
                    </a:lnTo>
                    <a:cubicBezTo>
                      <a:pt x="77" y="552080"/>
                      <a:pt x="36581" y="588491"/>
                      <a:pt x="81557" y="588449"/>
                    </a:cubicBezTo>
                    <a:lnTo>
                      <a:pt x="391713" y="588449"/>
                    </a:lnTo>
                    <a:cubicBezTo>
                      <a:pt x="436635" y="588407"/>
                      <a:pt x="473053" y="552024"/>
                      <a:pt x="473130" y="507101"/>
                    </a:cubicBezTo>
                    <a:lnTo>
                      <a:pt x="473130" y="110007"/>
                    </a:lnTo>
                    <a:cubicBezTo>
                      <a:pt x="472900" y="65094"/>
                      <a:pt x="436487" y="28774"/>
                      <a:pt x="391573" y="28659"/>
                    </a:cubicBezTo>
                    <a:close/>
                    <a:moveTo>
                      <a:pt x="441472" y="507450"/>
                    </a:moveTo>
                    <a:cubicBezTo>
                      <a:pt x="441433" y="534916"/>
                      <a:pt x="419178" y="557167"/>
                      <a:pt x="391713" y="557209"/>
                    </a:cubicBezTo>
                    <a:lnTo>
                      <a:pt x="81557" y="557209"/>
                    </a:lnTo>
                    <a:cubicBezTo>
                      <a:pt x="54092" y="557167"/>
                      <a:pt x="31837" y="534916"/>
                      <a:pt x="31798" y="507450"/>
                    </a:cubicBezTo>
                    <a:lnTo>
                      <a:pt x="31798" y="110356"/>
                    </a:lnTo>
                    <a:cubicBezTo>
                      <a:pt x="31798" y="82709"/>
                      <a:pt x="54190" y="60286"/>
                      <a:pt x="81837" y="60248"/>
                    </a:cubicBezTo>
                    <a:lnTo>
                      <a:pt x="137746" y="60248"/>
                    </a:lnTo>
                    <a:lnTo>
                      <a:pt x="137746" y="74225"/>
                    </a:lnTo>
                    <a:cubicBezTo>
                      <a:pt x="137973" y="80059"/>
                      <a:pt x="142810" y="84649"/>
                      <a:pt x="148648" y="84568"/>
                    </a:cubicBezTo>
                    <a:lnTo>
                      <a:pt x="324762" y="84568"/>
                    </a:lnTo>
                    <a:cubicBezTo>
                      <a:pt x="330665" y="84725"/>
                      <a:pt x="335577" y="80066"/>
                      <a:pt x="335734" y="74162"/>
                    </a:cubicBezTo>
                    <a:cubicBezTo>
                      <a:pt x="335734" y="74160"/>
                      <a:pt x="335734" y="74157"/>
                      <a:pt x="335734" y="74155"/>
                    </a:cubicBezTo>
                    <a:lnTo>
                      <a:pt x="335734" y="60178"/>
                    </a:lnTo>
                    <a:lnTo>
                      <a:pt x="391643" y="60178"/>
                    </a:lnTo>
                    <a:cubicBezTo>
                      <a:pt x="419263" y="60217"/>
                      <a:pt x="441643" y="82597"/>
                      <a:pt x="441681" y="110217"/>
                    </a:cubicBezTo>
                    <a:close/>
                  </a:path>
                </a:pathLst>
              </a:custGeom>
              <a:solidFill>
                <a:srgbClr val="19BAB6"/>
              </a:solidFill>
              <a:ln w="694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sp>
            <p:nvSpPr>
              <p:cNvPr id="94" name="Freeform 45">
                <a:extLst>
                  <a:ext uri="{FF2B5EF4-FFF2-40B4-BE49-F238E27FC236}">
                    <a16:creationId xmlns:a16="http://schemas.microsoft.com/office/drawing/2014/main" id="{77BEECA5-1A62-D9B7-9CED-E211BF841457}"/>
                  </a:ext>
                </a:extLst>
              </p:cNvPr>
              <p:cNvSpPr/>
              <p:nvPr/>
            </p:nvSpPr>
            <p:spPr>
              <a:xfrm>
                <a:off x="9082704" y="3708819"/>
                <a:ext cx="60771" cy="60731"/>
              </a:xfrm>
              <a:custGeom>
                <a:avLst/>
                <a:gdLst>
                  <a:gd name="connsiteX0" fmla="*/ 47103 w 60771"/>
                  <a:gd name="connsiteY0" fmla="*/ 30401 h 60731"/>
                  <a:gd name="connsiteX1" fmla="*/ 57307 w 60771"/>
                  <a:gd name="connsiteY1" fmla="*/ 20197 h 60731"/>
                  <a:gd name="connsiteX2" fmla="*/ 57307 w 60771"/>
                  <a:gd name="connsiteY2" fmla="*/ 3424 h 60731"/>
                  <a:gd name="connsiteX3" fmla="*/ 48920 w 60771"/>
                  <a:gd name="connsiteY3" fmla="*/ 0 h 60731"/>
                  <a:gd name="connsiteX4" fmla="*/ 48920 w 60771"/>
                  <a:gd name="connsiteY4" fmla="*/ 0 h 60731"/>
                  <a:gd name="connsiteX5" fmla="*/ 40534 w 60771"/>
                  <a:gd name="connsiteY5" fmla="*/ 3424 h 60731"/>
                  <a:gd name="connsiteX6" fmla="*/ 30331 w 60771"/>
                  <a:gd name="connsiteY6" fmla="*/ 13628 h 60731"/>
                  <a:gd name="connsiteX7" fmla="*/ 20127 w 60771"/>
                  <a:gd name="connsiteY7" fmla="*/ 3494 h 60731"/>
                  <a:gd name="connsiteX8" fmla="*/ 11811 w 60771"/>
                  <a:gd name="connsiteY8" fmla="*/ 0 h 60731"/>
                  <a:gd name="connsiteX9" fmla="*/ 11811 w 60771"/>
                  <a:gd name="connsiteY9" fmla="*/ 0 h 60731"/>
                  <a:gd name="connsiteX10" fmla="*/ 28 w 60771"/>
                  <a:gd name="connsiteY10" fmla="*/ 11978 h 60731"/>
                  <a:gd name="connsiteX11" fmla="*/ 3424 w 60771"/>
                  <a:gd name="connsiteY11" fmla="*/ 20197 h 60731"/>
                  <a:gd name="connsiteX12" fmla="*/ 13628 w 60771"/>
                  <a:gd name="connsiteY12" fmla="*/ 30401 h 60731"/>
                  <a:gd name="connsiteX13" fmla="*/ 3424 w 60771"/>
                  <a:gd name="connsiteY13" fmla="*/ 40604 h 60731"/>
                  <a:gd name="connsiteX14" fmla="*/ 3494 w 60771"/>
                  <a:gd name="connsiteY14" fmla="*/ 57307 h 60731"/>
                  <a:gd name="connsiteX15" fmla="*/ 11811 w 60771"/>
                  <a:gd name="connsiteY15" fmla="*/ 60731 h 60731"/>
                  <a:gd name="connsiteX16" fmla="*/ 20127 w 60771"/>
                  <a:gd name="connsiteY16" fmla="*/ 57307 h 60731"/>
                  <a:gd name="connsiteX17" fmla="*/ 30331 w 60771"/>
                  <a:gd name="connsiteY17" fmla="*/ 47103 h 60731"/>
                  <a:gd name="connsiteX18" fmla="*/ 40464 w 60771"/>
                  <a:gd name="connsiteY18" fmla="*/ 57237 h 60731"/>
                  <a:gd name="connsiteX19" fmla="*/ 57167 w 60771"/>
                  <a:gd name="connsiteY19" fmla="*/ 57167 h 60731"/>
                  <a:gd name="connsiteX20" fmla="*/ 57167 w 60771"/>
                  <a:gd name="connsiteY20" fmla="*/ 40534 h 60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771" h="60731">
                    <a:moveTo>
                      <a:pt x="47103" y="30401"/>
                    </a:moveTo>
                    <a:lnTo>
                      <a:pt x="57307" y="20197"/>
                    </a:lnTo>
                    <a:cubicBezTo>
                      <a:pt x="61927" y="15561"/>
                      <a:pt x="61927" y="8061"/>
                      <a:pt x="57307" y="3424"/>
                    </a:cubicBezTo>
                    <a:cubicBezTo>
                      <a:pt x="55060" y="1239"/>
                      <a:pt x="52054" y="11"/>
                      <a:pt x="48920" y="0"/>
                    </a:cubicBezTo>
                    <a:lnTo>
                      <a:pt x="48920" y="0"/>
                    </a:lnTo>
                    <a:cubicBezTo>
                      <a:pt x="45787" y="11"/>
                      <a:pt x="42780" y="1239"/>
                      <a:pt x="40534" y="3424"/>
                    </a:cubicBezTo>
                    <a:lnTo>
                      <a:pt x="30331" y="13628"/>
                    </a:lnTo>
                    <a:lnTo>
                      <a:pt x="20127" y="3494"/>
                    </a:lnTo>
                    <a:cubicBezTo>
                      <a:pt x="17940" y="1255"/>
                      <a:pt x="14941" y="-5"/>
                      <a:pt x="11811" y="0"/>
                    </a:cubicBezTo>
                    <a:lnTo>
                      <a:pt x="11811" y="0"/>
                    </a:lnTo>
                    <a:cubicBezTo>
                      <a:pt x="5249" y="54"/>
                      <a:pt x="-26" y="5417"/>
                      <a:pt x="28" y="11978"/>
                    </a:cubicBezTo>
                    <a:cubicBezTo>
                      <a:pt x="54" y="15054"/>
                      <a:pt x="1271" y="18001"/>
                      <a:pt x="3424" y="20197"/>
                    </a:cubicBezTo>
                    <a:lnTo>
                      <a:pt x="13628" y="30401"/>
                    </a:lnTo>
                    <a:lnTo>
                      <a:pt x="3424" y="40604"/>
                    </a:lnTo>
                    <a:cubicBezTo>
                      <a:pt x="-1169" y="45235"/>
                      <a:pt x="-1137" y="52714"/>
                      <a:pt x="3494" y="57307"/>
                    </a:cubicBezTo>
                    <a:cubicBezTo>
                      <a:pt x="5706" y="59501"/>
                      <a:pt x="8695" y="60731"/>
                      <a:pt x="11811" y="60731"/>
                    </a:cubicBezTo>
                    <a:cubicBezTo>
                      <a:pt x="14929" y="60747"/>
                      <a:pt x="17924" y="59514"/>
                      <a:pt x="20127" y="57307"/>
                    </a:cubicBezTo>
                    <a:lnTo>
                      <a:pt x="30331" y="47103"/>
                    </a:lnTo>
                    <a:lnTo>
                      <a:pt x="40464" y="57237"/>
                    </a:lnTo>
                    <a:cubicBezTo>
                      <a:pt x="45095" y="61830"/>
                      <a:pt x="52574" y="61798"/>
                      <a:pt x="57167" y="57167"/>
                    </a:cubicBezTo>
                    <a:cubicBezTo>
                      <a:pt x="61733" y="52563"/>
                      <a:pt x="61733" y="45138"/>
                      <a:pt x="57167" y="40534"/>
                    </a:cubicBezTo>
                    <a:close/>
                  </a:path>
                </a:pathLst>
              </a:custGeom>
              <a:solidFill>
                <a:schemeClr val="accent1"/>
              </a:solidFill>
              <a:ln w="694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sp>
            <p:nvSpPr>
              <p:cNvPr id="95" name="Freeform 51">
                <a:extLst>
                  <a:ext uri="{FF2B5EF4-FFF2-40B4-BE49-F238E27FC236}">
                    <a16:creationId xmlns:a16="http://schemas.microsoft.com/office/drawing/2014/main" id="{154FA205-82F5-D4FA-7792-8CB33C71EBA5}"/>
                  </a:ext>
                </a:extLst>
              </p:cNvPr>
              <p:cNvSpPr/>
              <p:nvPr/>
            </p:nvSpPr>
            <p:spPr>
              <a:xfrm>
                <a:off x="9076962" y="3819471"/>
                <a:ext cx="72446" cy="59312"/>
              </a:xfrm>
              <a:custGeom>
                <a:avLst/>
                <a:gdLst>
                  <a:gd name="connsiteX0" fmla="*/ 68359 w 72446"/>
                  <a:gd name="connsiteY0" fmla="*/ 2494 h 59312"/>
                  <a:gd name="connsiteX1" fmla="*/ 60742 w 72446"/>
                  <a:gd name="connsiteY1" fmla="*/ 48 h 59312"/>
                  <a:gd name="connsiteX2" fmla="*/ 53753 w 72446"/>
                  <a:gd name="connsiteY2" fmla="*/ 3752 h 59312"/>
                  <a:gd name="connsiteX3" fmla="*/ 29013 w 72446"/>
                  <a:gd name="connsiteY3" fmla="*/ 33175 h 59312"/>
                  <a:gd name="connsiteX4" fmla="*/ 17901 w 72446"/>
                  <a:gd name="connsiteY4" fmla="*/ 22133 h 59312"/>
                  <a:gd name="connsiteX5" fmla="*/ 3086 w 72446"/>
                  <a:gd name="connsiteY5" fmla="*/ 22133 h 59312"/>
                  <a:gd name="connsiteX6" fmla="*/ 11 w 72446"/>
                  <a:gd name="connsiteY6" fmla="*/ 29121 h 59312"/>
                  <a:gd name="connsiteX7" fmla="*/ 3086 w 72446"/>
                  <a:gd name="connsiteY7" fmla="*/ 37018 h 59312"/>
                  <a:gd name="connsiteX8" fmla="*/ 22234 w 72446"/>
                  <a:gd name="connsiteY8" fmla="*/ 56237 h 59312"/>
                  <a:gd name="connsiteX9" fmla="*/ 29712 w 72446"/>
                  <a:gd name="connsiteY9" fmla="*/ 59312 h 59312"/>
                  <a:gd name="connsiteX10" fmla="*/ 30201 w 72446"/>
                  <a:gd name="connsiteY10" fmla="*/ 59312 h 59312"/>
                  <a:gd name="connsiteX11" fmla="*/ 38029 w 72446"/>
                  <a:gd name="connsiteY11" fmla="*/ 55538 h 59312"/>
                  <a:gd name="connsiteX12" fmla="*/ 69967 w 72446"/>
                  <a:gd name="connsiteY12" fmla="*/ 17171 h 59312"/>
                  <a:gd name="connsiteX13" fmla="*/ 68866 w 72446"/>
                  <a:gd name="connsiteY13" fmla="*/ 2684 h 59312"/>
                  <a:gd name="connsiteX14" fmla="*/ 68639 w 72446"/>
                  <a:gd name="connsiteY14" fmla="*/ 2494 h 5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446" h="59312">
                    <a:moveTo>
                      <a:pt x="68359" y="2494"/>
                    </a:moveTo>
                    <a:cubicBezTo>
                      <a:pt x="66267" y="661"/>
                      <a:pt x="63510" y="-224"/>
                      <a:pt x="60742" y="48"/>
                    </a:cubicBezTo>
                    <a:cubicBezTo>
                      <a:pt x="58029" y="358"/>
                      <a:pt x="55532" y="1681"/>
                      <a:pt x="53753" y="3752"/>
                    </a:cubicBezTo>
                    <a:lnTo>
                      <a:pt x="29013" y="33175"/>
                    </a:lnTo>
                    <a:lnTo>
                      <a:pt x="17901" y="22133"/>
                    </a:lnTo>
                    <a:cubicBezTo>
                      <a:pt x="13763" y="18157"/>
                      <a:pt x="7224" y="18157"/>
                      <a:pt x="3086" y="22133"/>
                    </a:cubicBezTo>
                    <a:cubicBezTo>
                      <a:pt x="1207" y="23984"/>
                      <a:pt x="107" y="26484"/>
                      <a:pt x="11" y="29121"/>
                    </a:cubicBezTo>
                    <a:cubicBezTo>
                      <a:pt x="-122" y="32069"/>
                      <a:pt x="995" y="34936"/>
                      <a:pt x="3086" y="37018"/>
                    </a:cubicBezTo>
                    <a:lnTo>
                      <a:pt x="22234" y="56237"/>
                    </a:lnTo>
                    <a:cubicBezTo>
                      <a:pt x="24224" y="58208"/>
                      <a:pt x="26912" y="59313"/>
                      <a:pt x="29712" y="59312"/>
                    </a:cubicBezTo>
                    <a:lnTo>
                      <a:pt x="30201" y="59312"/>
                    </a:lnTo>
                    <a:cubicBezTo>
                      <a:pt x="33232" y="59237"/>
                      <a:pt x="36082" y="57862"/>
                      <a:pt x="38029" y="55538"/>
                    </a:cubicBezTo>
                    <a:lnTo>
                      <a:pt x="69967" y="17171"/>
                    </a:lnTo>
                    <a:cubicBezTo>
                      <a:pt x="73663" y="12866"/>
                      <a:pt x="73170" y="6380"/>
                      <a:pt x="68866" y="2684"/>
                    </a:cubicBezTo>
                    <a:cubicBezTo>
                      <a:pt x="68791" y="2620"/>
                      <a:pt x="68716" y="2557"/>
                      <a:pt x="68639" y="2494"/>
                    </a:cubicBezTo>
                    <a:close/>
                  </a:path>
                </a:pathLst>
              </a:custGeom>
              <a:solidFill>
                <a:schemeClr val="accent1"/>
              </a:solidFill>
              <a:ln w="694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sp>
            <p:nvSpPr>
              <p:cNvPr id="96" name="Freeform 52">
                <a:extLst>
                  <a:ext uri="{FF2B5EF4-FFF2-40B4-BE49-F238E27FC236}">
                    <a16:creationId xmlns:a16="http://schemas.microsoft.com/office/drawing/2014/main" id="{C4E4E0EC-29E5-9C95-0360-628D83DAEFB0}"/>
                  </a:ext>
                </a:extLst>
              </p:cNvPr>
              <p:cNvSpPr/>
              <p:nvPr/>
            </p:nvSpPr>
            <p:spPr>
              <a:xfrm>
                <a:off x="9076711" y="3587997"/>
                <a:ext cx="72561" cy="59252"/>
              </a:xfrm>
              <a:custGeom>
                <a:avLst/>
                <a:gdLst>
                  <a:gd name="connsiteX0" fmla="*/ 68610 w 72561"/>
                  <a:gd name="connsiteY0" fmla="*/ 2435 h 59252"/>
                  <a:gd name="connsiteX1" fmla="*/ 60993 w 72561"/>
                  <a:gd name="connsiteY1" fmla="*/ 59 h 59252"/>
                  <a:gd name="connsiteX2" fmla="*/ 54004 w 72561"/>
                  <a:gd name="connsiteY2" fmla="*/ 3763 h 59252"/>
                  <a:gd name="connsiteX3" fmla="*/ 29264 w 72561"/>
                  <a:gd name="connsiteY3" fmla="*/ 33324 h 59252"/>
                  <a:gd name="connsiteX4" fmla="*/ 18152 w 72561"/>
                  <a:gd name="connsiteY4" fmla="*/ 22213 h 59252"/>
                  <a:gd name="connsiteX5" fmla="*/ 3337 w 72561"/>
                  <a:gd name="connsiteY5" fmla="*/ 21690 h 59252"/>
                  <a:gd name="connsiteX6" fmla="*/ 2814 w 72561"/>
                  <a:gd name="connsiteY6" fmla="*/ 36506 h 59252"/>
                  <a:gd name="connsiteX7" fmla="*/ 3337 w 72561"/>
                  <a:gd name="connsiteY7" fmla="*/ 37028 h 59252"/>
                  <a:gd name="connsiteX8" fmla="*/ 22555 w 72561"/>
                  <a:gd name="connsiteY8" fmla="*/ 56247 h 59252"/>
                  <a:gd name="connsiteX9" fmla="*/ 29963 w 72561"/>
                  <a:gd name="connsiteY9" fmla="*/ 59252 h 59252"/>
                  <a:gd name="connsiteX10" fmla="*/ 30452 w 72561"/>
                  <a:gd name="connsiteY10" fmla="*/ 59252 h 59252"/>
                  <a:gd name="connsiteX11" fmla="*/ 38280 w 72561"/>
                  <a:gd name="connsiteY11" fmla="*/ 55548 h 59252"/>
                  <a:gd name="connsiteX12" fmla="*/ 70218 w 72561"/>
                  <a:gd name="connsiteY12" fmla="*/ 17181 h 59252"/>
                  <a:gd name="connsiteX13" fmla="*/ 68728 w 72561"/>
                  <a:gd name="connsiteY13" fmla="*/ 2530 h 59252"/>
                  <a:gd name="connsiteX14" fmla="*/ 68610 w 72561"/>
                  <a:gd name="connsiteY14" fmla="*/ 2435 h 59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561" h="59252">
                    <a:moveTo>
                      <a:pt x="68610" y="2435"/>
                    </a:moveTo>
                    <a:cubicBezTo>
                      <a:pt x="66511" y="619"/>
                      <a:pt x="63752" y="-241"/>
                      <a:pt x="60993" y="59"/>
                    </a:cubicBezTo>
                    <a:cubicBezTo>
                      <a:pt x="58262" y="311"/>
                      <a:pt x="55746" y="1645"/>
                      <a:pt x="54004" y="3763"/>
                    </a:cubicBezTo>
                    <a:lnTo>
                      <a:pt x="29264" y="33324"/>
                    </a:lnTo>
                    <a:lnTo>
                      <a:pt x="18152" y="22213"/>
                    </a:lnTo>
                    <a:cubicBezTo>
                      <a:pt x="14205" y="17977"/>
                      <a:pt x="7572" y="17743"/>
                      <a:pt x="3337" y="21690"/>
                    </a:cubicBezTo>
                    <a:cubicBezTo>
                      <a:pt x="-899" y="25636"/>
                      <a:pt x="-1133" y="32270"/>
                      <a:pt x="2814" y="36506"/>
                    </a:cubicBezTo>
                    <a:cubicBezTo>
                      <a:pt x="2982" y="36686"/>
                      <a:pt x="3156" y="36860"/>
                      <a:pt x="3337" y="37028"/>
                    </a:cubicBezTo>
                    <a:lnTo>
                      <a:pt x="22555" y="56247"/>
                    </a:lnTo>
                    <a:cubicBezTo>
                      <a:pt x="24527" y="58195"/>
                      <a:pt x="27192" y="59276"/>
                      <a:pt x="29963" y="59252"/>
                    </a:cubicBezTo>
                    <a:lnTo>
                      <a:pt x="30452" y="59252"/>
                    </a:lnTo>
                    <a:cubicBezTo>
                      <a:pt x="33474" y="59203"/>
                      <a:pt x="36326" y="57853"/>
                      <a:pt x="38280" y="55548"/>
                    </a:cubicBezTo>
                    <a:lnTo>
                      <a:pt x="70218" y="17181"/>
                    </a:lnTo>
                    <a:cubicBezTo>
                      <a:pt x="73853" y="12724"/>
                      <a:pt x="73186" y="6165"/>
                      <a:pt x="68728" y="2530"/>
                    </a:cubicBezTo>
                    <a:cubicBezTo>
                      <a:pt x="68689" y="2498"/>
                      <a:pt x="68650" y="2466"/>
                      <a:pt x="68610" y="2435"/>
                    </a:cubicBezTo>
                    <a:close/>
                  </a:path>
                </a:pathLst>
              </a:custGeom>
              <a:solidFill>
                <a:schemeClr val="accent1"/>
              </a:solidFill>
              <a:ln w="6940" cap="flat">
                <a:noFill/>
                <a:prstDash val="solid"/>
                <a:miter/>
              </a:ln>
            </p:spPr>
            <p:txBody>
              <a:bodyPr rtlCol="0" anchor="ctr"/>
              <a:lstStyle/>
              <a:p>
                <a:pPr defTabSz="914377"/>
                <a:endParaRPr lang="en-US">
                  <a:solidFill>
                    <a:srgbClr val="23366F"/>
                  </a:solidFill>
                  <a:latin typeface="Zurich Sans Light" panose="02000000000000000000" pitchFamily="2" charset="0"/>
                </a:endParaRPr>
              </a:p>
            </p:txBody>
          </p:sp>
        </p:grpSp>
      </p:grpSp>
      <p:sp>
        <p:nvSpPr>
          <p:cNvPr id="97" name="Freeform 78">
            <a:extLst>
              <a:ext uri="{FF2B5EF4-FFF2-40B4-BE49-F238E27FC236}">
                <a16:creationId xmlns:a16="http://schemas.microsoft.com/office/drawing/2014/main" id="{9E1E7F68-A0DC-C9EC-3F76-4BE07E301189}"/>
              </a:ext>
            </a:extLst>
          </p:cNvPr>
          <p:cNvSpPr/>
          <p:nvPr/>
        </p:nvSpPr>
        <p:spPr>
          <a:xfrm>
            <a:off x="1148516" y="5151022"/>
            <a:ext cx="1239122" cy="249940"/>
          </a:xfrm>
          <a:custGeom>
            <a:avLst/>
            <a:gdLst>
              <a:gd name="connsiteX0" fmla="*/ 486000 w 3462079"/>
              <a:gd name="connsiteY0" fmla="*/ 0 h 972000"/>
              <a:gd name="connsiteX1" fmla="*/ 3462079 w 3462079"/>
              <a:gd name="connsiteY1" fmla="*/ 0 h 972000"/>
              <a:gd name="connsiteX2" fmla="*/ 3462079 w 3462079"/>
              <a:gd name="connsiteY2" fmla="*/ 972000 h 972000"/>
              <a:gd name="connsiteX3" fmla="*/ 486000 w 3462079"/>
              <a:gd name="connsiteY3" fmla="*/ 972000 h 972000"/>
              <a:gd name="connsiteX4" fmla="*/ 0 w 3462079"/>
              <a:gd name="connsiteY4" fmla="*/ 486000 h 972000"/>
              <a:gd name="connsiteX5" fmla="*/ 486000 w 3462079"/>
              <a:gd name="connsiteY5" fmla="*/ 0 h 9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62079" h="972000">
                <a:moveTo>
                  <a:pt x="486000" y="0"/>
                </a:moveTo>
                <a:lnTo>
                  <a:pt x="3462079" y="0"/>
                </a:lnTo>
                <a:lnTo>
                  <a:pt x="3462079" y="972000"/>
                </a:lnTo>
                <a:lnTo>
                  <a:pt x="486000" y="972000"/>
                </a:lnTo>
                <a:cubicBezTo>
                  <a:pt x="217590" y="972000"/>
                  <a:pt x="0" y="754410"/>
                  <a:pt x="0" y="486000"/>
                </a:cubicBezTo>
                <a:cubicBezTo>
                  <a:pt x="0" y="217590"/>
                  <a:pt x="217590" y="0"/>
                  <a:pt x="486000" y="0"/>
                </a:cubicBezTo>
                <a:close/>
              </a:path>
            </a:pathLst>
          </a:cu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defTabSz="914377">
              <a:lnSpc>
                <a:spcPct val="110000"/>
              </a:lnSpc>
              <a:defRPr/>
            </a:pPr>
            <a:r>
              <a:rPr lang="de-DE" sz="1600">
                <a:solidFill>
                  <a:srgbClr val="2167AE"/>
                </a:solidFill>
                <a:latin typeface="Zurich Sans Medium"/>
              </a:rPr>
              <a:t>Identifikation</a:t>
            </a:r>
          </a:p>
        </p:txBody>
      </p:sp>
      <p:sp>
        <p:nvSpPr>
          <p:cNvPr id="98" name="Freeform 75">
            <a:extLst>
              <a:ext uri="{FF2B5EF4-FFF2-40B4-BE49-F238E27FC236}">
                <a16:creationId xmlns:a16="http://schemas.microsoft.com/office/drawing/2014/main" id="{301DFA1A-69A0-324E-C0F5-25E5E11021C4}"/>
              </a:ext>
            </a:extLst>
          </p:cNvPr>
          <p:cNvSpPr/>
          <p:nvPr/>
        </p:nvSpPr>
        <p:spPr>
          <a:xfrm>
            <a:off x="3890062" y="5151022"/>
            <a:ext cx="1203856" cy="249940"/>
          </a:xfrm>
          <a:custGeom>
            <a:avLst/>
            <a:gdLst>
              <a:gd name="connsiteX0" fmla="*/ 486000 w 3462079"/>
              <a:gd name="connsiteY0" fmla="*/ 0 h 972000"/>
              <a:gd name="connsiteX1" fmla="*/ 3462079 w 3462079"/>
              <a:gd name="connsiteY1" fmla="*/ 0 h 972000"/>
              <a:gd name="connsiteX2" fmla="*/ 3462079 w 3462079"/>
              <a:gd name="connsiteY2" fmla="*/ 972000 h 972000"/>
              <a:gd name="connsiteX3" fmla="*/ 486000 w 3462079"/>
              <a:gd name="connsiteY3" fmla="*/ 972000 h 972000"/>
              <a:gd name="connsiteX4" fmla="*/ 0 w 3462079"/>
              <a:gd name="connsiteY4" fmla="*/ 486000 h 972000"/>
              <a:gd name="connsiteX5" fmla="*/ 486000 w 3462079"/>
              <a:gd name="connsiteY5" fmla="*/ 0 h 9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62079" h="972000">
                <a:moveTo>
                  <a:pt x="486000" y="0"/>
                </a:moveTo>
                <a:lnTo>
                  <a:pt x="3462079" y="0"/>
                </a:lnTo>
                <a:lnTo>
                  <a:pt x="3462079" y="972000"/>
                </a:lnTo>
                <a:lnTo>
                  <a:pt x="486000" y="972000"/>
                </a:lnTo>
                <a:cubicBezTo>
                  <a:pt x="217590" y="972000"/>
                  <a:pt x="0" y="754410"/>
                  <a:pt x="0" y="486000"/>
                </a:cubicBezTo>
                <a:cubicBezTo>
                  <a:pt x="0" y="217590"/>
                  <a:pt x="217590" y="0"/>
                  <a:pt x="486000" y="0"/>
                </a:cubicBezTo>
                <a:close/>
              </a:path>
            </a:pathLst>
          </a:cu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defTabSz="914377">
              <a:lnSpc>
                <a:spcPct val="110000"/>
              </a:lnSpc>
              <a:defRPr/>
            </a:pPr>
            <a:r>
              <a:rPr lang="de-DE" sz="1600">
                <a:solidFill>
                  <a:srgbClr val="2167AE"/>
                </a:solidFill>
                <a:latin typeface="Zurich Sans Medium"/>
              </a:rPr>
              <a:t>Priorisierung</a:t>
            </a:r>
            <a:endParaRPr lang="en-ES" sz="1600">
              <a:solidFill>
                <a:srgbClr val="2167AE"/>
              </a:solidFill>
              <a:latin typeface="Zurich Sans Medium"/>
            </a:endParaRPr>
          </a:p>
        </p:txBody>
      </p:sp>
      <p:sp>
        <p:nvSpPr>
          <p:cNvPr id="99" name="Freeform 78">
            <a:extLst>
              <a:ext uri="{FF2B5EF4-FFF2-40B4-BE49-F238E27FC236}">
                <a16:creationId xmlns:a16="http://schemas.microsoft.com/office/drawing/2014/main" id="{A2A2AA9B-C7BA-F401-AA7A-1D3ED4271320}"/>
              </a:ext>
            </a:extLst>
          </p:cNvPr>
          <p:cNvSpPr/>
          <p:nvPr/>
        </p:nvSpPr>
        <p:spPr>
          <a:xfrm>
            <a:off x="6636859" y="5153773"/>
            <a:ext cx="1449115" cy="249940"/>
          </a:xfrm>
          <a:custGeom>
            <a:avLst/>
            <a:gdLst>
              <a:gd name="connsiteX0" fmla="*/ 486000 w 3462079"/>
              <a:gd name="connsiteY0" fmla="*/ 0 h 972000"/>
              <a:gd name="connsiteX1" fmla="*/ 3462079 w 3462079"/>
              <a:gd name="connsiteY1" fmla="*/ 0 h 972000"/>
              <a:gd name="connsiteX2" fmla="*/ 3462079 w 3462079"/>
              <a:gd name="connsiteY2" fmla="*/ 972000 h 972000"/>
              <a:gd name="connsiteX3" fmla="*/ 486000 w 3462079"/>
              <a:gd name="connsiteY3" fmla="*/ 972000 h 972000"/>
              <a:gd name="connsiteX4" fmla="*/ 0 w 3462079"/>
              <a:gd name="connsiteY4" fmla="*/ 486000 h 972000"/>
              <a:gd name="connsiteX5" fmla="*/ 486000 w 3462079"/>
              <a:gd name="connsiteY5" fmla="*/ 0 h 9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62079" h="972000">
                <a:moveTo>
                  <a:pt x="486000" y="0"/>
                </a:moveTo>
                <a:lnTo>
                  <a:pt x="3462079" y="0"/>
                </a:lnTo>
                <a:lnTo>
                  <a:pt x="3462079" y="972000"/>
                </a:lnTo>
                <a:lnTo>
                  <a:pt x="486000" y="972000"/>
                </a:lnTo>
                <a:cubicBezTo>
                  <a:pt x="217590" y="972000"/>
                  <a:pt x="0" y="754410"/>
                  <a:pt x="0" y="486000"/>
                </a:cubicBezTo>
                <a:cubicBezTo>
                  <a:pt x="0" y="217590"/>
                  <a:pt x="217590" y="0"/>
                  <a:pt x="486000" y="0"/>
                </a:cubicBezTo>
                <a:close/>
              </a:path>
            </a:pathLst>
          </a:cu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defTabSz="914377">
              <a:lnSpc>
                <a:spcPct val="110000"/>
              </a:lnSpc>
              <a:defRPr/>
            </a:pPr>
            <a:r>
              <a:rPr lang="de-DE" sz="1600">
                <a:solidFill>
                  <a:srgbClr val="2167AE"/>
                </a:solidFill>
                <a:latin typeface="Zurich Sans Medium"/>
              </a:rPr>
              <a:t>Quantifizierung</a:t>
            </a:r>
          </a:p>
        </p:txBody>
      </p:sp>
      <p:sp>
        <p:nvSpPr>
          <p:cNvPr id="100" name="Freeform 75">
            <a:extLst>
              <a:ext uri="{FF2B5EF4-FFF2-40B4-BE49-F238E27FC236}">
                <a16:creationId xmlns:a16="http://schemas.microsoft.com/office/drawing/2014/main" id="{DF18829B-01E3-C005-0CCA-F089DCF1E9F7}"/>
              </a:ext>
            </a:extLst>
          </p:cNvPr>
          <p:cNvSpPr/>
          <p:nvPr/>
        </p:nvSpPr>
        <p:spPr>
          <a:xfrm>
            <a:off x="9498568" y="5151022"/>
            <a:ext cx="1045158" cy="249940"/>
          </a:xfrm>
          <a:custGeom>
            <a:avLst/>
            <a:gdLst>
              <a:gd name="connsiteX0" fmla="*/ 486000 w 3462079"/>
              <a:gd name="connsiteY0" fmla="*/ 0 h 972000"/>
              <a:gd name="connsiteX1" fmla="*/ 3462079 w 3462079"/>
              <a:gd name="connsiteY1" fmla="*/ 0 h 972000"/>
              <a:gd name="connsiteX2" fmla="*/ 3462079 w 3462079"/>
              <a:gd name="connsiteY2" fmla="*/ 972000 h 972000"/>
              <a:gd name="connsiteX3" fmla="*/ 486000 w 3462079"/>
              <a:gd name="connsiteY3" fmla="*/ 972000 h 972000"/>
              <a:gd name="connsiteX4" fmla="*/ 0 w 3462079"/>
              <a:gd name="connsiteY4" fmla="*/ 486000 h 972000"/>
              <a:gd name="connsiteX5" fmla="*/ 486000 w 3462079"/>
              <a:gd name="connsiteY5" fmla="*/ 0 h 9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62079" h="972000">
                <a:moveTo>
                  <a:pt x="486000" y="0"/>
                </a:moveTo>
                <a:lnTo>
                  <a:pt x="3462079" y="0"/>
                </a:lnTo>
                <a:lnTo>
                  <a:pt x="3462079" y="972000"/>
                </a:lnTo>
                <a:lnTo>
                  <a:pt x="486000" y="972000"/>
                </a:lnTo>
                <a:cubicBezTo>
                  <a:pt x="217590" y="972000"/>
                  <a:pt x="0" y="754410"/>
                  <a:pt x="0" y="486000"/>
                </a:cubicBezTo>
                <a:cubicBezTo>
                  <a:pt x="0" y="217590"/>
                  <a:pt x="217590" y="0"/>
                  <a:pt x="486000" y="0"/>
                </a:cubicBezTo>
                <a:close/>
              </a:path>
            </a:pathLst>
          </a:cu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defTabSz="914377">
              <a:lnSpc>
                <a:spcPct val="110000"/>
              </a:lnSpc>
              <a:defRPr/>
            </a:pPr>
            <a:r>
              <a:rPr lang="de-DE" sz="1600">
                <a:solidFill>
                  <a:srgbClr val="2167AE"/>
                </a:solidFill>
                <a:latin typeface="Zurich Sans Medium"/>
              </a:rPr>
              <a:t>Adaptation</a:t>
            </a:r>
          </a:p>
        </p:txBody>
      </p:sp>
      <p:cxnSp>
        <p:nvCxnSpPr>
          <p:cNvPr id="103" name="Straight Arrow Connector 102">
            <a:extLst>
              <a:ext uri="{FF2B5EF4-FFF2-40B4-BE49-F238E27FC236}">
                <a16:creationId xmlns:a16="http://schemas.microsoft.com/office/drawing/2014/main" id="{0FADC013-A9C9-A5D7-F7D6-485D4CE3484A}"/>
              </a:ext>
            </a:extLst>
          </p:cNvPr>
          <p:cNvCxnSpPr>
            <a:cxnSpLocks/>
            <a:stCxn id="76" idx="0"/>
            <a:endCxn id="70" idx="2"/>
          </p:cNvCxnSpPr>
          <p:nvPr/>
        </p:nvCxnSpPr>
        <p:spPr>
          <a:xfrm flipV="1">
            <a:off x="2316718" y="4547494"/>
            <a:ext cx="1622829" cy="73"/>
          </a:xfrm>
          <a:prstGeom prst="straightConnector1">
            <a:avLst/>
          </a:prstGeom>
          <a:ln w="22225">
            <a:tailEnd type="none" w="lg" len="lg"/>
          </a:ln>
        </p:spPr>
        <p:style>
          <a:lnRef idx="1">
            <a:schemeClr val="accent1"/>
          </a:lnRef>
          <a:fillRef idx="0">
            <a:schemeClr val="accent1"/>
          </a:fillRef>
          <a:effectRef idx="0">
            <a:schemeClr val="accent1"/>
          </a:effectRef>
          <a:fontRef idx="minor">
            <a:schemeClr val="tx1"/>
          </a:fontRef>
        </p:style>
      </p:cxnSp>
      <p:sp>
        <p:nvSpPr>
          <p:cNvPr id="108" name="Isosceles Triangle 107">
            <a:extLst>
              <a:ext uri="{FF2B5EF4-FFF2-40B4-BE49-F238E27FC236}">
                <a16:creationId xmlns:a16="http://schemas.microsoft.com/office/drawing/2014/main" id="{0B63C079-793D-CC28-9CCB-0EAEDAC31359}"/>
              </a:ext>
            </a:extLst>
          </p:cNvPr>
          <p:cNvSpPr/>
          <p:nvPr/>
        </p:nvSpPr>
        <p:spPr>
          <a:xfrm rot="5400000">
            <a:off x="3036691" y="4501847"/>
            <a:ext cx="182880" cy="9144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defTabSz="914377"/>
            <a:endParaRPr lang="en-US" sz="1000">
              <a:solidFill>
                <a:srgbClr val="FFFFFF"/>
              </a:solidFill>
              <a:latin typeface="Zurich Sans Light" panose="02000000000000000000" pitchFamily="2" charset="0"/>
            </a:endParaRPr>
          </a:p>
        </p:txBody>
      </p:sp>
      <p:cxnSp>
        <p:nvCxnSpPr>
          <p:cNvPr id="109" name="Straight Arrow Connector 108">
            <a:extLst>
              <a:ext uri="{FF2B5EF4-FFF2-40B4-BE49-F238E27FC236}">
                <a16:creationId xmlns:a16="http://schemas.microsoft.com/office/drawing/2014/main" id="{45401F48-76D0-4C60-8CF4-CE769AD401EB}"/>
              </a:ext>
            </a:extLst>
          </p:cNvPr>
          <p:cNvCxnSpPr>
            <a:cxnSpLocks/>
            <a:stCxn id="70" idx="0"/>
            <a:endCxn id="87" idx="2"/>
          </p:cNvCxnSpPr>
          <p:nvPr/>
        </p:nvCxnSpPr>
        <p:spPr>
          <a:xfrm>
            <a:off x="5036973" y="4547494"/>
            <a:ext cx="1714907" cy="73"/>
          </a:xfrm>
          <a:prstGeom prst="straightConnector1">
            <a:avLst/>
          </a:prstGeom>
          <a:ln w="22225">
            <a:tailEnd type="none" w="lg" len="lg"/>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62CF5DCA-960F-73AD-0BE8-9AF7DFF3D124}"/>
              </a:ext>
            </a:extLst>
          </p:cNvPr>
          <p:cNvCxnSpPr>
            <a:cxnSpLocks/>
            <a:stCxn id="87" idx="0"/>
            <a:endCxn id="83" idx="2"/>
          </p:cNvCxnSpPr>
          <p:nvPr/>
        </p:nvCxnSpPr>
        <p:spPr>
          <a:xfrm flipV="1">
            <a:off x="7850050" y="4547494"/>
            <a:ext cx="1622383" cy="73"/>
          </a:xfrm>
          <a:prstGeom prst="straightConnector1">
            <a:avLst/>
          </a:prstGeom>
          <a:ln w="22225">
            <a:tailEnd type="none" w="lg" len="lg"/>
          </a:ln>
        </p:spPr>
        <p:style>
          <a:lnRef idx="1">
            <a:schemeClr val="accent1"/>
          </a:lnRef>
          <a:fillRef idx="0">
            <a:schemeClr val="accent1"/>
          </a:fillRef>
          <a:effectRef idx="0">
            <a:schemeClr val="accent1"/>
          </a:effectRef>
          <a:fontRef idx="minor">
            <a:schemeClr val="tx1"/>
          </a:fontRef>
        </p:style>
      </p:cxnSp>
      <p:sp>
        <p:nvSpPr>
          <p:cNvPr id="115" name="Isosceles Triangle 114">
            <a:extLst>
              <a:ext uri="{FF2B5EF4-FFF2-40B4-BE49-F238E27FC236}">
                <a16:creationId xmlns:a16="http://schemas.microsoft.com/office/drawing/2014/main" id="{33D8F2EE-1728-57FF-D004-A41849D3E394}"/>
              </a:ext>
            </a:extLst>
          </p:cNvPr>
          <p:cNvSpPr/>
          <p:nvPr/>
        </p:nvSpPr>
        <p:spPr>
          <a:xfrm rot="5400000">
            <a:off x="5802987" y="4501847"/>
            <a:ext cx="182880" cy="9144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defTabSz="914377"/>
            <a:endParaRPr lang="en-US" sz="1000">
              <a:solidFill>
                <a:srgbClr val="FFFFFF"/>
              </a:solidFill>
              <a:latin typeface="Zurich Sans Light" panose="02000000000000000000" pitchFamily="2" charset="0"/>
            </a:endParaRPr>
          </a:p>
        </p:txBody>
      </p:sp>
      <p:sp>
        <p:nvSpPr>
          <p:cNvPr id="116" name="Isosceles Triangle 115">
            <a:extLst>
              <a:ext uri="{FF2B5EF4-FFF2-40B4-BE49-F238E27FC236}">
                <a16:creationId xmlns:a16="http://schemas.microsoft.com/office/drawing/2014/main" id="{C90E0FBE-9990-4913-72DA-6243228B8A69}"/>
              </a:ext>
            </a:extLst>
          </p:cNvPr>
          <p:cNvSpPr/>
          <p:nvPr/>
        </p:nvSpPr>
        <p:spPr>
          <a:xfrm rot="5400000">
            <a:off x="8569801" y="4501847"/>
            <a:ext cx="182880" cy="9144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defTabSz="914377"/>
            <a:endParaRPr lang="en-US" sz="1000">
              <a:solidFill>
                <a:srgbClr val="FFFFFF"/>
              </a:solidFill>
              <a:latin typeface="Zurich Sans Light" panose="02000000000000000000" pitchFamily="2" charset="0"/>
            </a:endParaRPr>
          </a:p>
        </p:txBody>
      </p:sp>
      <p:sp>
        <p:nvSpPr>
          <p:cNvPr id="5" name="TextBox 4">
            <a:extLst>
              <a:ext uri="{FF2B5EF4-FFF2-40B4-BE49-F238E27FC236}">
                <a16:creationId xmlns:a16="http://schemas.microsoft.com/office/drawing/2014/main" id="{C2A16C61-2B4D-7D55-9771-FDBDCC7F867A}"/>
              </a:ext>
            </a:extLst>
          </p:cNvPr>
          <p:cNvSpPr txBox="1"/>
          <p:nvPr/>
        </p:nvSpPr>
        <p:spPr>
          <a:xfrm>
            <a:off x="433388" y="1139654"/>
            <a:ext cx="11350625" cy="830997"/>
          </a:xfrm>
          <a:prstGeom prst="rect">
            <a:avLst/>
          </a:prstGeom>
          <a:noFill/>
        </p:spPr>
        <p:txBody>
          <a:bodyPr wrap="square" lIns="0" tIns="0" rIns="0" bIns="0">
            <a:spAutoFit/>
          </a:bodyPr>
          <a:lstStyle/>
          <a:p>
            <a:pPr defTabSz="914377"/>
            <a:r>
              <a:rPr lang="de-DE" noProof="0">
                <a:solidFill>
                  <a:srgbClr val="2167AE"/>
                </a:solidFill>
                <a:latin typeface="Zurich Sans Light" panose="02000000000000000000" pitchFamily="2" charset="0"/>
              </a:rPr>
              <a:t>Von der Risikoanalyse auf  </a:t>
            </a:r>
            <a:r>
              <a:rPr lang="de-DE" b="1" noProof="0">
                <a:solidFill>
                  <a:srgbClr val="2167AE"/>
                </a:solidFill>
                <a:latin typeface="Zurich Sans Light" panose="02000000000000000000" pitchFamily="2" charset="0"/>
              </a:rPr>
              <a:t>Portfolio-Ebene </a:t>
            </a:r>
            <a:r>
              <a:rPr lang="de-DE" noProof="0">
                <a:solidFill>
                  <a:srgbClr val="2167AE"/>
                </a:solidFill>
                <a:latin typeface="Zurich Sans Light" panose="02000000000000000000" pitchFamily="2" charset="0"/>
              </a:rPr>
              <a:t>bis hin zu  </a:t>
            </a:r>
            <a:r>
              <a:rPr lang="de-DE" b="1" noProof="0">
                <a:solidFill>
                  <a:srgbClr val="2167AE"/>
                </a:solidFill>
                <a:latin typeface="Zurich Sans Light" panose="02000000000000000000" pitchFamily="2" charset="0"/>
              </a:rPr>
              <a:t>standortspezifischen </a:t>
            </a:r>
            <a:r>
              <a:rPr lang="de-DE" noProof="0">
                <a:solidFill>
                  <a:srgbClr val="2167AE"/>
                </a:solidFill>
                <a:latin typeface="Zurich Sans Light" panose="02000000000000000000" pitchFamily="2" charset="0"/>
              </a:rPr>
              <a:t>Risikobewertungen unterstützen wir Organisationen dabei, zukünftige Klimarisiken zu erkennen und sich daran anzupassen. Mit Erkenntnissen, die Ihre Anforderungen an Klimaberichterstattung erfüllen. </a:t>
            </a:r>
          </a:p>
        </p:txBody>
      </p:sp>
    </p:spTree>
    <p:extLst>
      <p:ext uri="{BB962C8B-B14F-4D97-AF65-F5344CB8AC3E}">
        <p14:creationId xmlns:p14="http://schemas.microsoft.com/office/powerpoint/2010/main" val="607495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49A039-AFE6-95C7-0822-FB8594AE34B3}"/>
            </a:ext>
          </a:extLst>
        </p:cNvPr>
        <p:cNvGrpSpPr/>
        <p:nvPr/>
      </p:nvGrpSpPr>
      <p:grpSpPr>
        <a:xfrm>
          <a:off x="0" y="0"/>
          <a:ext cx="0" cy="0"/>
          <a:chOff x="0" y="0"/>
          <a:chExt cx="0" cy="0"/>
        </a:xfrm>
      </p:grpSpPr>
      <p:sp>
        <p:nvSpPr>
          <p:cNvPr id="48" name="Freeform 30">
            <a:extLst>
              <a:ext uri="{FF2B5EF4-FFF2-40B4-BE49-F238E27FC236}">
                <a16:creationId xmlns:a16="http://schemas.microsoft.com/office/drawing/2014/main" id="{02E44A21-3FAD-DA48-1B36-10D7588D2A7B}"/>
              </a:ext>
            </a:extLst>
          </p:cNvPr>
          <p:cNvSpPr/>
          <p:nvPr/>
        </p:nvSpPr>
        <p:spPr>
          <a:xfrm>
            <a:off x="6942501" y="1144269"/>
            <a:ext cx="5290567" cy="5713731"/>
          </a:xfrm>
          <a:custGeom>
            <a:avLst/>
            <a:gdLst>
              <a:gd name="connsiteX0" fmla="*/ 3317668 w 5291255"/>
              <a:gd name="connsiteY0" fmla="*/ 0 h 5714474"/>
              <a:gd name="connsiteX1" fmla="*/ 5172607 w 5291255"/>
              <a:gd name="connsiteY1" fmla="*/ 566606 h 5714474"/>
              <a:gd name="connsiteX2" fmla="*/ 5291255 w 5291255"/>
              <a:gd name="connsiteY2" fmla="*/ 655329 h 5714474"/>
              <a:gd name="connsiteX3" fmla="*/ 5291255 w 5291255"/>
              <a:gd name="connsiteY3" fmla="*/ 5714474 h 5714474"/>
              <a:gd name="connsiteX4" fmla="*/ 1027684 w 5291255"/>
              <a:gd name="connsiteY4" fmla="*/ 5714474 h 5714474"/>
              <a:gd name="connsiteX5" fmla="*/ 971723 w 5291255"/>
              <a:gd name="connsiteY5" fmla="*/ 5663614 h 5714474"/>
              <a:gd name="connsiteX6" fmla="*/ 0 w 5291255"/>
              <a:gd name="connsiteY6" fmla="*/ 3317668 h 5714474"/>
              <a:gd name="connsiteX7" fmla="*/ 3317668 w 5291255"/>
              <a:gd name="connsiteY7" fmla="*/ 0 h 571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1255" h="5714474">
                <a:moveTo>
                  <a:pt x="3317668" y="0"/>
                </a:moveTo>
                <a:cubicBezTo>
                  <a:pt x="4004779" y="0"/>
                  <a:pt x="4643104" y="208880"/>
                  <a:pt x="5172607" y="566606"/>
                </a:cubicBezTo>
                <a:lnTo>
                  <a:pt x="5291255" y="655329"/>
                </a:lnTo>
                <a:lnTo>
                  <a:pt x="5291255" y="5714474"/>
                </a:lnTo>
                <a:lnTo>
                  <a:pt x="1027684" y="5714474"/>
                </a:lnTo>
                <a:lnTo>
                  <a:pt x="971723" y="5663614"/>
                </a:lnTo>
                <a:cubicBezTo>
                  <a:pt x="371343" y="5063234"/>
                  <a:pt x="0" y="4233817"/>
                  <a:pt x="0" y="3317668"/>
                </a:cubicBezTo>
                <a:cubicBezTo>
                  <a:pt x="0" y="1485371"/>
                  <a:pt x="1485371" y="0"/>
                  <a:pt x="3317668" y="0"/>
                </a:cubicBez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7987" tIns="107987" rIns="107987" bIns="107987" rtlCol="0" anchor="ctr">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a:ln>
                <a:noFill/>
              </a:ln>
              <a:solidFill>
                <a:srgbClr val="FFFFFF"/>
              </a:solidFill>
              <a:effectLst/>
              <a:uLnTx/>
              <a:uFillTx/>
              <a:latin typeface="Zurich Sans Light"/>
              <a:ea typeface="+mn-ea"/>
              <a:cs typeface="+mn-cs"/>
            </a:endParaRPr>
          </a:p>
        </p:txBody>
      </p:sp>
      <p:sp>
        <p:nvSpPr>
          <p:cNvPr id="5" name="Title 2">
            <a:extLst>
              <a:ext uri="{FF2B5EF4-FFF2-40B4-BE49-F238E27FC236}">
                <a16:creationId xmlns:a16="http://schemas.microsoft.com/office/drawing/2014/main" id="{B96C9884-F315-7CA9-CCDE-A9573122E405}"/>
              </a:ext>
            </a:extLst>
          </p:cNvPr>
          <p:cNvSpPr>
            <a:spLocks noGrp="1"/>
          </p:cNvSpPr>
          <p:nvPr>
            <p:ph type="title"/>
          </p:nvPr>
        </p:nvSpPr>
        <p:spPr>
          <a:xfrm>
            <a:off x="410635" y="905542"/>
            <a:ext cx="8770842" cy="864658"/>
          </a:xfrm>
        </p:spPr>
        <p:txBody>
          <a:bodyPr>
            <a:norm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a:ln>
                  <a:noFill/>
                </a:ln>
                <a:solidFill>
                  <a:srgbClr val="2167AE"/>
                </a:solidFill>
                <a:effectLst/>
                <a:uLnTx/>
                <a:uFillTx/>
                <a:latin typeface="Zurich Sans Light"/>
                <a:ea typeface="+mn-ea"/>
                <a:cs typeface="+mn-cs"/>
              </a:rPr>
              <a:t>Top-down-Ansicht des Klimarisikos - </a:t>
            </a:r>
            <a:br>
              <a:rPr kumimoji="0" lang="de-DE" sz="2400" b="0" i="0" u="none" strike="noStrike" kern="1200" cap="none" spc="0" normalizeH="0" baseline="0">
                <a:ln>
                  <a:noFill/>
                </a:ln>
                <a:solidFill>
                  <a:srgbClr val="2167AE"/>
                </a:solidFill>
                <a:effectLst/>
                <a:uLnTx/>
                <a:uFillTx/>
                <a:latin typeface="Zurich Sans Light"/>
                <a:ea typeface="+mn-ea"/>
                <a:cs typeface="+mn-cs"/>
              </a:rPr>
            </a:br>
            <a:r>
              <a:rPr kumimoji="0" lang="de-DE" sz="2400" b="0" i="0" u="none" strike="noStrike" kern="1200" cap="none" spc="0" normalizeH="0" baseline="0">
                <a:ln>
                  <a:noFill/>
                </a:ln>
                <a:solidFill>
                  <a:srgbClr val="2167AE"/>
                </a:solidFill>
                <a:effectLst/>
                <a:uLnTx/>
                <a:uFillTx/>
                <a:latin typeface="Zurich Sans Light"/>
                <a:ea typeface="+mn-ea"/>
                <a:cs typeface="+mn-cs"/>
              </a:rPr>
              <a:t>Vollständig anpassbar an Ihre Bedürfnisse</a:t>
            </a:r>
            <a:endParaRPr kumimoji="0" lang="de-DE" sz="2400" b="0" i="0" u="none" strike="noStrike" kern="1200" cap="none" spc="0" normalizeH="0" baseline="0">
              <a:ln>
                <a:noFill/>
              </a:ln>
              <a:solidFill>
                <a:srgbClr val="000000"/>
              </a:solidFill>
              <a:effectLst/>
              <a:uLnTx/>
              <a:uFillTx/>
              <a:latin typeface="Zurich Sans Light"/>
              <a:ea typeface="+mn-ea"/>
              <a:cs typeface="+mn-cs"/>
            </a:endParaRPr>
          </a:p>
        </p:txBody>
      </p:sp>
      <p:sp>
        <p:nvSpPr>
          <p:cNvPr id="36" name="Slide Number Placeholder 52">
            <a:extLst>
              <a:ext uri="{FF2B5EF4-FFF2-40B4-BE49-F238E27FC236}">
                <a16:creationId xmlns:a16="http://schemas.microsoft.com/office/drawing/2014/main" id="{1A578EA7-A5EC-595A-B59C-A9911EB81D7F}"/>
              </a:ext>
            </a:extLst>
          </p:cNvPr>
          <p:cNvSpPr txBox="1">
            <a:spLocks/>
          </p:cNvSpPr>
          <p:nvPr/>
        </p:nvSpPr>
        <p:spPr>
          <a:xfrm>
            <a:off x="10657772" y="5374868"/>
            <a:ext cx="551115" cy="18196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accent1"/>
              </a:solidFill>
            </a:endParaRPr>
          </a:p>
        </p:txBody>
      </p:sp>
      <p:grpSp>
        <p:nvGrpSpPr>
          <p:cNvPr id="2" name="Group 1">
            <a:extLst>
              <a:ext uri="{FF2B5EF4-FFF2-40B4-BE49-F238E27FC236}">
                <a16:creationId xmlns:a16="http://schemas.microsoft.com/office/drawing/2014/main" id="{05359DC7-A84A-7807-1549-0566E7FB0321}"/>
              </a:ext>
            </a:extLst>
          </p:cNvPr>
          <p:cNvGrpSpPr/>
          <p:nvPr/>
        </p:nvGrpSpPr>
        <p:grpSpPr>
          <a:xfrm>
            <a:off x="250823" y="289004"/>
            <a:ext cx="9724302" cy="320056"/>
            <a:chOff x="250823" y="289004"/>
            <a:chExt cx="9724302" cy="320056"/>
          </a:xfrm>
        </p:grpSpPr>
        <p:sp>
          <p:nvSpPr>
            <p:cNvPr id="15" name="Rounded Rectangle 5">
              <a:extLst>
                <a:ext uri="{FF2B5EF4-FFF2-40B4-BE49-F238E27FC236}">
                  <a16:creationId xmlns:a16="http://schemas.microsoft.com/office/drawing/2014/main" id="{A554C78E-9502-3C12-43CD-ACE7551148B6}"/>
                </a:ext>
              </a:extLst>
            </p:cNvPr>
            <p:cNvSpPr/>
            <p:nvPr/>
          </p:nvSpPr>
          <p:spPr>
            <a:xfrm>
              <a:off x="250823" y="289004"/>
              <a:ext cx="1620000" cy="32005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chemeClr val="accent5"/>
                  </a:solidFill>
                </a:rPr>
                <a:t>Portfolioebene</a:t>
              </a:r>
            </a:p>
          </p:txBody>
        </p:sp>
        <p:sp>
          <p:nvSpPr>
            <p:cNvPr id="16" name="Rounded Rectangle 6">
              <a:extLst>
                <a:ext uri="{FF2B5EF4-FFF2-40B4-BE49-F238E27FC236}">
                  <a16:creationId xmlns:a16="http://schemas.microsoft.com/office/drawing/2014/main" id="{742B01A3-9E65-61D2-83CD-6374CE911C85}"/>
                </a:ext>
              </a:extLst>
            </p:cNvPr>
            <p:cNvSpPr/>
            <p:nvPr/>
          </p:nvSpPr>
          <p:spPr>
            <a:xfrm>
              <a:off x="1873116" y="289004"/>
              <a:ext cx="1620000" cy="320056"/>
            </a:xfrm>
            <a:prstGeom prst="roundRect">
              <a:avLst>
                <a:gd name="adj" fmla="val 50000"/>
              </a:avLst>
            </a:prstGeom>
            <a:solidFill>
              <a:srgbClr val="DDEAF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Identifikation</a:t>
              </a:r>
            </a:p>
          </p:txBody>
        </p:sp>
        <p:sp>
          <p:nvSpPr>
            <p:cNvPr id="17" name="Rounded Rectangle 11">
              <a:extLst>
                <a:ext uri="{FF2B5EF4-FFF2-40B4-BE49-F238E27FC236}">
                  <a16:creationId xmlns:a16="http://schemas.microsoft.com/office/drawing/2014/main" id="{A17F46ED-E6D6-4B71-E947-4930D4FAA449}"/>
                </a:ext>
              </a:extLst>
            </p:cNvPr>
            <p:cNvSpPr/>
            <p:nvPr/>
          </p:nvSpPr>
          <p:spPr>
            <a:xfrm>
              <a:off x="3488837" y="289004"/>
              <a:ext cx="1620000" cy="320056"/>
            </a:xfrm>
            <a:prstGeom prst="roundRect">
              <a:avLst>
                <a:gd name="adj" fmla="val 50000"/>
              </a:avLst>
            </a:prstGeom>
            <a:solidFill>
              <a:srgbClr val="DDEAF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chemeClr val="accent1"/>
                  </a:solidFill>
                </a:rPr>
                <a:t>Priorisierung</a:t>
              </a:r>
            </a:p>
          </p:txBody>
        </p:sp>
        <p:sp>
          <p:nvSpPr>
            <p:cNvPr id="18" name="Rounded Rectangle 13">
              <a:extLst>
                <a:ext uri="{FF2B5EF4-FFF2-40B4-BE49-F238E27FC236}">
                  <a16:creationId xmlns:a16="http://schemas.microsoft.com/office/drawing/2014/main" id="{C642FFE3-EF6E-6344-2A7D-495757E30E0B}"/>
                </a:ext>
              </a:extLst>
            </p:cNvPr>
            <p:cNvSpPr/>
            <p:nvPr/>
          </p:nvSpPr>
          <p:spPr>
            <a:xfrm>
              <a:off x="5113770"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b="1">
                  <a:solidFill>
                    <a:srgbClr val="2167AE"/>
                  </a:solidFill>
                </a:rPr>
                <a:t>Standortebene</a:t>
              </a:r>
            </a:p>
          </p:txBody>
        </p:sp>
        <p:sp>
          <p:nvSpPr>
            <p:cNvPr id="20" name="Rounded Rectangle 17">
              <a:extLst>
                <a:ext uri="{FF2B5EF4-FFF2-40B4-BE49-F238E27FC236}">
                  <a16:creationId xmlns:a16="http://schemas.microsoft.com/office/drawing/2014/main" id="{46D7EBF6-14C4-A926-6E9C-22A50F8C4153}"/>
                </a:ext>
              </a:extLst>
            </p:cNvPr>
            <p:cNvSpPr/>
            <p:nvPr/>
          </p:nvSpPr>
          <p:spPr>
            <a:xfrm>
              <a:off x="6732879"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Quantifizierung</a:t>
              </a:r>
            </a:p>
          </p:txBody>
        </p:sp>
        <p:sp>
          <p:nvSpPr>
            <p:cNvPr id="21" name="Rounded Rectangle 18">
              <a:extLst>
                <a:ext uri="{FF2B5EF4-FFF2-40B4-BE49-F238E27FC236}">
                  <a16:creationId xmlns:a16="http://schemas.microsoft.com/office/drawing/2014/main" id="{ABBC0C9E-02B2-855E-31ED-EF56376B89B5}"/>
                </a:ext>
              </a:extLst>
            </p:cNvPr>
            <p:cNvSpPr/>
            <p:nvPr/>
          </p:nvSpPr>
          <p:spPr>
            <a:xfrm>
              <a:off x="8355125" y="289004"/>
              <a:ext cx="1620000" cy="320056"/>
            </a:xfrm>
            <a:prstGeom prst="roundRect">
              <a:avLst>
                <a:gd name="adj" fmla="val 50000"/>
              </a:avLst>
            </a:prstGeom>
            <a:solidFill>
              <a:srgbClr val="EBF0E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a:solidFill>
                    <a:srgbClr val="2167AE"/>
                  </a:solidFill>
                </a:rPr>
                <a:t>Anpassung</a:t>
              </a:r>
            </a:p>
          </p:txBody>
        </p:sp>
      </p:grpSp>
      <p:sp>
        <p:nvSpPr>
          <p:cNvPr id="4" name="TextBox 23">
            <a:extLst>
              <a:ext uri="{FF2B5EF4-FFF2-40B4-BE49-F238E27FC236}">
                <a16:creationId xmlns:a16="http://schemas.microsoft.com/office/drawing/2014/main" id="{FB3A671F-81B7-D167-A166-FDFFA2AF561C}"/>
              </a:ext>
            </a:extLst>
          </p:cNvPr>
          <p:cNvSpPr txBox="1"/>
          <p:nvPr/>
        </p:nvSpPr>
        <p:spPr>
          <a:xfrm>
            <a:off x="297532" y="1917300"/>
            <a:ext cx="6093635" cy="369332"/>
          </a:xfrm>
          <a:prstGeom prst="rect">
            <a:avLst/>
          </a:prstGeom>
          <a:noFill/>
        </p:spPr>
        <p:txBody>
          <a:bodyPr wrap="square">
            <a:spAutoFit/>
          </a:bodyPr>
          <a:lstStyle/>
          <a:p>
            <a:pPr marL="0" marR="0" lvl="0" indent="0" algn="l" defTabSz="914264" rtl="0" eaLnBrk="1" fontAlgn="auto" latinLnBrk="0" hangingPunct="1">
              <a:lnSpc>
                <a:spcPct val="100000"/>
              </a:lnSpc>
              <a:spcBef>
                <a:spcPts val="0"/>
              </a:spcBef>
              <a:spcAft>
                <a:spcPts val="200"/>
              </a:spcAft>
              <a:buClrTx/>
              <a:buSzTx/>
              <a:buFontTx/>
              <a:buNone/>
              <a:tabLst/>
              <a:defRPr/>
            </a:pPr>
            <a:r>
              <a:rPr kumimoji="0" lang="de-DE" b="0" i="0" u="none" strike="noStrike" kern="1200" cap="none" spc="0" normalizeH="0" baseline="0">
                <a:ln>
                  <a:noFill/>
                </a:ln>
                <a:solidFill>
                  <a:srgbClr val="2167AE"/>
                </a:solidFill>
                <a:effectLst/>
                <a:uLnTx/>
                <a:uFillTx/>
                <a:latin typeface="Zurich Sans Light"/>
                <a:ea typeface="+mn-ea"/>
                <a:cs typeface="+mn-cs"/>
              </a:rPr>
              <a:t>Folgende Optionen sind verfügbar:</a:t>
            </a:r>
            <a:endParaRPr kumimoji="0" lang="de-DE" b="0" i="1" u="none" strike="noStrike" kern="1200" cap="none" spc="0" normalizeH="0" baseline="0">
              <a:ln>
                <a:noFill/>
              </a:ln>
              <a:solidFill>
                <a:srgbClr val="2167AE"/>
              </a:solidFill>
              <a:effectLst/>
              <a:uLnTx/>
              <a:uFillTx/>
              <a:latin typeface="Zurich Sans Light"/>
              <a:ea typeface="+mn-ea"/>
              <a:cs typeface="+mn-cs"/>
            </a:endParaRPr>
          </a:p>
        </p:txBody>
      </p:sp>
      <p:sp>
        <p:nvSpPr>
          <p:cNvPr id="7" name="TextBox 22">
            <a:extLst>
              <a:ext uri="{FF2B5EF4-FFF2-40B4-BE49-F238E27FC236}">
                <a16:creationId xmlns:a16="http://schemas.microsoft.com/office/drawing/2014/main" id="{B4220364-7DE9-D317-897C-70ECF8418B4F}"/>
              </a:ext>
            </a:extLst>
          </p:cNvPr>
          <p:cNvSpPr txBox="1"/>
          <p:nvPr/>
        </p:nvSpPr>
        <p:spPr>
          <a:xfrm>
            <a:off x="11157574" y="6548566"/>
            <a:ext cx="699247" cy="138499"/>
          </a:xfrm>
          <a:prstGeom prst="rect">
            <a:avLst/>
          </a:prstGeom>
        </p:spPr>
        <p:txBody>
          <a:bodyPr vert="horz" lIns="0" tIns="0" rIns="0" bIns="0" rtlCol="0" anchor="t" anchorCtr="0">
            <a:spAutoFit/>
          </a:bodyPr>
          <a:lstStyle>
            <a:defPPr>
              <a:defRPr lang="en-US"/>
            </a:defPPr>
            <a:lvl1pPr algn="r">
              <a:defRPr sz="700">
                <a:solidFill>
                  <a:schemeClr val="accent1"/>
                </a:solidFill>
              </a:defRPr>
            </a:lvl1p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a:ln>
                  <a:noFill/>
                </a:ln>
                <a:solidFill>
                  <a:srgbClr val="2167AE"/>
                </a:solidFill>
                <a:effectLst/>
                <a:uLnTx/>
                <a:uFillTx/>
                <a:latin typeface="Zurich Sans Light"/>
                <a:ea typeface="+mn-ea"/>
                <a:cs typeface="+mn-cs"/>
              </a:rPr>
              <a:t>© </a:t>
            </a:r>
            <a:r>
              <a:rPr kumimoji="0" lang="de-DE" sz="900" b="0" i="0" u="none" strike="noStrike" kern="1200" cap="none" spc="0" normalizeH="0" baseline="0" err="1">
                <a:ln>
                  <a:noFill/>
                </a:ln>
                <a:solidFill>
                  <a:srgbClr val="2167AE"/>
                </a:solidFill>
                <a:effectLst/>
                <a:uLnTx/>
                <a:uFillTx/>
                <a:latin typeface="Zurich Sans Light"/>
                <a:ea typeface="+mn-ea"/>
                <a:cs typeface="+mn-cs"/>
              </a:rPr>
              <a:t>Zurich</a:t>
            </a:r>
            <a:endParaRPr kumimoji="0" lang="de-DE" sz="900" b="0" i="0" u="none" strike="noStrike" kern="1200" cap="none" spc="0" normalizeH="0" baseline="0">
              <a:ln>
                <a:noFill/>
              </a:ln>
              <a:solidFill>
                <a:srgbClr val="2167AE"/>
              </a:solidFill>
              <a:effectLst/>
              <a:uLnTx/>
              <a:uFillTx/>
              <a:latin typeface="Zurich Sans Light"/>
              <a:ea typeface="+mn-ea"/>
              <a:cs typeface="+mn-cs"/>
            </a:endParaRPr>
          </a:p>
        </p:txBody>
      </p:sp>
      <p:grpSp>
        <p:nvGrpSpPr>
          <p:cNvPr id="10" name="Group 31">
            <a:extLst>
              <a:ext uri="{FF2B5EF4-FFF2-40B4-BE49-F238E27FC236}">
                <a16:creationId xmlns:a16="http://schemas.microsoft.com/office/drawing/2014/main" id="{4492C39F-DF9B-30B3-8A15-0FAEF4A70989}"/>
              </a:ext>
            </a:extLst>
          </p:cNvPr>
          <p:cNvGrpSpPr/>
          <p:nvPr/>
        </p:nvGrpSpPr>
        <p:grpSpPr>
          <a:xfrm>
            <a:off x="417193" y="2398804"/>
            <a:ext cx="5659376" cy="719907"/>
            <a:chOff x="416452" y="2398670"/>
            <a:chExt cx="5660112" cy="720000"/>
          </a:xfrm>
        </p:grpSpPr>
        <p:sp>
          <p:nvSpPr>
            <p:cNvPr id="11" name="Rectangle 2">
              <a:extLst>
                <a:ext uri="{FF2B5EF4-FFF2-40B4-BE49-F238E27FC236}">
                  <a16:creationId xmlns:a16="http://schemas.microsoft.com/office/drawing/2014/main" id="{5F6EFFB6-D87F-6B45-67CA-2C7EA52A092A}"/>
                </a:ext>
              </a:extLst>
            </p:cNvPr>
            <p:cNvSpPr/>
            <p:nvPr/>
          </p:nvSpPr>
          <p:spPr>
            <a:xfrm>
              <a:off x="751365" y="2398670"/>
              <a:ext cx="5325199"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39931" tIns="107987" rIns="179977" bIns="107987" rtlCol="0" anchor="ct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a:ln>
                    <a:noFill/>
                  </a:ln>
                  <a:solidFill>
                    <a:srgbClr val="2167AE"/>
                  </a:solidFill>
                  <a:effectLst/>
                  <a:uLnTx/>
                  <a:uFillTx/>
                  <a:latin typeface="Zurich Sans Medium"/>
                  <a:ea typeface="+mn-ea"/>
                  <a:cs typeface="+mn-cs"/>
                </a:rPr>
                <a:t>Mehrere Klimaszenarien</a:t>
              </a:r>
              <a:endParaRPr kumimoji="0" lang="de-DE" sz="1600" b="0" i="0" u="none" strike="noStrike" kern="1200" cap="none" spc="0" normalizeH="0" baseline="0">
                <a:ln>
                  <a:noFill/>
                </a:ln>
                <a:solidFill>
                  <a:srgbClr val="2167AE"/>
                </a:solidFill>
                <a:effectLst/>
                <a:uLnTx/>
                <a:uFillTx/>
                <a:latin typeface="Zurich Sans Light"/>
                <a:ea typeface="+mn-ea"/>
                <a:cs typeface="+mn-cs"/>
              </a:endParaRPr>
            </a:p>
          </p:txBody>
        </p:sp>
        <p:pic>
          <p:nvPicPr>
            <p:cNvPr id="12" name="Picture 33" descr="A thermometer in the shape of a globe&#10;&#10;Description automatically generated">
              <a:extLst>
                <a:ext uri="{FF2B5EF4-FFF2-40B4-BE49-F238E27FC236}">
                  <a16:creationId xmlns:a16="http://schemas.microsoft.com/office/drawing/2014/main" id="{F47F4573-DB8E-D01E-6B0B-6F6E81BE1B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452" y="2398670"/>
              <a:ext cx="720000" cy="720000"/>
            </a:xfrm>
            <a:prstGeom prst="rect">
              <a:avLst/>
            </a:prstGeom>
          </p:spPr>
        </p:pic>
      </p:grpSp>
      <p:pic>
        <p:nvPicPr>
          <p:cNvPr id="13" name="Picture 35" descr="A blue circle with a cloud and lightning bolt&#10;&#10;Description automatically generated">
            <a:extLst>
              <a:ext uri="{FF2B5EF4-FFF2-40B4-BE49-F238E27FC236}">
                <a16:creationId xmlns:a16="http://schemas.microsoft.com/office/drawing/2014/main" id="{A66E330F-3B69-1E44-C52A-F6BF50AA38B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5348" y="3137203"/>
            <a:ext cx="719907" cy="719907"/>
          </a:xfrm>
          <a:prstGeom prst="rect">
            <a:avLst/>
          </a:prstGeom>
        </p:spPr>
      </p:pic>
      <p:grpSp>
        <p:nvGrpSpPr>
          <p:cNvPr id="22" name="Group 29">
            <a:extLst>
              <a:ext uri="{FF2B5EF4-FFF2-40B4-BE49-F238E27FC236}">
                <a16:creationId xmlns:a16="http://schemas.microsoft.com/office/drawing/2014/main" id="{8F4D25AC-5107-B771-8D0E-120D6C65BCB3}"/>
              </a:ext>
            </a:extLst>
          </p:cNvPr>
          <p:cNvGrpSpPr/>
          <p:nvPr/>
        </p:nvGrpSpPr>
        <p:grpSpPr>
          <a:xfrm>
            <a:off x="410635" y="3139562"/>
            <a:ext cx="5665935" cy="724623"/>
            <a:chOff x="409892" y="3139523"/>
            <a:chExt cx="5666672" cy="724716"/>
          </a:xfrm>
        </p:grpSpPr>
        <p:sp>
          <p:nvSpPr>
            <p:cNvPr id="23" name="Rectangle 8">
              <a:extLst>
                <a:ext uri="{FF2B5EF4-FFF2-40B4-BE49-F238E27FC236}">
                  <a16:creationId xmlns:a16="http://schemas.microsoft.com/office/drawing/2014/main" id="{8C183B1E-E5BB-F347-BB3A-940105E48FF9}"/>
                </a:ext>
              </a:extLst>
            </p:cNvPr>
            <p:cNvSpPr/>
            <p:nvPr/>
          </p:nvSpPr>
          <p:spPr>
            <a:xfrm>
              <a:off x="751365" y="3141881"/>
              <a:ext cx="5325199"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39931" tIns="107987" rIns="179977" bIns="107987" rtlCol="0" anchor="ct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a:ln>
                    <a:noFill/>
                  </a:ln>
                  <a:solidFill>
                    <a:srgbClr val="2167AE"/>
                  </a:solidFill>
                  <a:effectLst/>
                  <a:uLnTx/>
                  <a:uFillTx/>
                  <a:latin typeface="Zurich Sans Medium"/>
                  <a:ea typeface="+mn-ea"/>
                  <a:cs typeface="+mn-cs"/>
                </a:rPr>
                <a:t>Zahlreiche Naturgefahren</a:t>
              </a:r>
              <a:endParaRPr kumimoji="0" lang="de-DE" sz="1600" b="0" i="0" u="none" strike="noStrike" kern="1200" cap="none" spc="0" normalizeH="0" baseline="0">
                <a:ln>
                  <a:noFill/>
                </a:ln>
                <a:solidFill>
                  <a:srgbClr val="2167AE"/>
                </a:solidFill>
                <a:effectLst/>
                <a:uLnTx/>
                <a:uFillTx/>
                <a:latin typeface="Zurich Sans Light"/>
                <a:ea typeface="+mn-ea"/>
                <a:cs typeface="+mn-cs"/>
              </a:endParaRPr>
            </a:p>
          </p:txBody>
        </p:sp>
        <p:pic>
          <p:nvPicPr>
            <p:cNvPr id="24" name="Picture 39" descr="A tree with wind blowing in the air&#10;&#10;Description automatically generated">
              <a:extLst>
                <a:ext uri="{FF2B5EF4-FFF2-40B4-BE49-F238E27FC236}">
                  <a16:creationId xmlns:a16="http://schemas.microsoft.com/office/drawing/2014/main" id="{AF7CC35D-1C9D-4D38-C0E4-C0668085149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9892" y="3139523"/>
              <a:ext cx="724716" cy="724716"/>
            </a:xfrm>
            <a:prstGeom prst="rect">
              <a:avLst/>
            </a:prstGeom>
          </p:spPr>
        </p:pic>
      </p:grpSp>
      <p:grpSp>
        <p:nvGrpSpPr>
          <p:cNvPr id="25" name="Group 21">
            <a:extLst>
              <a:ext uri="{FF2B5EF4-FFF2-40B4-BE49-F238E27FC236}">
                <a16:creationId xmlns:a16="http://schemas.microsoft.com/office/drawing/2014/main" id="{09A1D88A-5358-6D73-C714-C0B5F5A9CEDD}"/>
              </a:ext>
            </a:extLst>
          </p:cNvPr>
          <p:cNvGrpSpPr/>
          <p:nvPr/>
        </p:nvGrpSpPr>
        <p:grpSpPr>
          <a:xfrm>
            <a:off x="423535" y="5371261"/>
            <a:ext cx="5653034" cy="719907"/>
            <a:chOff x="422794" y="5371515"/>
            <a:chExt cx="5653771" cy="720000"/>
          </a:xfrm>
        </p:grpSpPr>
        <p:sp>
          <p:nvSpPr>
            <p:cNvPr id="26" name="Rectangle 13">
              <a:extLst>
                <a:ext uri="{FF2B5EF4-FFF2-40B4-BE49-F238E27FC236}">
                  <a16:creationId xmlns:a16="http://schemas.microsoft.com/office/drawing/2014/main" id="{D6765231-067C-CF67-DD88-7A8EA60339C8}"/>
                </a:ext>
              </a:extLst>
            </p:cNvPr>
            <p:cNvSpPr/>
            <p:nvPr/>
          </p:nvSpPr>
          <p:spPr>
            <a:xfrm>
              <a:off x="751365" y="5371515"/>
              <a:ext cx="53252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39931" tIns="107987" rIns="179977" bIns="107987" rtlCol="0" anchor="ct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a:ln>
                    <a:noFill/>
                  </a:ln>
                  <a:solidFill>
                    <a:srgbClr val="2167AE"/>
                  </a:solidFill>
                  <a:effectLst/>
                  <a:uLnTx/>
                  <a:uFillTx/>
                  <a:latin typeface="Zurich Sans Medium"/>
                  <a:ea typeface="+mn-ea"/>
                  <a:cs typeface="+mn-cs"/>
                </a:rPr>
                <a:t>Flexibler Ranking-Ansatz </a:t>
              </a:r>
              <a:r>
                <a:rPr kumimoji="0" lang="de-DE" sz="1600" b="0" i="0" u="none" strike="noStrike" kern="1200" cap="none" spc="0" normalizeH="0" baseline="0">
                  <a:ln>
                    <a:noFill/>
                  </a:ln>
                  <a:solidFill>
                    <a:srgbClr val="2167AE"/>
                  </a:solidFill>
                  <a:effectLst/>
                  <a:uLnTx/>
                  <a:uFillTx/>
                  <a:latin typeface="Zurich Sans Light"/>
                  <a:ea typeface="+mn-ea"/>
                  <a:cs typeface="+mn-cs"/>
                </a:rPr>
                <a:t>basiert auf individuellen Kundenbedürfnissen</a:t>
              </a:r>
            </a:p>
          </p:txBody>
        </p:sp>
        <p:pic>
          <p:nvPicPr>
            <p:cNvPr id="27" name="Picture 53" descr="A blue circle with white stars&#10;&#10;Description automatically generated">
              <a:extLst>
                <a:ext uri="{FF2B5EF4-FFF2-40B4-BE49-F238E27FC236}">
                  <a16:creationId xmlns:a16="http://schemas.microsoft.com/office/drawing/2014/main" id="{660D65DA-B602-E125-13CE-92A7472F68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2794" y="5371515"/>
              <a:ext cx="720000" cy="720000"/>
            </a:xfrm>
            <a:prstGeom prst="rect">
              <a:avLst/>
            </a:prstGeom>
          </p:spPr>
        </p:pic>
      </p:grpSp>
      <p:grpSp>
        <p:nvGrpSpPr>
          <p:cNvPr id="28" name="Group 28">
            <a:extLst>
              <a:ext uri="{FF2B5EF4-FFF2-40B4-BE49-F238E27FC236}">
                <a16:creationId xmlns:a16="http://schemas.microsoft.com/office/drawing/2014/main" id="{CB0544F5-B0C2-5A35-E3BC-124BDFC11512}"/>
              </a:ext>
            </a:extLst>
          </p:cNvPr>
          <p:cNvGrpSpPr/>
          <p:nvPr/>
        </p:nvGrpSpPr>
        <p:grpSpPr>
          <a:xfrm>
            <a:off x="417291" y="3882675"/>
            <a:ext cx="5667898" cy="722264"/>
            <a:chOff x="416550" y="3882734"/>
            <a:chExt cx="5668635" cy="722358"/>
          </a:xfrm>
        </p:grpSpPr>
        <p:sp>
          <p:nvSpPr>
            <p:cNvPr id="29" name="Rectangle 3">
              <a:extLst>
                <a:ext uri="{FF2B5EF4-FFF2-40B4-BE49-F238E27FC236}">
                  <a16:creationId xmlns:a16="http://schemas.microsoft.com/office/drawing/2014/main" id="{CC7D830F-2543-2DF1-7C16-2326532820B1}"/>
                </a:ext>
              </a:extLst>
            </p:cNvPr>
            <p:cNvSpPr/>
            <p:nvPr/>
          </p:nvSpPr>
          <p:spPr>
            <a:xfrm>
              <a:off x="751365" y="3885092"/>
              <a:ext cx="533382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39931" tIns="107987" rIns="179977" bIns="107987" rtlCol="0" anchor="ct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a:ln>
                    <a:noFill/>
                  </a:ln>
                  <a:solidFill>
                    <a:srgbClr val="2167AE"/>
                  </a:solidFill>
                  <a:effectLst/>
                  <a:uLnTx/>
                  <a:uFillTx/>
                  <a:latin typeface="Zurich Sans Medium"/>
                  <a:ea typeface="+mn-ea"/>
                  <a:cs typeface="+mn-cs"/>
                </a:rPr>
                <a:t>Mehrere Zeithorizonte bis 2100</a:t>
              </a:r>
            </a:p>
          </p:txBody>
        </p:sp>
        <p:pic>
          <p:nvPicPr>
            <p:cNvPr id="30" name="Picture 60" descr="A blue circle with a white square with blue squares&#10;&#10;Description automatically generated">
              <a:extLst>
                <a:ext uri="{FF2B5EF4-FFF2-40B4-BE49-F238E27FC236}">
                  <a16:creationId xmlns:a16="http://schemas.microsoft.com/office/drawing/2014/main" id="{2E4E90DC-A9E2-F90E-577B-F93687F7C8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6550" y="3882734"/>
              <a:ext cx="720000" cy="720000"/>
            </a:xfrm>
            <a:prstGeom prst="rect">
              <a:avLst/>
            </a:prstGeom>
          </p:spPr>
        </p:pic>
      </p:grpSp>
      <p:grpSp>
        <p:nvGrpSpPr>
          <p:cNvPr id="31" name="Group 44">
            <a:extLst>
              <a:ext uri="{FF2B5EF4-FFF2-40B4-BE49-F238E27FC236}">
                <a16:creationId xmlns:a16="http://schemas.microsoft.com/office/drawing/2014/main" id="{4560783A-F9D2-65BE-9DFB-D961601338C6}"/>
              </a:ext>
            </a:extLst>
          </p:cNvPr>
          <p:cNvGrpSpPr/>
          <p:nvPr/>
        </p:nvGrpSpPr>
        <p:grpSpPr>
          <a:xfrm>
            <a:off x="6258037" y="1389820"/>
            <a:ext cx="5846883" cy="5846883"/>
            <a:chOff x="3232004" y="1362855"/>
            <a:chExt cx="5847644" cy="5847644"/>
          </a:xfrm>
        </p:grpSpPr>
        <p:pic>
          <p:nvPicPr>
            <p:cNvPr id="38" name="Picture 26" descr="A computer monitor with a blank screen&#10;&#10;Description automatically generated">
              <a:extLst>
                <a:ext uri="{FF2B5EF4-FFF2-40B4-BE49-F238E27FC236}">
                  <a16:creationId xmlns:a16="http://schemas.microsoft.com/office/drawing/2014/main" id="{ED7ED2CF-A9DC-1ADF-7A7A-EADC60DA26F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32004" y="1362855"/>
              <a:ext cx="5847644" cy="5847644"/>
            </a:xfrm>
            <a:prstGeom prst="rect">
              <a:avLst/>
            </a:prstGeom>
          </p:spPr>
        </p:pic>
        <p:pic>
          <p:nvPicPr>
            <p:cNvPr id="40" name="Picture 40">
              <a:extLst>
                <a:ext uri="{FF2B5EF4-FFF2-40B4-BE49-F238E27FC236}">
                  <a16:creationId xmlns:a16="http://schemas.microsoft.com/office/drawing/2014/main" id="{37168056-4977-FFFC-2932-DF312E1E43CA}"/>
                </a:ext>
              </a:extLst>
            </p:cNvPr>
            <p:cNvPicPr>
              <a:picLocks noChangeAspect="1"/>
            </p:cNvPicPr>
            <p:nvPr/>
          </p:nvPicPr>
          <p:blipFill rotWithShape="1">
            <a:blip r:embed="rId9"/>
            <a:srcRect l="29865"/>
            <a:stretch/>
          </p:blipFill>
          <p:spPr>
            <a:xfrm>
              <a:off x="5600239" y="2615321"/>
              <a:ext cx="2881608" cy="2302696"/>
            </a:xfrm>
            <a:prstGeom prst="rect">
              <a:avLst/>
            </a:prstGeom>
            <a:ln>
              <a:noFill/>
            </a:ln>
          </p:spPr>
        </p:pic>
      </p:grpSp>
      <p:grpSp>
        <p:nvGrpSpPr>
          <p:cNvPr id="41" name="Group 27">
            <a:extLst>
              <a:ext uri="{FF2B5EF4-FFF2-40B4-BE49-F238E27FC236}">
                <a16:creationId xmlns:a16="http://schemas.microsoft.com/office/drawing/2014/main" id="{41ACC02B-7028-C15E-BF40-8248E7A250C0}"/>
              </a:ext>
            </a:extLst>
          </p:cNvPr>
          <p:cNvGrpSpPr/>
          <p:nvPr/>
        </p:nvGrpSpPr>
        <p:grpSpPr>
          <a:xfrm>
            <a:off x="417193" y="4628147"/>
            <a:ext cx="5678807" cy="719907"/>
            <a:chOff x="416452" y="4628303"/>
            <a:chExt cx="5679546" cy="720000"/>
          </a:xfrm>
        </p:grpSpPr>
        <p:sp>
          <p:nvSpPr>
            <p:cNvPr id="43" name="Rectangle 12">
              <a:extLst>
                <a:ext uri="{FF2B5EF4-FFF2-40B4-BE49-F238E27FC236}">
                  <a16:creationId xmlns:a16="http://schemas.microsoft.com/office/drawing/2014/main" id="{C2CBA848-A9A8-74C9-92D8-53445D676024}"/>
                </a:ext>
              </a:extLst>
            </p:cNvPr>
            <p:cNvSpPr/>
            <p:nvPr/>
          </p:nvSpPr>
          <p:spPr>
            <a:xfrm>
              <a:off x="751365" y="4628303"/>
              <a:ext cx="5344633"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39931" tIns="107987" rIns="179977" bIns="107987" rtlCol="0" anchor="ct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a:ln>
                    <a:noFill/>
                  </a:ln>
                  <a:solidFill>
                    <a:srgbClr val="2167AE"/>
                  </a:solidFill>
                  <a:effectLst/>
                  <a:uLnTx/>
                  <a:uFillTx/>
                  <a:latin typeface="Zurich Sans Medium"/>
                  <a:ea typeface="+mn-ea"/>
                  <a:cs typeface="+mn-cs"/>
                </a:rPr>
                <a:t>Kritikalität</a:t>
              </a:r>
              <a:r>
                <a:rPr lang="de-DE" sz="1600">
                  <a:solidFill>
                    <a:srgbClr val="2167AE"/>
                  </a:solidFill>
                  <a:latin typeface="Zurich Sans Medium"/>
                </a:rPr>
                <a:t>: </a:t>
              </a:r>
              <a:r>
                <a:rPr kumimoji="0" lang="de-DE" sz="1600" b="0" i="0" u="none" strike="noStrike" kern="1200" cap="none" spc="0" normalizeH="0" baseline="0">
                  <a:ln>
                    <a:noFill/>
                  </a:ln>
                  <a:solidFill>
                    <a:srgbClr val="2167AE"/>
                  </a:solidFill>
                  <a:effectLst/>
                  <a:uLnTx/>
                  <a:uFillTx/>
                  <a:latin typeface="Zurich Sans Light"/>
                  <a:ea typeface="+mn-ea"/>
                  <a:cs typeface="+mn-cs"/>
                </a:rPr>
                <a:t>Flexibler Ansatz: Sachwerte oder Gesamtversicherungswert, Mitarbeiter, Umsatz, andere definierte Messgrößen</a:t>
              </a:r>
            </a:p>
          </p:txBody>
        </p:sp>
        <p:pic>
          <p:nvPicPr>
            <p:cNvPr id="44" name="Graphic 20">
              <a:extLst>
                <a:ext uri="{FF2B5EF4-FFF2-40B4-BE49-F238E27FC236}">
                  <a16:creationId xmlns:a16="http://schemas.microsoft.com/office/drawing/2014/main" id="{7A6B65A9-F7C8-9B1C-4699-D0091EB4205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16452" y="4628303"/>
              <a:ext cx="720000" cy="720000"/>
            </a:xfrm>
            <a:prstGeom prst="rect">
              <a:avLst/>
            </a:prstGeom>
          </p:spPr>
        </p:pic>
      </p:grpSp>
      <p:pic>
        <p:nvPicPr>
          <p:cNvPr id="45" name="Grafik 44">
            <a:extLst>
              <a:ext uri="{FF2B5EF4-FFF2-40B4-BE49-F238E27FC236}">
                <a16:creationId xmlns:a16="http://schemas.microsoft.com/office/drawing/2014/main" id="{E6E16211-6B11-96FD-D910-2C59A94163E6}"/>
              </a:ext>
            </a:extLst>
          </p:cNvPr>
          <p:cNvPicPr>
            <a:picLocks noChangeAspect="1"/>
          </p:cNvPicPr>
          <p:nvPr/>
        </p:nvPicPr>
        <p:blipFill>
          <a:blip r:embed="rId12"/>
          <a:stretch>
            <a:fillRect/>
          </a:stretch>
        </p:blipFill>
        <p:spPr>
          <a:xfrm>
            <a:off x="6942501" y="2619291"/>
            <a:ext cx="1834657" cy="2348061"/>
          </a:xfrm>
          <a:prstGeom prst="rect">
            <a:avLst/>
          </a:prstGeom>
        </p:spPr>
      </p:pic>
      <p:sp>
        <p:nvSpPr>
          <p:cNvPr id="47" name="Rectangle 7">
            <a:extLst>
              <a:ext uri="{FF2B5EF4-FFF2-40B4-BE49-F238E27FC236}">
                <a16:creationId xmlns:a16="http://schemas.microsoft.com/office/drawing/2014/main" id="{83F490D6-26B2-6F4A-D3FE-015E6500E54A}"/>
              </a:ext>
            </a:extLst>
          </p:cNvPr>
          <p:cNvSpPr/>
          <p:nvPr/>
        </p:nvSpPr>
        <p:spPr>
          <a:xfrm>
            <a:off x="291021" y="6408987"/>
            <a:ext cx="7159929" cy="3191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108000" rIns="180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a:ln>
                  <a:noFill/>
                </a:ln>
                <a:solidFill>
                  <a:srgbClr val="2167AE"/>
                </a:solidFill>
                <a:effectLst/>
                <a:uLnTx/>
                <a:uFillTx/>
                <a:latin typeface="Zurich Sans Light"/>
                <a:ea typeface="+mn-ea"/>
                <a:cs typeface="+mn-cs"/>
              </a:rPr>
              <a:t>*Der Abschlussbericht (PDF) konzentriert sich auf eine begrenzte Auswahl von Zeithorizonten und Szenarien</a:t>
            </a:r>
          </a:p>
        </p:txBody>
      </p:sp>
      <p:sp>
        <p:nvSpPr>
          <p:cNvPr id="8" name="Foliennummernplatzhalter 7">
            <a:extLst>
              <a:ext uri="{FF2B5EF4-FFF2-40B4-BE49-F238E27FC236}">
                <a16:creationId xmlns:a16="http://schemas.microsoft.com/office/drawing/2014/main" id="{4F3C78C0-CE3F-9819-EDA5-B1D59D3B3077}"/>
              </a:ext>
            </a:extLst>
          </p:cNvPr>
          <p:cNvSpPr>
            <a:spLocks noGrp="1"/>
          </p:cNvSpPr>
          <p:nvPr>
            <p:ph type="sldNum" sz="quarter" idx="23"/>
          </p:nvPr>
        </p:nvSpPr>
        <p:spPr>
          <a:xfrm>
            <a:off x="10753868" y="6524681"/>
            <a:ext cx="551115" cy="186267"/>
          </a:xfrm>
        </p:spPr>
        <p:txBody>
          <a:bodyPr/>
          <a:lstStyle/>
          <a:p>
            <a:fld id="{D691331D-A62F-41F8-BAEC-0A7727B7C525}" type="slidenum">
              <a:rPr lang="en-GB" smtClean="0"/>
              <a:pPr/>
              <a:t>9</a:t>
            </a:fld>
            <a:endParaRPr lang="en-GB"/>
          </a:p>
        </p:txBody>
      </p:sp>
      <p:pic>
        <p:nvPicPr>
          <p:cNvPr id="9" name="ZRS Logo Horozontal">
            <a:extLst>
              <a:ext uri="{FF2B5EF4-FFF2-40B4-BE49-F238E27FC236}">
                <a16:creationId xmlns:a16="http://schemas.microsoft.com/office/drawing/2014/main" id="{2773DC28-C082-436E-78FC-E995EDEF0465}"/>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4194" t="5628" b="28088"/>
          <a:stretch/>
        </p:blipFill>
        <p:spPr>
          <a:xfrm>
            <a:off x="10342650" y="317500"/>
            <a:ext cx="1510791" cy="520700"/>
          </a:xfrm>
          <a:prstGeom prst="rect">
            <a:avLst/>
          </a:prstGeom>
        </p:spPr>
      </p:pic>
      <p:sp>
        <p:nvSpPr>
          <p:cNvPr id="3" name="Rounded Rectangle 6">
            <a:extLst>
              <a:ext uri="{FF2B5EF4-FFF2-40B4-BE49-F238E27FC236}">
                <a16:creationId xmlns:a16="http://schemas.microsoft.com/office/drawing/2014/main" id="{BC4D3959-2606-BB46-957A-8A6FB5193DBB}"/>
              </a:ext>
            </a:extLst>
          </p:cNvPr>
          <p:cNvSpPr/>
          <p:nvPr/>
        </p:nvSpPr>
        <p:spPr>
          <a:xfrm>
            <a:off x="1868352" y="289004"/>
            <a:ext cx="1620000" cy="32005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200" dirty="0">
                <a:solidFill>
                  <a:schemeClr val="accent5"/>
                </a:solidFill>
              </a:rPr>
              <a:t>Identifikation</a:t>
            </a:r>
          </a:p>
        </p:txBody>
      </p:sp>
    </p:spTree>
    <p:extLst>
      <p:ext uri="{BB962C8B-B14F-4D97-AF65-F5344CB8AC3E}">
        <p14:creationId xmlns:p14="http://schemas.microsoft.com/office/powerpoint/2010/main" val="2489884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_Office Theme">
  <a:themeElements>
    <a:clrScheme name="Zurich 2020">
      <a:dk1>
        <a:srgbClr val="23366F"/>
      </a:dk1>
      <a:lt1>
        <a:srgbClr val="FFFFFF"/>
      </a:lt1>
      <a:dk2>
        <a:srgbClr val="23366F"/>
      </a:dk2>
      <a:lt2>
        <a:srgbClr val="1FB1E6"/>
      </a:lt2>
      <a:accent1>
        <a:srgbClr val="2167AE"/>
      </a:accent1>
      <a:accent2>
        <a:srgbClr val="91BFE3"/>
      </a:accent2>
      <a:accent3>
        <a:srgbClr val="5495CF"/>
      </a:accent3>
      <a:accent4>
        <a:srgbClr val="DAD2BD"/>
      </a:accent4>
      <a:accent5>
        <a:srgbClr val="EEF0F1"/>
      </a:accent5>
      <a:accent6>
        <a:srgbClr val="DDE4E3"/>
      </a:accent6>
      <a:hlink>
        <a:srgbClr val="1FB1E6"/>
      </a:hlink>
      <a:folHlink>
        <a:srgbClr val="1FB1E6"/>
      </a:folHlink>
    </a:clrScheme>
    <a:fontScheme name="Zurich Sans 2020">
      <a:majorFont>
        <a:latin typeface="Zurich Sans Medium"/>
        <a:ea typeface=""/>
        <a:cs typeface=""/>
      </a:majorFont>
      <a:minorFont>
        <a:latin typeface="Zurich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108000" tIns="108000" rIns="108000" bIns="108000" rtlCol="0" anchor="ctr"/>
      <a:lstStyle>
        <a:defPPr algn="ctr">
          <a:defRPr sz="1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108000" tIns="108000" rIns="108000" bIns="108000" rtlCol="0">
        <a:spAutoFit/>
      </a:bodyPr>
      <a:lstStyle>
        <a:defPPr algn="l">
          <a:defRPr sz="1400" dirty="0">
            <a:solidFill>
              <a:schemeClr val="accent1"/>
            </a:solidFill>
          </a:defRPr>
        </a:defPPr>
      </a:lstStyle>
    </a:txDef>
  </a:objectDefaults>
  <a:extraClrSchemeLst/>
  <a:custClrLst>
    <a:custClr name="Azure">
      <a:srgbClr val="4870C6"/>
    </a:custClr>
    <a:custClr name="Moss">
      <a:srgbClr val="77A98A"/>
    </a:custClr>
    <a:custClr name="Teal">
      <a:srgbClr val="19BAB6"/>
    </a:custClr>
    <a:custClr name="Mint">
      <a:srgbClr val="A6E9AB"/>
    </a:custClr>
    <a:custClr name="Lime">
      <a:srgbClr val="E1EE92"/>
    </a:custClr>
    <a:custClr name="Lemon">
      <a:srgbClr val="FFF773"/>
    </a:custClr>
    <a:custClr name="Peach">
      <a:srgbClr val="FF7569"/>
    </a:custClr>
    <a:custClr name="Candy">
      <a:srgbClr val="E18EBA"/>
    </a:custClr>
    <a:custClr name="Powder Pink">
      <a:srgbClr val="FFC5EA"/>
    </a:custClr>
    <a:custClr name="Lilac">
      <a:srgbClr val="6D6BCF"/>
    </a:custClr>
  </a:custClrLst>
  <a:extLst>
    <a:ext uri="{05A4C25C-085E-4340-85A3-A5531E510DB2}">
      <thm15:themeFamily xmlns:thm15="http://schemas.microsoft.com/office/thememl/2012/main" name="MASTER 08-21 blank.pptx" id="{447630A4-A7C6-4358-AB17-3F7975F51995}" vid="{EF8BE520-A753-4464-A87F-3BA03074310F}"/>
    </a:ext>
  </a:extLst>
</a:theme>
</file>

<file path=ppt/theme/theme2.xml><?xml version="1.0" encoding="utf-8"?>
<a:theme xmlns:a="http://schemas.openxmlformats.org/drawingml/2006/main" name="13_Office Theme">
  <a:themeElements>
    <a:clrScheme name="Zurich 2020">
      <a:dk1>
        <a:srgbClr val="23366F"/>
      </a:dk1>
      <a:lt1>
        <a:srgbClr val="FFFFFF"/>
      </a:lt1>
      <a:dk2>
        <a:srgbClr val="23366F"/>
      </a:dk2>
      <a:lt2>
        <a:srgbClr val="1FB1E6"/>
      </a:lt2>
      <a:accent1>
        <a:srgbClr val="2167AE"/>
      </a:accent1>
      <a:accent2>
        <a:srgbClr val="91BFE3"/>
      </a:accent2>
      <a:accent3>
        <a:srgbClr val="5495CF"/>
      </a:accent3>
      <a:accent4>
        <a:srgbClr val="DAD2BD"/>
      </a:accent4>
      <a:accent5>
        <a:srgbClr val="EEF0F1"/>
      </a:accent5>
      <a:accent6>
        <a:srgbClr val="DDE4E3"/>
      </a:accent6>
      <a:hlink>
        <a:srgbClr val="1FB1E6"/>
      </a:hlink>
      <a:folHlink>
        <a:srgbClr val="1FB1E6"/>
      </a:folHlink>
    </a:clrScheme>
    <a:fontScheme name="Zurich Sans 2020">
      <a:majorFont>
        <a:latin typeface="Zurich Sans Medium"/>
        <a:ea typeface=""/>
        <a:cs typeface=""/>
      </a:majorFont>
      <a:minorFont>
        <a:latin typeface="Zurich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108000" tIns="108000" rIns="108000" bIns="108000" rtlCol="0" anchor="ctr"/>
      <a:lstStyle>
        <a:defPPr algn="ctr">
          <a:defRPr sz="1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108000" tIns="108000" rIns="108000" bIns="108000" rtlCol="0">
        <a:spAutoFit/>
      </a:bodyPr>
      <a:lstStyle>
        <a:defPPr algn="l">
          <a:defRPr sz="1400" dirty="0">
            <a:solidFill>
              <a:schemeClr val="accent1"/>
            </a:solidFill>
          </a:defRPr>
        </a:defPPr>
      </a:lstStyle>
    </a:txDef>
  </a:objectDefaults>
  <a:extraClrSchemeLst/>
  <a:custClrLst>
    <a:custClr name="Azure">
      <a:srgbClr val="4870C6"/>
    </a:custClr>
    <a:custClr name="Moss">
      <a:srgbClr val="77A98A"/>
    </a:custClr>
    <a:custClr name="Teal">
      <a:srgbClr val="19BAB6"/>
    </a:custClr>
    <a:custClr name="Mint">
      <a:srgbClr val="A6E9AB"/>
    </a:custClr>
    <a:custClr name="Lime">
      <a:srgbClr val="E1EE92"/>
    </a:custClr>
    <a:custClr name="Lemon">
      <a:srgbClr val="FFF773"/>
    </a:custClr>
    <a:custClr name="Peach">
      <a:srgbClr val="FF7569"/>
    </a:custClr>
    <a:custClr name="Candy">
      <a:srgbClr val="E18EBA"/>
    </a:custClr>
    <a:custClr name="Powder Pink">
      <a:srgbClr val="FFC5EA"/>
    </a:custClr>
    <a:custClr name="Lilac">
      <a:srgbClr val="6D6BCF"/>
    </a:custClr>
  </a:custClrLst>
  <a:extLst>
    <a:ext uri="{05A4C25C-085E-4340-85A3-A5531E510DB2}">
      <thm15:themeFamily xmlns:thm15="http://schemas.microsoft.com/office/thememl/2012/main" name="ZRS PPT master_Zurich Sans  -  Read-Only" id="{9D5177A0-95AB-4959-9D66-359AB30D3A3C}" vid="{8EF66A2C-6E4C-43C1-9CBB-8C4674DF386A}"/>
    </a:ext>
  </a:extLst>
</a:theme>
</file>

<file path=ppt/theme/theme3.xml><?xml version="1.0" encoding="utf-8"?>
<a:theme xmlns:a="http://schemas.openxmlformats.org/drawingml/2006/main" name="16_Office Theme">
  <a:themeElements>
    <a:clrScheme name="Zurich 2020">
      <a:dk1>
        <a:srgbClr val="23366F"/>
      </a:dk1>
      <a:lt1>
        <a:srgbClr val="FFFFFF"/>
      </a:lt1>
      <a:dk2>
        <a:srgbClr val="23366F"/>
      </a:dk2>
      <a:lt2>
        <a:srgbClr val="1FB1E6"/>
      </a:lt2>
      <a:accent1>
        <a:srgbClr val="2167AE"/>
      </a:accent1>
      <a:accent2>
        <a:srgbClr val="91BFE3"/>
      </a:accent2>
      <a:accent3>
        <a:srgbClr val="5495CF"/>
      </a:accent3>
      <a:accent4>
        <a:srgbClr val="DAD2BD"/>
      </a:accent4>
      <a:accent5>
        <a:srgbClr val="EEF0F1"/>
      </a:accent5>
      <a:accent6>
        <a:srgbClr val="DDE4E3"/>
      </a:accent6>
      <a:hlink>
        <a:srgbClr val="1FB1E6"/>
      </a:hlink>
      <a:folHlink>
        <a:srgbClr val="1FB1E6"/>
      </a:folHlink>
    </a:clrScheme>
    <a:fontScheme name="Zurich Sans 2020">
      <a:majorFont>
        <a:latin typeface="Zurich Sans Medium"/>
        <a:ea typeface=""/>
        <a:cs typeface=""/>
      </a:majorFont>
      <a:minorFont>
        <a:latin typeface="Zurich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108000" tIns="108000" rIns="108000" bIns="108000" rtlCol="0" anchor="ctr"/>
      <a:lstStyle>
        <a:defPPr algn="ctr">
          <a:defRPr sz="1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108000" tIns="108000" rIns="108000" bIns="108000" rtlCol="0">
        <a:spAutoFit/>
      </a:bodyPr>
      <a:lstStyle>
        <a:defPPr algn="l">
          <a:defRPr sz="1400" dirty="0">
            <a:solidFill>
              <a:schemeClr val="accent1"/>
            </a:solidFill>
          </a:defRPr>
        </a:defPPr>
      </a:lstStyle>
    </a:txDef>
  </a:objectDefaults>
  <a:extraClrSchemeLst/>
  <a:custClrLst>
    <a:custClr name="Azure">
      <a:srgbClr val="4870C6"/>
    </a:custClr>
    <a:custClr name="Moss">
      <a:srgbClr val="77A98A"/>
    </a:custClr>
    <a:custClr name="Teal">
      <a:srgbClr val="19BAB6"/>
    </a:custClr>
    <a:custClr name="Mint">
      <a:srgbClr val="A6E9AB"/>
    </a:custClr>
    <a:custClr name="Lime">
      <a:srgbClr val="E1EE92"/>
    </a:custClr>
    <a:custClr name="Lemon">
      <a:srgbClr val="FFF773"/>
    </a:custClr>
    <a:custClr name="Peach">
      <a:srgbClr val="FF7569"/>
    </a:custClr>
    <a:custClr name="Candy">
      <a:srgbClr val="E18EBA"/>
    </a:custClr>
    <a:custClr name="Powder Pink">
      <a:srgbClr val="FFC5EA"/>
    </a:custClr>
    <a:custClr name="Lilac">
      <a:srgbClr val="6D6BCF"/>
    </a:custClr>
  </a:custClrLst>
  <a:extLst>
    <a:ext uri="{05A4C25C-085E-4340-85A3-A5531E510DB2}">
      <thm15:themeFamily xmlns:thm15="http://schemas.microsoft.com/office/thememl/2012/main" name="Presentation9" id="{C036BC7A-8385-4375-98F4-999DAC7695CD}" vid="{49AF5A5C-3881-447D-8590-A74EAB0BCE31}"/>
    </a:ext>
  </a:extLst>
</a:theme>
</file>

<file path=ppt/theme/theme4.xml><?xml version="1.0" encoding="utf-8"?>
<a:theme xmlns:a="http://schemas.openxmlformats.org/drawingml/2006/main" name="18_Office Theme">
  <a:themeElements>
    <a:clrScheme name="Zurich 2020">
      <a:dk1>
        <a:srgbClr val="23366F"/>
      </a:dk1>
      <a:lt1>
        <a:srgbClr val="FFFFFF"/>
      </a:lt1>
      <a:dk2>
        <a:srgbClr val="23366F"/>
      </a:dk2>
      <a:lt2>
        <a:srgbClr val="1FB1E6"/>
      </a:lt2>
      <a:accent1>
        <a:srgbClr val="2167AE"/>
      </a:accent1>
      <a:accent2>
        <a:srgbClr val="91BFE3"/>
      </a:accent2>
      <a:accent3>
        <a:srgbClr val="5495CF"/>
      </a:accent3>
      <a:accent4>
        <a:srgbClr val="DAD2BD"/>
      </a:accent4>
      <a:accent5>
        <a:srgbClr val="EEF0F1"/>
      </a:accent5>
      <a:accent6>
        <a:srgbClr val="DDE4E3"/>
      </a:accent6>
      <a:hlink>
        <a:srgbClr val="1FB1E6"/>
      </a:hlink>
      <a:folHlink>
        <a:srgbClr val="1FB1E6"/>
      </a:folHlink>
    </a:clrScheme>
    <a:fontScheme name="Zurich Sans 2020">
      <a:majorFont>
        <a:latin typeface="Zurich Sans Medium"/>
        <a:ea typeface=""/>
        <a:cs typeface=""/>
      </a:majorFont>
      <a:minorFont>
        <a:latin typeface="Zurich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108000" tIns="108000" rIns="108000" bIns="108000" rtlCol="0" anchor="ctr"/>
      <a:lstStyle>
        <a:defPPr algn="ctr">
          <a:defRPr sz="1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108000" tIns="108000" rIns="108000" bIns="108000" rtlCol="0">
        <a:spAutoFit/>
      </a:bodyPr>
      <a:lstStyle>
        <a:defPPr algn="l">
          <a:defRPr sz="1400" dirty="0">
            <a:solidFill>
              <a:schemeClr val="accent1"/>
            </a:solidFill>
          </a:defRPr>
        </a:defPPr>
      </a:lstStyle>
    </a:txDef>
  </a:objectDefaults>
  <a:extraClrSchemeLst/>
  <a:custClrLst>
    <a:custClr name="Azure">
      <a:srgbClr val="4870C6"/>
    </a:custClr>
    <a:custClr name="Moss">
      <a:srgbClr val="77A98A"/>
    </a:custClr>
    <a:custClr name="Teal">
      <a:srgbClr val="19BAB6"/>
    </a:custClr>
    <a:custClr name="Mint">
      <a:srgbClr val="A6E9AB"/>
    </a:custClr>
    <a:custClr name="Lime">
      <a:srgbClr val="E1EE92"/>
    </a:custClr>
    <a:custClr name="Lemon">
      <a:srgbClr val="FFF773"/>
    </a:custClr>
    <a:custClr name="Peach">
      <a:srgbClr val="FF7569"/>
    </a:custClr>
    <a:custClr name="Candy">
      <a:srgbClr val="E18EBA"/>
    </a:custClr>
    <a:custClr name="Powder Pink">
      <a:srgbClr val="FFC5EA"/>
    </a:custClr>
    <a:custClr name="Lilac">
      <a:srgbClr val="6D6BCF"/>
    </a:custClr>
  </a:custClrLst>
  <a:extLst>
    <a:ext uri="{05A4C25C-085E-4340-85A3-A5531E510DB2}">
      <thm15:themeFamily xmlns:thm15="http://schemas.microsoft.com/office/thememl/2012/main" name="MASTER 08-21 blank.pptx" id="{447630A4-A7C6-4358-AB17-3F7975F51995}" vid="{EF8BE520-A753-4464-A87F-3BA03074310F}"/>
    </a:ext>
  </a:extLst>
</a:theme>
</file>

<file path=ppt/theme/theme5.xml><?xml version="1.0" encoding="utf-8"?>
<a:theme xmlns:a="http://schemas.openxmlformats.org/drawingml/2006/main" name="5_Office Theme">
  <a:themeElements>
    <a:clrScheme name="Zurich 2020">
      <a:dk1>
        <a:srgbClr val="23366F"/>
      </a:dk1>
      <a:lt1>
        <a:srgbClr val="FFFFFF"/>
      </a:lt1>
      <a:dk2>
        <a:srgbClr val="23366F"/>
      </a:dk2>
      <a:lt2>
        <a:srgbClr val="1FB1E6"/>
      </a:lt2>
      <a:accent1>
        <a:srgbClr val="2167AE"/>
      </a:accent1>
      <a:accent2>
        <a:srgbClr val="91BFE3"/>
      </a:accent2>
      <a:accent3>
        <a:srgbClr val="5495CF"/>
      </a:accent3>
      <a:accent4>
        <a:srgbClr val="DAD2BD"/>
      </a:accent4>
      <a:accent5>
        <a:srgbClr val="EEF0F1"/>
      </a:accent5>
      <a:accent6>
        <a:srgbClr val="DDE4E3"/>
      </a:accent6>
      <a:hlink>
        <a:srgbClr val="1FB1E6"/>
      </a:hlink>
      <a:folHlink>
        <a:srgbClr val="1FB1E6"/>
      </a:folHlink>
    </a:clrScheme>
    <a:fontScheme name="Zurich Sans 2020">
      <a:majorFont>
        <a:latin typeface="Zurich Sans Medium"/>
        <a:ea typeface=""/>
        <a:cs typeface=""/>
      </a:majorFont>
      <a:minorFont>
        <a:latin typeface="Zurich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108000" tIns="108000" rIns="108000" bIns="108000" rtlCol="0" anchor="ctr"/>
      <a:lstStyle>
        <a:defPPr algn="ctr">
          <a:defRPr sz="1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108000" tIns="108000" rIns="108000" bIns="108000" rtlCol="0">
        <a:spAutoFit/>
      </a:bodyPr>
      <a:lstStyle>
        <a:defPPr algn="l">
          <a:defRPr sz="1400" dirty="0">
            <a:solidFill>
              <a:schemeClr val="accent1"/>
            </a:solidFill>
          </a:defRPr>
        </a:defPPr>
      </a:lstStyle>
    </a:txDef>
  </a:objectDefaults>
  <a:extraClrSchemeLst/>
  <a:custClrLst>
    <a:custClr name="Azure">
      <a:srgbClr val="4870C6"/>
    </a:custClr>
    <a:custClr name="Moss">
      <a:srgbClr val="77A98A"/>
    </a:custClr>
    <a:custClr name="Teal">
      <a:srgbClr val="19BAB6"/>
    </a:custClr>
    <a:custClr name="Mint">
      <a:srgbClr val="A6E9AB"/>
    </a:custClr>
    <a:custClr name="Lime">
      <a:srgbClr val="E1EE92"/>
    </a:custClr>
    <a:custClr name="Lemon">
      <a:srgbClr val="FFF773"/>
    </a:custClr>
    <a:custClr name="Peach">
      <a:srgbClr val="FF7569"/>
    </a:custClr>
    <a:custClr name="Candy">
      <a:srgbClr val="E18EBA"/>
    </a:custClr>
    <a:custClr name="Powder Pink">
      <a:srgbClr val="FFC5EA"/>
    </a:custClr>
    <a:custClr name="Lilac">
      <a:srgbClr val="6D6BCF"/>
    </a:custClr>
  </a:custClrLst>
  <a:extLst>
    <a:ext uri="{05A4C25C-085E-4340-85A3-A5531E510DB2}">
      <thm15:themeFamily xmlns:thm15="http://schemas.microsoft.com/office/thememl/2012/main" name="Global-template-ZurichSans.potx" id="{586032CB-FE37-4F44-BF5D-3CD47A3D4690}" vid="{37B8513E-E46E-4632-8150-F459848A6661}"/>
    </a:ext>
  </a:extLst>
</a:theme>
</file>

<file path=ppt/theme/theme6.xml><?xml version="1.0" encoding="utf-8"?>
<a:theme xmlns:a="http://schemas.openxmlformats.org/drawingml/2006/main" name="1_Office Theme">
  <a:themeElements>
    <a:clrScheme name="Zurich 2020">
      <a:dk1>
        <a:srgbClr val="23366F"/>
      </a:dk1>
      <a:lt1>
        <a:srgbClr val="FFFFFF"/>
      </a:lt1>
      <a:dk2>
        <a:srgbClr val="23366F"/>
      </a:dk2>
      <a:lt2>
        <a:srgbClr val="1FB1E6"/>
      </a:lt2>
      <a:accent1>
        <a:srgbClr val="2167AE"/>
      </a:accent1>
      <a:accent2>
        <a:srgbClr val="91BFE3"/>
      </a:accent2>
      <a:accent3>
        <a:srgbClr val="5495CF"/>
      </a:accent3>
      <a:accent4>
        <a:srgbClr val="DAD2BD"/>
      </a:accent4>
      <a:accent5>
        <a:srgbClr val="EEF0F1"/>
      </a:accent5>
      <a:accent6>
        <a:srgbClr val="DDE4E3"/>
      </a:accent6>
      <a:hlink>
        <a:srgbClr val="1FB1E6"/>
      </a:hlink>
      <a:folHlink>
        <a:srgbClr val="1FB1E6"/>
      </a:folHlink>
    </a:clrScheme>
    <a:fontScheme name="Zurich Sans 2020">
      <a:majorFont>
        <a:latin typeface="Zurich Sans Medium"/>
        <a:ea typeface=""/>
        <a:cs typeface=""/>
      </a:majorFont>
      <a:minorFont>
        <a:latin typeface="Zurich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108000" tIns="108000" rIns="108000" bIns="108000" rtlCol="0" anchor="ctr"/>
      <a:lstStyle>
        <a:defPPr algn="ctr">
          <a:defRPr sz="1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108000" tIns="108000" rIns="108000" bIns="108000" rtlCol="0">
        <a:spAutoFit/>
      </a:bodyPr>
      <a:lstStyle>
        <a:defPPr algn="l">
          <a:defRPr sz="1400" dirty="0">
            <a:solidFill>
              <a:schemeClr val="accent1"/>
            </a:solidFill>
          </a:defRPr>
        </a:defPPr>
      </a:lstStyle>
    </a:txDef>
  </a:objectDefaults>
  <a:extraClrSchemeLst/>
  <a:custClrLst>
    <a:custClr name="Azure">
      <a:srgbClr val="4870C6"/>
    </a:custClr>
    <a:custClr name="Moss">
      <a:srgbClr val="77A98A"/>
    </a:custClr>
    <a:custClr name="Teal">
      <a:srgbClr val="19BAB6"/>
    </a:custClr>
    <a:custClr name="Mint">
      <a:srgbClr val="A6E9AB"/>
    </a:custClr>
    <a:custClr name="Lime">
      <a:srgbClr val="E1EE92"/>
    </a:custClr>
    <a:custClr name="Lemon">
      <a:srgbClr val="FFF773"/>
    </a:custClr>
    <a:custClr name="Peach">
      <a:srgbClr val="FF7569"/>
    </a:custClr>
    <a:custClr name="Candy">
      <a:srgbClr val="E18EBA"/>
    </a:custClr>
    <a:custClr name="Powder Pink">
      <a:srgbClr val="FFC5EA"/>
    </a:custClr>
    <a:custClr name="Lilac">
      <a:srgbClr val="6D6BCF"/>
    </a:custClr>
  </a:custClrLst>
  <a:extLst>
    <a:ext uri="{05A4C25C-085E-4340-85A3-A5531E510DB2}">
      <thm15:themeFamily xmlns:thm15="http://schemas.microsoft.com/office/thememl/2012/main" name="Global-template-ZurichSans.potx" id="{586032CB-FE37-4F44-BF5D-3CD47A3D4690}" vid="{37B8513E-E46E-4632-8150-F459848A6661}"/>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761562C-53D2-4590-8670-7A1595B8E876}">
  <we:reference id="c08a5a11-2a3e-44ff-83ad-a24654290e73" version="1.0.0.9"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0e5e423-8e9e-46ec-abe1-e2dca63912be" xsi:nil="true"/>
    <SharedWithUsers xmlns="c0e5e423-8e9e-46ec-abe1-e2dca63912be">
      <UserInfo>
        <DisplayName>deb8006</DisplayName>
        <AccountId>98</AccountId>
        <AccountType/>
      </UserInfo>
      <UserInfo>
        <DisplayName>DEB580S</DisplayName>
        <AccountId>75</AccountId>
        <AccountType/>
      </UserInfo>
      <UserInfo>
        <DisplayName>deb3540</DisplayName>
        <AccountId>700</AccountId>
        <AccountType/>
      </UserInfo>
      <UserInfo>
        <DisplayName>timothy.budrick</DisplayName>
        <AccountId>503</AccountId>
        <AccountType/>
      </UserInfo>
      <UserInfo>
        <DisplayName>Katharina Willenberg</DisplayName>
        <AccountId>1510</AccountId>
        <AccountType/>
      </UserInfo>
      <UserInfo>
        <DisplayName>chy1382</DisplayName>
        <AccountId>1173</AccountId>
        <AccountType/>
      </UserInfo>
      <UserInfo>
        <DisplayName>Basler Versicherungen</DisplayName>
        <AccountId>1273</AccountId>
        <AccountType/>
      </UserInfo>
      <UserInfo>
        <DisplayName>DEU123737</DisplayName>
        <AccountId>1762</AccountId>
        <AccountType/>
      </UserInfo>
      <UserInfo>
        <DisplayName>Ina Flack</DisplayName>
        <AccountId>2182</AccountId>
        <AccountType/>
      </UserInfo>
    </SharedWithUsers>
    <lcf76f155ced4ddcb4097134ff3c332f xmlns="086717f8-789e-4080-91fb-b13df3763aa1">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83C51F921A12D4F9DB36FDD1326035F" ma:contentTypeVersion="15" ma:contentTypeDescription="Create a new document." ma:contentTypeScope="" ma:versionID="49e8eccaf97dcd0ae773e82b403409ba">
  <xsd:schema xmlns:xsd="http://www.w3.org/2001/XMLSchema" xmlns:xs="http://www.w3.org/2001/XMLSchema" xmlns:p="http://schemas.microsoft.com/office/2006/metadata/properties" xmlns:ns2="086717f8-789e-4080-91fb-b13df3763aa1" xmlns:ns3="c0e5e423-8e9e-46ec-abe1-e2dca63912be" targetNamespace="http://schemas.microsoft.com/office/2006/metadata/properties" ma:root="true" ma:fieldsID="9752df0cbc50e2924ecdd6aad055b7d6" ns2:_="" ns3:_="">
    <xsd:import namespace="086717f8-789e-4080-91fb-b13df3763aa1"/>
    <xsd:import namespace="c0e5e423-8e9e-46ec-abe1-e2dca63912be"/>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MediaServiceSearchProperties" minOccurs="0"/>
                <xsd:element ref="ns2:lcf76f155ced4ddcb4097134ff3c332f" minOccurs="0"/>
                <xsd:element ref="ns3:TaxCatchAll"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6717f8-789e-4080-91fb-b13df3763aa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578d6fb-034f-4618-ad9b-ef87b0886391"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0e5e423-8e9e-46ec-abe1-e2dca63912be"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04a76942-5e58-4713-8d4e-04d2da886550}" ma:internalName="TaxCatchAll" ma:showField="CatchAllData" ma:web="c0e5e423-8e9e-46ec-abe1-e2dca63912b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45D42F2-72CC-4A89-AB49-B278DC53EF40}">
  <ds:schemaRefs>
    <ds:schemaRef ds:uri="http://schemas.microsoft.com/office/2006/documentManagement/types"/>
    <ds:schemaRef ds:uri="http://purl.org/dc/dcmitype/"/>
    <ds:schemaRef ds:uri="086717f8-789e-4080-91fb-b13df3763aa1"/>
    <ds:schemaRef ds:uri="http://schemas.openxmlformats.org/package/2006/metadata/core-properties"/>
    <ds:schemaRef ds:uri="http://purl.org/dc/elements/1.1/"/>
    <ds:schemaRef ds:uri="http://schemas.microsoft.com/office/infopath/2007/PartnerControls"/>
    <ds:schemaRef ds:uri="c0e5e423-8e9e-46ec-abe1-e2dca63912be"/>
    <ds:schemaRef ds:uri="http://schemas.microsoft.com/office/2006/metadata/properties"/>
    <ds:schemaRef ds:uri="http://www.w3.org/XML/1998/namespace"/>
    <ds:schemaRef ds:uri="http://purl.org/dc/terms/"/>
  </ds:schemaRefs>
</ds:datastoreItem>
</file>

<file path=customXml/itemProps2.xml><?xml version="1.0" encoding="utf-8"?>
<ds:datastoreItem xmlns:ds="http://schemas.openxmlformats.org/officeDocument/2006/customXml" ds:itemID="{5BDE9F34-AA67-4341-806B-64E1AE175593}">
  <ds:schemaRefs>
    <ds:schemaRef ds:uri="http://schemas.microsoft.com/sharepoint/v3/contenttype/forms"/>
  </ds:schemaRefs>
</ds:datastoreItem>
</file>

<file path=customXml/itemProps3.xml><?xml version="1.0" encoding="utf-8"?>
<ds:datastoreItem xmlns:ds="http://schemas.openxmlformats.org/officeDocument/2006/customXml" ds:itemID="{9946D549-F13E-4CC3-860E-CFCC0569A23E}">
  <ds:schemaRefs>
    <ds:schemaRef ds:uri="086717f8-789e-4080-91fb-b13df3763aa1"/>
    <ds:schemaRef ds:uri="c0e5e423-8e9e-46ec-abe1-e2dca63912b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158</Words>
  <Application>Microsoft Office PowerPoint</Application>
  <PresentationFormat>Breedbeeld</PresentationFormat>
  <Paragraphs>511</Paragraphs>
  <Slides>28</Slides>
  <Notes>22</Notes>
  <HiddenSlides>9</HiddenSlides>
  <MMClips>1</MMClips>
  <ScaleCrop>false</ScaleCrop>
  <HeadingPairs>
    <vt:vector size="8" baseType="variant">
      <vt:variant>
        <vt:lpstr>Gebruikte lettertypen</vt:lpstr>
      </vt:variant>
      <vt:variant>
        <vt:i4>14</vt:i4>
      </vt:variant>
      <vt:variant>
        <vt:lpstr>Thema</vt:lpstr>
      </vt:variant>
      <vt:variant>
        <vt:i4>6</vt:i4>
      </vt:variant>
      <vt:variant>
        <vt:lpstr>Ingesloten OLE-bronprogramma's</vt:lpstr>
      </vt:variant>
      <vt:variant>
        <vt:i4>2</vt:i4>
      </vt:variant>
      <vt:variant>
        <vt:lpstr>Diatitels</vt:lpstr>
      </vt:variant>
      <vt:variant>
        <vt:i4>28</vt:i4>
      </vt:variant>
    </vt:vector>
  </HeadingPairs>
  <TitlesOfParts>
    <vt:vector size="50" baseType="lpstr">
      <vt:lpstr>Arial</vt:lpstr>
      <vt:lpstr>Courier New</vt:lpstr>
      <vt:lpstr>Calibri,Sans-Serif</vt:lpstr>
      <vt:lpstr>Times New Roman</vt:lpstr>
      <vt:lpstr>Calibri</vt:lpstr>
      <vt:lpstr>Ogg</vt:lpstr>
      <vt:lpstr>Zurich Sans Light</vt:lpstr>
      <vt:lpstr>Zurich Sans</vt:lpstr>
      <vt:lpstr>Aptos</vt:lpstr>
      <vt:lpstr>Roboto</vt:lpstr>
      <vt:lpstr>Zurich Sans Medium</vt:lpstr>
      <vt:lpstr>Zurich Sans Light (Body)</vt:lpstr>
      <vt:lpstr>Frutiger 55 Roman</vt:lpstr>
      <vt:lpstr>Wingdings</vt:lpstr>
      <vt:lpstr>9_Office Theme</vt:lpstr>
      <vt:lpstr>13_Office Theme</vt:lpstr>
      <vt:lpstr>16_Office Theme</vt:lpstr>
      <vt:lpstr>18_Office Theme</vt:lpstr>
      <vt:lpstr>5_Office Theme</vt:lpstr>
      <vt:lpstr>1_Office Theme</vt:lpstr>
      <vt:lpstr>think-cell Folie</vt:lpstr>
      <vt:lpstr>think-cell Slide</vt:lpstr>
      <vt:lpstr>ZRS Climate Resilience</vt:lpstr>
      <vt:lpstr>PowerPoint-presentatie</vt:lpstr>
      <vt:lpstr>Man muss nicht weit in die Zukunft blicken, um den Klimawandel zu erkennen Veränderte Muster sind bereits heute sichtbar und machen Resilienz zu einer zentralen Priorität</vt:lpstr>
      <vt:lpstr>Klimaszenarien, bewertet vom IPCC Projektionen aus dem sechsten Sachstandsbericht (AR6)</vt:lpstr>
      <vt:lpstr>Was motiviert Organisationen zu Klimaschutzmaßnahmen?</vt:lpstr>
      <vt:lpstr>Standorte und Lieferketten verschiedenster Industrien sind betroffen</vt:lpstr>
      <vt:lpstr>PowerPoint-presentatie</vt:lpstr>
      <vt:lpstr>Climate Resilience: Unser ganzheitlicher Ansatz</vt:lpstr>
      <vt:lpstr>Top-down-Ansicht des Klimarisikos -  Vollständig anpassbar an Ihre Bedürfnisse</vt:lpstr>
      <vt:lpstr>PowerPoint-presentatie</vt:lpstr>
      <vt:lpstr>PowerPoint-presentatie</vt:lpstr>
      <vt:lpstr>Vertiefung unserer Risikoanalyse durch Quantifizierung von finanziellen Verlusten</vt:lpstr>
      <vt:lpstr>PowerPoint-presentatie</vt:lpstr>
      <vt:lpstr>PowerPoint-presentatie</vt:lpstr>
      <vt:lpstr>PowerPoint-presentatie</vt:lpstr>
      <vt:lpstr>PowerPoint-presentatie</vt:lpstr>
      <vt:lpstr>Was macht unser Angebot einzigartig am Markt? </vt:lpstr>
      <vt:lpstr>PowerPoint-presentatie</vt:lpstr>
      <vt:lpstr>PowerPoint-presentatie</vt:lpstr>
      <vt:lpstr>PowerPoint-presentatie</vt:lpstr>
      <vt:lpstr>PowerPoint-presentatie</vt:lpstr>
      <vt:lpstr>PowerPoint-presentatie</vt:lpstr>
      <vt:lpstr>PowerPoint-presentatie</vt:lpstr>
      <vt:lpstr>PowerPoint-presentatie</vt:lpstr>
      <vt:lpstr>Neues aus der Produktwelt  ZRS-Themenführerschaft</vt:lpstr>
      <vt:lpstr>Markt-Update</vt:lpstr>
      <vt:lpstr>Ihre Experten für Risiken</vt:lpstr>
      <vt:lpstr>Die wichtigsten Kundenvorteile der Zurich Klimadat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ZRS Climate Resilience</dc:title>
  <dc:creator>Danny Steiner</dc:creator>
  <cp:lastModifiedBy>Tabea Müller</cp:lastModifiedBy>
  <cp:revision>1</cp:revision>
  <cp:lastPrinted>2024-05-08T12:50:35Z</cp:lastPrinted>
  <dcterms:created xsi:type="dcterms:W3CDTF">2023-03-02T09:08:14Z</dcterms:created>
  <dcterms:modified xsi:type="dcterms:W3CDTF">2025-06-11T07:0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3C51F921A12D4F9DB36FDD1326035F</vt:lpwstr>
  </property>
  <property fmtid="{D5CDD505-2E9C-101B-9397-08002B2CF9AE}" pid="3" name="MediaServiceImageTags">
    <vt:lpwstr/>
  </property>
  <property fmtid="{D5CDD505-2E9C-101B-9397-08002B2CF9AE}" pid="4" name="ClassificationContentMarkingFooterLocations">
    <vt:lpwstr>9_Office Theme:10\2_Office Theme:10\13_Office Theme:7\14_Office Theme:5\15_Office Theme:10\4_Office Theme:5\1_Office Theme:4\16_Office Theme:6\10_Office Theme:10\17_Office Theme:7\21_Office Theme:5</vt:lpwstr>
  </property>
  <property fmtid="{D5CDD505-2E9C-101B-9397-08002B2CF9AE}" pid="5" name="ClassificationContentMarkingFooterText">
    <vt:lpwstr>INTERNAL USE ONLY</vt:lpwstr>
  </property>
  <property fmtid="{D5CDD505-2E9C-101B-9397-08002B2CF9AE}" pid="6" name="MSIP_Label_9a7ed875-cb67-40d7-9ea6-a804b08b1148_Enabled">
    <vt:lpwstr>true</vt:lpwstr>
  </property>
  <property fmtid="{D5CDD505-2E9C-101B-9397-08002B2CF9AE}" pid="7" name="MSIP_Label_9a7ed875-cb67-40d7-9ea6-a804b08b1148_SetDate">
    <vt:lpwstr>2025-05-26T11:17:54Z</vt:lpwstr>
  </property>
  <property fmtid="{D5CDD505-2E9C-101B-9397-08002B2CF9AE}" pid="8" name="MSIP_Label_9a7ed875-cb67-40d7-9ea6-a804b08b1148_Method">
    <vt:lpwstr>Privileged</vt:lpwstr>
  </property>
  <property fmtid="{D5CDD505-2E9C-101B-9397-08002B2CF9AE}" pid="9" name="MSIP_Label_9a7ed875-cb67-40d7-9ea6-a804b08b1148_Name">
    <vt:lpwstr>9a7ed875-cb67-40d7-9ea6-a804b08b1148</vt:lpwstr>
  </property>
  <property fmtid="{D5CDD505-2E9C-101B-9397-08002B2CF9AE}" pid="10" name="MSIP_Label_9a7ed875-cb67-40d7-9ea6-a804b08b1148_SiteId">
    <vt:lpwstr>473672ba-cd07-4371-a2ae-788b4c61840e</vt:lpwstr>
  </property>
  <property fmtid="{D5CDD505-2E9C-101B-9397-08002B2CF9AE}" pid="11" name="MSIP_Label_9a7ed875-cb67-40d7-9ea6-a804b08b1148_ActionId">
    <vt:lpwstr>fc841a3d-5a16-45e9-aa18-cb499629b376</vt:lpwstr>
  </property>
  <property fmtid="{D5CDD505-2E9C-101B-9397-08002B2CF9AE}" pid="12" name="MSIP_Label_9a7ed875-cb67-40d7-9ea6-a804b08b1148_ContentBits">
    <vt:lpwstr>0</vt:lpwstr>
  </property>
  <property fmtid="{D5CDD505-2E9C-101B-9397-08002B2CF9AE}" pid="13" name="MSIP_Label_9a7ed875-cb67-40d7-9ea6-a804b08b1148_Tag">
    <vt:lpwstr>10, 0, 1, 1</vt:lpwstr>
  </property>
</Properties>
</file>